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7.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5.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77" r:id="rId1"/>
    <p:sldMasterId id="2147484287" r:id="rId2"/>
    <p:sldMasterId id="2147484299" r:id="rId3"/>
    <p:sldMasterId id="2147484310" r:id="rId4"/>
    <p:sldMasterId id="2147484321" r:id="rId5"/>
    <p:sldMasterId id="2147484333" r:id="rId6"/>
    <p:sldMasterId id="2147484341" r:id="rId7"/>
    <p:sldMasterId id="2147484354" r:id="rId8"/>
  </p:sldMasterIdLst>
  <p:notesMasterIdLst>
    <p:notesMasterId r:id="rId66"/>
  </p:notesMasterIdLst>
  <p:handoutMasterIdLst>
    <p:handoutMasterId r:id="rId67"/>
  </p:handoutMasterIdLst>
  <p:sldIdLst>
    <p:sldId id="2166" r:id="rId9"/>
    <p:sldId id="2245" r:id="rId10"/>
    <p:sldId id="2250" r:id="rId11"/>
    <p:sldId id="2308" r:id="rId12"/>
    <p:sldId id="2325" r:id="rId13"/>
    <p:sldId id="2326" r:id="rId14"/>
    <p:sldId id="2309" r:id="rId15"/>
    <p:sldId id="2310" r:id="rId16"/>
    <p:sldId id="2311" r:id="rId17"/>
    <p:sldId id="2247" r:id="rId18"/>
    <p:sldId id="2279" r:id="rId19"/>
    <p:sldId id="2249" r:id="rId20"/>
    <p:sldId id="2267" r:id="rId21"/>
    <p:sldId id="2321" r:id="rId22"/>
    <p:sldId id="2323" r:id="rId23"/>
    <p:sldId id="2322" r:id="rId24"/>
    <p:sldId id="2324" r:id="rId25"/>
    <p:sldId id="2312" r:id="rId26"/>
    <p:sldId id="2313" r:id="rId27"/>
    <p:sldId id="2314" r:id="rId28"/>
    <p:sldId id="2315" r:id="rId29"/>
    <p:sldId id="2316" r:id="rId30"/>
    <p:sldId id="2317" r:id="rId31"/>
    <p:sldId id="2318" r:id="rId32"/>
    <p:sldId id="2319" r:id="rId33"/>
    <p:sldId id="2320" r:id="rId34"/>
    <p:sldId id="1821" r:id="rId35"/>
    <p:sldId id="2280" r:id="rId36"/>
    <p:sldId id="2281" r:id="rId37"/>
    <p:sldId id="2282" r:id="rId38"/>
    <p:sldId id="2283" r:id="rId39"/>
    <p:sldId id="2284" r:id="rId40"/>
    <p:sldId id="2285" r:id="rId41"/>
    <p:sldId id="2286" r:id="rId42"/>
    <p:sldId id="2287" r:id="rId43"/>
    <p:sldId id="2288" r:id="rId44"/>
    <p:sldId id="2289" r:id="rId45"/>
    <p:sldId id="2290" r:id="rId46"/>
    <p:sldId id="2291" r:id="rId47"/>
    <p:sldId id="2292" r:id="rId48"/>
    <p:sldId id="2293" r:id="rId49"/>
    <p:sldId id="2294" r:id="rId50"/>
    <p:sldId id="2295" r:id="rId51"/>
    <p:sldId id="2296" r:id="rId52"/>
    <p:sldId id="2297" r:id="rId53"/>
    <p:sldId id="2298" r:id="rId54"/>
    <p:sldId id="2299" r:id="rId55"/>
    <p:sldId id="2300" r:id="rId56"/>
    <p:sldId id="2301" r:id="rId57"/>
    <p:sldId id="2193" r:id="rId58"/>
    <p:sldId id="2210" r:id="rId59"/>
    <p:sldId id="2264" r:id="rId60"/>
    <p:sldId id="2199" r:id="rId61"/>
    <p:sldId id="2200" r:id="rId62"/>
    <p:sldId id="2180" r:id="rId63"/>
    <p:sldId id="2181" r:id="rId64"/>
    <p:sldId id="2251" r:id="rId65"/>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CA64525-B3ED-485A-8126-9A7E25662981}">
          <p14:sldIdLst>
            <p14:sldId id="2166"/>
          </p14:sldIdLst>
        </p14:section>
        <p14:section name="Azure Data Lake" id="{D1F2511B-CE23-42D0-82C8-21C7960530BE}">
          <p14:sldIdLst>
            <p14:sldId id="2245"/>
            <p14:sldId id="2250"/>
            <p14:sldId id="2308"/>
            <p14:sldId id="2325"/>
            <p14:sldId id="2326"/>
            <p14:sldId id="2309"/>
            <p14:sldId id="2310"/>
            <p14:sldId id="2311"/>
            <p14:sldId id="2247"/>
            <p14:sldId id="2279"/>
            <p14:sldId id="2249"/>
            <p14:sldId id="2267"/>
            <p14:sldId id="2321"/>
            <p14:sldId id="2323"/>
            <p14:sldId id="2322"/>
            <p14:sldId id="2324"/>
            <p14:sldId id="2312"/>
            <p14:sldId id="2313"/>
            <p14:sldId id="2314"/>
            <p14:sldId id="2315"/>
            <p14:sldId id="2316"/>
            <p14:sldId id="2317"/>
            <p14:sldId id="2318"/>
            <p14:sldId id="2319"/>
            <p14:sldId id="2320"/>
            <p14:sldId id="1821"/>
          </p14:sldIdLst>
        </p14:section>
        <p14:section name="Platform" id="{2190E0FA-B346-42D8-904E-577D2DE8F53A}">
          <p14:sldIdLst>
            <p14:sldId id="2280"/>
            <p14:sldId id="2281"/>
            <p14:sldId id="2282"/>
            <p14:sldId id="2283"/>
            <p14:sldId id="2284"/>
            <p14:sldId id="2285"/>
            <p14:sldId id="2286"/>
            <p14:sldId id="2287"/>
            <p14:sldId id="2288"/>
            <p14:sldId id="2289"/>
            <p14:sldId id="2290"/>
          </p14:sldIdLst>
        </p14:section>
        <p14:section name="Big Data Programming" id="{5D03FA1C-CC45-481A-B0F1-43FC11874E63}">
          <p14:sldIdLst>
            <p14:sldId id="2291"/>
            <p14:sldId id="2292"/>
            <p14:sldId id="2293"/>
            <p14:sldId id="2294"/>
            <p14:sldId id="2295"/>
            <p14:sldId id="2296"/>
            <p14:sldId id="2297"/>
            <p14:sldId id="2298"/>
            <p14:sldId id="2299"/>
            <p14:sldId id="2300"/>
            <p14:sldId id="2301"/>
            <p14:sldId id="2193"/>
          </p14:sldIdLst>
        </p14:section>
        <p14:section name="Wrap-up" id="{76409DF3-5A76-4806-9620-653BD5F10A40}">
          <p14:sldIdLst>
            <p14:sldId id="2210"/>
            <p14:sldId id="2264"/>
            <p14:sldId id="2199"/>
            <p14:sldId id="2200"/>
          </p14:sldIdLst>
        </p14:section>
        <p14:section name="Backup" id="{3286B9BA-2536-4CF7-BE89-71EC991E57F6}">
          <p14:sldIdLst>
            <p14:sldId id="2180"/>
            <p14:sldId id="2181"/>
            <p14:sldId id="2251"/>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1F375F"/>
    <a:srgbClr val="E6E6E6"/>
    <a:srgbClr val="153B69"/>
    <a:srgbClr val="174767"/>
    <a:srgbClr val="2A80B9"/>
    <a:srgbClr val="F2F2F2"/>
    <a:srgbClr val="1A86DB"/>
    <a:srgbClr val="92D050"/>
    <a:srgbClr val="FF8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02" autoAdjust="0"/>
    <p:restoredTop sz="85933" autoAdjust="0"/>
  </p:normalViewPr>
  <p:slideViewPr>
    <p:cSldViewPr snapToObjects="1">
      <p:cViewPr varScale="1">
        <p:scale>
          <a:sx n="83" d="100"/>
          <a:sy n="83" d="100"/>
        </p:scale>
        <p:origin x="30" y="114"/>
      </p:cViewPr>
      <p:guideLst/>
    </p:cSldViewPr>
  </p:slideViewPr>
  <p:outlineViewPr>
    <p:cViewPr>
      <p:scale>
        <a:sx n="33" d="100"/>
        <a:sy n="33" d="100"/>
      </p:scale>
      <p:origin x="0" y="-15570"/>
    </p:cViewPr>
  </p:outlineViewPr>
  <p:notesTextViewPr>
    <p:cViewPr>
      <p:scale>
        <a:sx n="100" d="100"/>
        <a:sy n="100" d="100"/>
      </p:scale>
      <p:origin x="0" y="0"/>
    </p:cViewPr>
  </p:notesTextViewPr>
  <p:sorterViewPr>
    <p:cViewPr varScale="1">
      <p:scale>
        <a:sx n="1" d="1"/>
        <a:sy n="1" d="1"/>
      </p:scale>
      <p:origin x="0" y="-16230"/>
    </p:cViewPr>
  </p:sorterViewPr>
  <p:notesViewPr>
    <p:cSldViewPr snapToObjects="1" showGuides="1">
      <p:cViewPr varScale="1">
        <p:scale>
          <a:sx n="83" d="100"/>
          <a:sy n="83" d="100"/>
        </p:scale>
        <p:origin x="3852" y="102"/>
      </p:cViewPr>
      <p:guideLst>
        <p:guide orient="horz" pos="2880"/>
        <p:guide pos="2160"/>
      </p:guideLst>
    </p:cSldViewPr>
  </p:notesViewPr>
  <p:gridSpacing cx="91439" cy="91439"/>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slide" Target="slides/slide55.xml"/><Relationship Id="rId68" Type="http://schemas.openxmlformats.org/officeDocument/2006/relationships/commentAuthors" Target="commentAuthors.xml"/><Relationship Id="rId89" Type="http://schemas.microsoft.com/office/2016/11/relationships/changesInfo" Target="changesInfos/changesInfo1.xml"/><Relationship Id="rId7" Type="http://schemas.openxmlformats.org/officeDocument/2006/relationships/slideMaster" Target="slideMasters/slideMaster7.xml"/><Relationship Id="rId71"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61" Type="http://schemas.openxmlformats.org/officeDocument/2006/relationships/slide" Target="slides/slide53.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43.xml"/><Relationship Id="rId72"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handoutMaster" Target="handoutMasters/handoutMaster1.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veen Reddy" userId="1ff099edb1c7ebfa" providerId="LiveId" clId="{E41A96DA-1401-4192-B7BA-90B41B5523AD}"/>
    <pc:docChg chg="custSel modSld">
      <pc:chgData name="Saveen Reddy" userId="1ff099edb1c7ebfa" providerId="LiveId" clId="{E41A96DA-1401-4192-B7BA-90B41B5523AD}" dt="2017-09-21T10:16:59.941" v="144" actId="20577"/>
      <pc:docMkLst>
        <pc:docMk/>
      </pc:docMkLst>
      <pc:sldChg chg="modSp">
        <pc:chgData name="Saveen Reddy" userId="1ff099edb1c7ebfa" providerId="LiveId" clId="{E41A96DA-1401-4192-B7BA-90B41B5523AD}" dt="2017-09-21T10:16:59.941" v="144" actId="20577"/>
        <pc:sldMkLst>
          <pc:docMk/>
          <pc:sldMk cId="1519235160" sldId="2266"/>
        </pc:sldMkLst>
        <pc:spChg chg="mod">
          <ac:chgData name="Saveen Reddy" userId="1ff099edb1c7ebfa" providerId="LiveId" clId="{E41A96DA-1401-4192-B7BA-90B41B5523AD}" dt="2017-09-21T10:16:59.941" v="144" actId="20577"/>
          <ac:spMkLst>
            <pc:docMk/>
            <pc:sldMk cId="1519235160" sldId="2266"/>
            <ac:spMk id="15" creationId="{BCA5436C-DABE-4661-AE65-65CE433CF9C1}"/>
          </ac:spMkLst>
        </pc:spChg>
      </pc:sldChg>
    </pc:docChg>
  </pc:docChgLst>
  <pc:docChgLst>
    <pc:chgData name="Saveen Reddy" userId="1ff099edb1c7ebfa" providerId="LiveId" clId="{03FCAAC5-2C72-47A2-A8BF-1185CBB2B952}"/>
    <pc:docChg chg="undo redo custSel addSld delSld modSld sldOrd addMainMaster delMainMaster addSection delSection modSection">
      <pc:chgData name="Saveen Reddy" userId="1ff099edb1c7ebfa" providerId="LiveId" clId="{03FCAAC5-2C72-47A2-A8BF-1185CBB2B952}" dt="2017-09-02T18:41:08.044" v="2101" actId="404"/>
      <pc:docMkLst>
        <pc:docMk/>
      </pc:docMkLst>
      <pc:sldChg chg="ord">
        <pc:chgData name="Saveen Reddy" userId="1ff099edb1c7ebfa" providerId="LiveId" clId="{03FCAAC5-2C72-47A2-A8BF-1185CBB2B952}" dt="2017-08-25T00:00:49.482" v="126" actId="108"/>
        <pc:sldMkLst>
          <pc:docMk/>
          <pc:sldMk cId="1162216813" sldId="2141"/>
        </pc:sldMkLst>
      </pc:sldChg>
      <pc:sldChg chg="modSp">
        <pc:chgData name="Saveen Reddy" userId="1ff099edb1c7ebfa" providerId="LiveId" clId="{03FCAAC5-2C72-47A2-A8BF-1185CBB2B952}" dt="2017-09-02T18:40:58.848" v="2100" actId="404"/>
        <pc:sldMkLst>
          <pc:docMk/>
          <pc:sldMk cId="415563144" sldId="2150"/>
        </pc:sldMkLst>
        <pc:spChg chg="mod">
          <ac:chgData name="Saveen Reddy" userId="1ff099edb1c7ebfa" providerId="LiveId" clId="{03FCAAC5-2C72-47A2-A8BF-1185CBB2B952}" dt="2017-09-02T18:40:58.848" v="2100" actId="404"/>
          <ac:spMkLst>
            <pc:docMk/>
            <pc:sldMk cId="415563144" sldId="2150"/>
            <ac:spMk id="17" creationId="{00000000-0000-0000-0000-000000000000}"/>
          </ac:spMkLst>
        </pc:spChg>
        <pc:spChg chg="mod">
          <ac:chgData name="Saveen Reddy" userId="1ff099edb1c7ebfa" providerId="LiveId" clId="{03FCAAC5-2C72-47A2-A8BF-1185CBB2B952}" dt="2017-09-02T18:40:58.848" v="2100" actId="404"/>
          <ac:spMkLst>
            <pc:docMk/>
            <pc:sldMk cId="415563144" sldId="2150"/>
            <ac:spMk id="19" creationId="{00000000-0000-0000-0000-000000000000}"/>
          </ac:spMkLst>
        </pc:spChg>
      </pc:sldChg>
      <pc:sldChg chg="modSp">
        <pc:chgData name="Saveen Reddy" userId="1ff099edb1c7ebfa" providerId="LiveId" clId="{03FCAAC5-2C72-47A2-A8BF-1185CBB2B952}" dt="2017-09-02T18:40:22.729" v="2098" actId="14100"/>
        <pc:sldMkLst>
          <pc:docMk/>
          <pc:sldMk cId="680299010" sldId="2152"/>
        </pc:sldMkLst>
        <pc:graphicFrameChg chg="mod modGraphic">
          <ac:chgData name="Saveen Reddy" userId="1ff099edb1c7ebfa" providerId="LiveId" clId="{03FCAAC5-2C72-47A2-A8BF-1185CBB2B952}" dt="2017-09-02T18:40:22.729" v="2098" actId="14100"/>
          <ac:graphicFrameMkLst>
            <pc:docMk/>
            <pc:sldMk cId="680299010" sldId="2152"/>
            <ac:graphicFrameMk id="2" creationId="{00000000-0000-0000-0000-000000000000}"/>
          </ac:graphicFrameMkLst>
        </pc:graphicFrameChg>
      </pc:sldChg>
      <pc:sldChg chg="ord">
        <pc:chgData name="Saveen Reddy" userId="1ff099edb1c7ebfa" providerId="LiveId" clId="{03FCAAC5-2C72-47A2-A8BF-1185CBB2B952}" dt="2017-08-24T23:58:59.898" v="91" actId="108"/>
        <pc:sldMkLst>
          <pc:docMk/>
          <pc:sldMk cId="224605938" sldId="2180"/>
        </pc:sldMkLst>
      </pc:sldChg>
      <pc:sldChg chg="ord">
        <pc:chgData name="Saveen Reddy" userId="1ff099edb1c7ebfa" providerId="LiveId" clId="{03FCAAC5-2C72-47A2-A8BF-1185CBB2B952}" dt="2017-08-24T23:58:59.898" v="91" actId="108"/>
        <pc:sldMkLst>
          <pc:docMk/>
          <pc:sldMk cId="3457945084" sldId="2181"/>
        </pc:sldMkLst>
      </pc:sldChg>
      <pc:sldChg chg="del">
        <pc:chgData name="Saveen Reddy" userId="1ff099edb1c7ebfa" providerId="LiveId" clId="{03FCAAC5-2C72-47A2-A8BF-1185CBB2B952}" dt="2017-08-24T23:53:15.279" v="32" actId="2696"/>
        <pc:sldMkLst>
          <pc:docMk/>
          <pc:sldMk cId="3975196557" sldId="2246"/>
        </pc:sldMkLst>
      </pc:sldChg>
      <pc:sldChg chg="addSp delSp modSp">
        <pc:chgData name="Saveen Reddy" userId="1ff099edb1c7ebfa" providerId="LiveId" clId="{03FCAAC5-2C72-47A2-A8BF-1185CBB2B952}" dt="2017-08-23T17:33:31.985" v="8" actId="27028"/>
        <pc:sldMkLst>
          <pc:docMk/>
          <pc:sldMk cId="207359778" sldId="2247"/>
        </pc:sldMkLst>
        <pc:graphicFrameChg chg="add del mod">
          <ac:chgData name="Saveen Reddy" userId="1ff099edb1c7ebfa" providerId="LiveId" clId="{03FCAAC5-2C72-47A2-A8BF-1185CBB2B952}" dt="2017-08-23T17:33:31.985" v="8" actId="27028"/>
          <ac:graphicFrameMkLst>
            <pc:docMk/>
            <pc:sldMk cId="207359778" sldId="2247"/>
            <ac:graphicFrameMk id="3" creationId="{A337766E-70BF-4A17-8DEA-F4F777D42B0E}"/>
          </ac:graphicFrameMkLst>
        </pc:graphicFrameChg>
      </pc:sldChg>
      <pc:sldChg chg="ord">
        <pc:chgData name="Saveen Reddy" userId="1ff099edb1c7ebfa" providerId="LiveId" clId="{03FCAAC5-2C72-47A2-A8BF-1185CBB2B952}" dt="2017-08-24T23:53:41.838" v="35" actId="108"/>
        <pc:sldMkLst>
          <pc:docMk/>
          <pc:sldMk cId="2109059976" sldId="2250"/>
        </pc:sldMkLst>
      </pc:sldChg>
      <pc:sldChg chg="modSp">
        <pc:chgData name="Saveen Reddy" userId="1ff099edb1c7ebfa" providerId="LiveId" clId="{03FCAAC5-2C72-47A2-A8BF-1185CBB2B952}" dt="2017-09-02T18:41:08.044" v="2101" actId="404"/>
        <pc:sldMkLst>
          <pc:docMk/>
          <pc:sldMk cId="1094504490" sldId="2264"/>
        </pc:sldMkLst>
        <pc:spChg chg="mod">
          <ac:chgData name="Saveen Reddy" userId="1ff099edb1c7ebfa" providerId="LiveId" clId="{03FCAAC5-2C72-47A2-A8BF-1185CBB2B952}" dt="2017-09-02T18:41:08.044" v="2101" actId="404"/>
          <ac:spMkLst>
            <pc:docMk/>
            <pc:sldMk cId="1094504490" sldId="2264"/>
            <ac:spMk id="4" creationId="{00000000-0000-0000-0000-000000000000}"/>
          </ac:spMkLst>
        </pc:spChg>
      </pc:sldChg>
      <pc:sldChg chg="addSp delSp modSp new add del">
        <pc:chgData name="Saveen Reddy" userId="1ff099edb1c7ebfa" providerId="LiveId" clId="{03FCAAC5-2C72-47A2-A8BF-1185CBB2B952}" dt="2017-08-24T23:51:10.324" v="11" actId="2696"/>
        <pc:sldMkLst>
          <pc:docMk/>
          <pc:sldMk cId="1512532299" sldId="2270"/>
        </pc:sldMkLst>
        <pc:spChg chg="del">
          <ac:chgData name="Saveen Reddy" userId="1ff099edb1c7ebfa" providerId="LiveId" clId="{03FCAAC5-2C72-47A2-A8BF-1185CBB2B952}" dt="2017-08-23T17:31:34.079" v="1" actId="2696"/>
          <ac:spMkLst>
            <pc:docMk/>
            <pc:sldMk cId="1512532299" sldId="2270"/>
            <ac:spMk id="3" creationId="{84180FA4-9359-4AA0-9F98-6BF4E641645B}"/>
          </ac:spMkLst>
        </pc:spChg>
        <pc:graphicFrameChg chg="add modGraphic">
          <ac:chgData name="Saveen Reddy" userId="1ff099edb1c7ebfa" providerId="LiveId" clId="{03FCAAC5-2C72-47A2-A8BF-1185CBB2B952}" dt="2017-08-23T17:31:34.079" v="1" actId="2696"/>
          <ac:graphicFrameMkLst>
            <pc:docMk/>
            <pc:sldMk cId="1512532299" sldId="2270"/>
            <ac:graphicFrameMk id="5" creationId="{D2E4B1C5-F13B-41FE-B8AC-9A4BD8F9EBF6}"/>
          </ac:graphicFrameMkLst>
        </pc:graphicFrameChg>
      </pc:sldChg>
      <pc:sldChg chg="add del">
        <pc:chgData name="Saveen Reddy" userId="1ff099edb1c7ebfa" providerId="LiveId" clId="{03FCAAC5-2C72-47A2-A8BF-1185CBB2B952}" dt="2017-08-24T23:53:31.864" v="33" actId="2696"/>
        <pc:sldMkLst>
          <pc:docMk/>
          <pc:sldMk cId="1907139741" sldId="2271"/>
        </pc:sldMkLst>
      </pc:sldChg>
      <pc:sldChg chg="addSp delSp modSp add">
        <pc:chgData name="Saveen Reddy" userId="1ff099edb1c7ebfa" providerId="LiveId" clId="{03FCAAC5-2C72-47A2-A8BF-1185CBB2B952}" dt="2017-08-25T00:00:24.866" v="124" actId="14100"/>
        <pc:sldMkLst>
          <pc:docMk/>
          <pc:sldMk cId="2512529446" sldId="2272"/>
        </pc:sldMkLst>
        <pc:spChg chg="del">
          <ac:chgData name="Saveen Reddy" userId="1ff099edb1c7ebfa" providerId="LiveId" clId="{03FCAAC5-2C72-47A2-A8BF-1185CBB2B952}" dt="2017-08-24T23:52:14.013" v="14" actId="478"/>
          <ac:spMkLst>
            <pc:docMk/>
            <pc:sldMk cId="2512529446" sldId="2272"/>
            <ac:spMk id="2" creationId="{00000000-0000-0000-0000-000000000000}"/>
          </ac:spMkLst>
        </pc:spChg>
        <pc:spChg chg="del">
          <ac:chgData name="Saveen Reddy" userId="1ff099edb1c7ebfa" providerId="LiveId" clId="{03FCAAC5-2C72-47A2-A8BF-1185CBB2B952}" dt="2017-08-24T23:52:14.013" v="14" actId="478"/>
          <ac:spMkLst>
            <pc:docMk/>
            <pc:sldMk cId="2512529446" sldId="2272"/>
            <ac:spMk id="3" creationId="{00000000-0000-0000-0000-000000000000}"/>
          </ac:spMkLst>
        </pc:spChg>
        <pc:spChg chg="del">
          <ac:chgData name="Saveen Reddy" userId="1ff099edb1c7ebfa" providerId="LiveId" clId="{03FCAAC5-2C72-47A2-A8BF-1185CBB2B952}" dt="2017-08-24T23:52:14.013" v="14" actId="478"/>
          <ac:spMkLst>
            <pc:docMk/>
            <pc:sldMk cId="2512529446" sldId="2272"/>
            <ac:spMk id="5" creationId="{00000000-0000-0000-0000-000000000000}"/>
          </ac:spMkLst>
        </pc:spChg>
        <pc:spChg chg="del">
          <ac:chgData name="Saveen Reddy" userId="1ff099edb1c7ebfa" providerId="LiveId" clId="{03FCAAC5-2C72-47A2-A8BF-1185CBB2B952}" dt="2017-08-24T23:52:14.013" v="14" actId="478"/>
          <ac:spMkLst>
            <pc:docMk/>
            <pc:sldMk cId="2512529446" sldId="2272"/>
            <ac:spMk id="6" creationId="{00000000-0000-0000-0000-000000000000}"/>
          </ac:spMkLst>
        </pc:spChg>
        <pc:spChg chg="add del mod">
          <ac:chgData name="Saveen Reddy" userId="1ff099edb1c7ebfa" providerId="LiveId" clId="{03FCAAC5-2C72-47A2-A8BF-1185CBB2B952}" dt="2017-08-24T23:52:18.545" v="15" actId="14100"/>
          <ac:spMkLst>
            <pc:docMk/>
            <pc:sldMk cId="2512529446" sldId="2272"/>
            <ac:spMk id="7" creationId="{86A17ABF-BA88-4B8E-9004-503778E79371}"/>
          </ac:spMkLst>
        </pc:spChg>
        <pc:spChg chg="del">
          <ac:chgData name="Saveen Reddy" userId="1ff099edb1c7ebfa" providerId="LiveId" clId="{03FCAAC5-2C72-47A2-A8BF-1185CBB2B952}" dt="2017-08-24T23:52:14.013" v="14" actId="478"/>
          <ac:spMkLst>
            <pc:docMk/>
            <pc:sldMk cId="2512529446" sldId="2272"/>
            <ac:spMk id="13" creationId="{00000000-0000-0000-0000-000000000000}"/>
          </ac:spMkLst>
        </pc:spChg>
        <pc:spChg chg="del">
          <ac:chgData name="Saveen Reddy" userId="1ff099edb1c7ebfa" providerId="LiveId" clId="{03FCAAC5-2C72-47A2-A8BF-1185CBB2B952}" dt="2017-08-24T23:52:14.013" v="14" actId="478"/>
          <ac:spMkLst>
            <pc:docMk/>
            <pc:sldMk cId="2512529446" sldId="2272"/>
            <ac:spMk id="14" creationId="{00000000-0000-0000-0000-000000000000}"/>
          </ac:spMkLst>
        </pc:spChg>
        <pc:spChg chg="add mod">
          <ac:chgData name="Saveen Reddy" userId="1ff099edb1c7ebfa" providerId="LiveId" clId="{03FCAAC5-2C72-47A2-A8BF-1185CBB2B952}" dt="2017-08-24T23:53:05.583" v="31" actId="14100"/>
          <ac:spMkLst>
            <pc:docMk/>
            <pc:sldMk cId="2512529446" sldId="2272"/>
            <ac:spMk id="40" creationId="{9DAD00AE-7572-4556-923E-A729B2B06FDA}"/>
          </ac:spMkLst>
        </pc:spChg>
        <pc:spChg chg="add">
          <ac:chgData name="Saveen Reddy" userId="1ff099edb1c7ebfa" providerId="LiveId" clId="{03FCAAC5-2C72-47A2-A8BF-1185CBB2B952}" dt="2017-08-24T23:52:19.515" v="16" actId="14100"/>
          <ac:spMkLst>
            <pc:docMk/>
            <pc:sldMk cId="2512529446" sldId="2272"/>
            <ac:spMk id="41" creationId="{AFD6D385-B0CF-4E0D-B01E-03266C4F7EC6}"/>
          </ac:spMkLst>
        </pc:spChg>
        <pc:spChg chg="del">
          <ac:chgData name="Saveen Reddy" userId="1ff099edb1c7ebfa" providerId="LiveId" clId="{03FCAAC5-2C72-47A2-A8BF-1185CBB2B952}" dt="2017-08-24T23:52:14.013" v="14" actId="478"/>
          <ac:spMkLst>
            <pc:docMk/>
            <pc:sldMk cId="2512529446" sldId="2272"/>
            <ac:spMk id="42" creationId="{00000000-0000-0000-0000-000000000000}"/>
          </ac:spMkLst>
        </pc:spChg>
        <pc:spChg chg="del">
          <ac:chgData name="Saveen Reddy" userId="1ff099edb1c7ebfa" providerId="LiveId" clId="{03FCAAC5-2C72-47A2-A8BF-1185CBB2B952}" dt="2017-08-24T23:52:14.013" v="14" actId="478"/>
          <ac:spMkLst>
            <pc:docMk/>
            <pc:sldMk cId="2512529446" sldId="2272"/>
            <ac:spMk id="43" creationId="{00000000-0000-0000-0000-000000000000}"/>
          </ac:spMkLst>
        </pc:spChg>
        <pc:spChg chg="add mod">
          <ac:chgData name="Saveen Reddy" userId="1ff099edb1c7ebfa" providerId="LiveId" clId="{03FCAAC5-2C72-47A2-A8BF-1185CBB2B952}" dt="2017-08-25T00:00:24.866" v="124" actId="14100"/>
          <ac:spMkLst>
            <pc:docMk/>
            <pc:sldMk cId="2512529446" sldId="2272"/>
            <ac:spMk id="44" creationId="{C40BE1E5-E8C0-4EFF-A409-106B2C831B1E}"/>
          </ac:spMkLst>
        </pc:spChg>
        <pc:grpChg chg="del">
          <ac:chgData name="Saveen Reddy" userId="1ff099edb1c7ebfa" providerId="LiveId" clId="{03FCAAC5-2C72-47A2-A8BF-1185CBB2B952}" dt="2017-08-24T23:52:14.013" v="14" actId="478"/>
          <ac:grpSpMkLst>
            <pc:docMk/>
            <pc:sldMk cId="2512529446" sldId="2272"/>
            <ac:grpSpMk id="19" creationId="{00000000-0000-0000-0000-000000000000}"/>
          </ac:grpSpMkLst>
        </pc:grpChg>
        <pc:grpChg chg="del">
          <ac:chgData name="Saveen Reddy" userId="1ff099edb1c7ebfa" providerId="LiveId" clId="{03FCAAC5-2C72-47A2-A8BF-1185CBB2B952}" dt="2017-08-24T23:52:14.013" v="14" actId="478"/>
          <ac:grpSpMkLst>
            <pc:docMk/>
            <pc:sldMk cId="2512529446" sldId="2272"/>
            <ac:grpSpMk id="22" creationId="{00000000-0000-0000-0000-000000000000}"/>
          </ac:grpSpMkLst>
        </pc:grpChg>
        <pc:grpChg chg="del">
          <ac:chgData name="Saveen Reddy" userId="1ff099edb1c7ebfa" providerId="LiveId" clId="{03FCAAC5-2C72-47A2-A8BF-1185CBB2B952}" dt="2017-08-24T23:52:14.013" v="14" actId="478"/>
          <ac:grpSpMkLst>
            <pc:docMk/>
            <pc:sldMk cId="2512529446" sldId="2272"/>
            <ac:grpSpMk id="27" creationId="{00000000-0000-0000-0000-000000000000}"/>
          </ac:grpSpMkLst>
        </pc:grpChg>
        <pc:grpChg chg="add">
          <ac:chgData name="Saveen Reddy" userId="1ff099edb1c7ebfa" providerId="LiveId" clId="{03FCAAC5-2C72-47A2-A8BF-1185CBB2B952}" dt="2017-08-24T23:52:19.515" v="16" actId="14100"/>
          <ac:grpSpMkLst>
            <pc:docMk/>
            <pc:sldMk cId="2512529446" sldId="2272"/>
            <ac:grpSpMk id="45" creationId="{9752CE90-DB57-4FA9-8E22-566658056DA4}"/>
          </ac:grpSpMkLst>
        </pc:grpChg>
      </pc:sldChg>
      <pc:sldChg chg="add del">
        <pc:chgData name="Saveen Reddy" userId="1ff099edb1c7ebfa" providerId="LiveId" clId="{03FCAAC5-2C72-47A2-A8BF-1185CBB2B952}" dt="2017-08-24T23:54:20.861" v="38" actId="108"/>
        <pc:sldMkLst>
          <pc:docMk/>
          <pc:sldMk cId="2954282007" sldId="2273"/>
        </pc:sldMkLst>
      </pc:sldChg>
      <pc:sldChg chg="addSp delSp modSp add ord">
        <pc:chgData name="Saveen Reddy" userId="1ff099edb1c7ebfa" providerId="LiveId" clId="{03FCAAC5-2C72-47A2-A8BF-1185CBB2B952}" dt="2017-09-02T18:35:57.497" v="2055" actId="208"/>
        <pc:sldMkLst>
          <pc:docMk/>
          <pc:sldMk cId="3173855348" sldId="2273"/>
        </pc:sldMkLst>
        <pc:spChg chg="mod">
          <ac:chgData name="Saveen Reddy" userId="1ff099edb1c7ebfa" providerId="LiveId" clId="{03FCAAC5-2C72-47A2-A8BF-1185CBB2B952}" dt="2017-09-02T17:23:20.392" v="2043" actId="208"/>
          <ac:spMkLst>
            <pc:docMk/>
            <pc:sldMk cId="3173855348" sldId="2273"/>
            <ac:spMk id="2" creationId="{00000000-0000-0000-0000-000000000000}"/>
          </ac:spMkLst>
        </pc:spChg>
        <pc:spChg chg="del">
          <ac:chgData name="Saveen Reddy" userId="1ff099edb1c7ebfa" providerId="LiveId" clId="{03FCAAC5-2C72-47A2-A8BF-1185CBB2B952}" dt="2017-08-24T23:54:46.488" v="43" actId="478"/>
          <ac:spMkLst>
            <pc:docMk/>
            <pc:sldMk cId="3173855348" sldId="2273"/>
            <ac:spMk id="7" creationId="{00000000-0000-0000-0000-000000000000}"/>
          </ac:spMkLst>
        </pc:spChg>
        <pc:spChg chg="del">
          <ac:chgData name="Saveen Reddy" userId="1ff099edb1c7ebfa" providerId="LiveId" clId="{03FCAAC5-2C72-47A2-A8BF-1185CBB2B952}" dt="2017-08-24T23:54:43.948" v="42" actId="478"/>
          <ac:spMkLst>
            <pc:docMk/>
            <pc:sldMk cId="3173855348" sldId="2273"/>
            <ac:spMk id="8" creationId="{00000000-0000-0000-0000-000000000000}"/>
          </ac:spMkLst>
        </pc:spChg>
        <pc:spChg chg="del">
          <ac:chgData name="Saveen Reddy" userId="1ff099edb1c7ebfa" providerId="LiveId" clId="{03FCAAC5-2C72-47A2-A8BF-1185CBB2B952}" dt="2017-08-24T23:54:43.948" v="42" actId="478"/>
          <ac:spMkLst>
            <pc:docMk/>
            <pc:sldMk cId="3173855348" sldId="2273"/>
            <ac:spMk id="18" creationId="{00000000-0000-0000-0000-000000000000}"/>
          </ac:spMkLst>
        </pc:spChg>
        <pc:spChg chg="del">
          <ac:chgData name="Saveen Reddy" userId="1ff099edb1c7ebfa" providerId="LiveId" clId="{03FCAAC5-2C72-47A2-A8BF-1185CBB2B952}" dt="2017-08-24T23:54:43.948" v="42" actId="478"/>
          <ac:spMkLst>
            <pc:docMk/>
            <pc:sldMk cId="3173855348" sldId="2273"/>
            <ac:spMk id="26" creationId="{00000000-0000-0000-0000-000000000000}"/>
          </ac:spMkLst>
        </pc:spChg>
        <pc:spChg chg="del">
          <ac:chgData name="Saveen Reddy" userId="1ff099edb1c7ebfa" providerId="LiveId" clId="{03FCAAC5-2C72-47A2-A8BF-1185CBB2B952}" dt="2017-08-24T23:54:43.948" v="42" actId="478"/>
          <ac:spMkLst>
            <pc:docMk/>
            <pc:sldMk cId="3173855348" sldId="2273"/>
            <ac:spMk id="27" creationId="{00000000-0000-0000-0000-000000000000}"/>
          </ac:spMkLst>
        </pc:spChg>
        <pc:spChg chg="del">
          <ac:chgData name="Saveen Reddy" userId="1ff099edb1c7ebfa" providerId="LiveId" clId="{03FCAAC5-2C72-47A2-A8BF-1185CBB2B952}" dt="2017-08-24T23:54:43.948" v="42" actId="478"/>
          <ac:spMkLst>
            <pc:docMk/>
            <pc:sldMk cId="3173855348" sldId="2273"/>
            <ac:spMk id="28" creationId="{00000000-0000-0000-0000-000000000000}"/>
          </ac:spMkLst>
        </pc:spChg>
        <pc:spChg chg="del">
          <ac:chgData name="Saveen Reddy" userId="1ff099edb1c7ebfa" providerId="LiveId" clId="{03FCAAC5-2C72-47A2-A8BF-1185CBB2B952}" dt="2017-08-24T23:54:43.948" v="42" actId="478"/>
          <ac:spMkLst>
            <pc:docMk/>
            <pc:sldMk cId="3173855348" sldId="2273"/>
            <ac:spMk id="29" creationId="{00000000-0000-0000-0000-000000000000}"/>
          </ac:spMkLst>
        </pc:spChg>
        <pc:spChg chg="del">
          <ac:chgData name="Saveen Reddy" userId="1ff099edb1c7ebfa" providerId="LiveId" clId="{03FCAAC5-2C72-47A2-A8BF-1185CBB2B952}" dt="2017-08-24T23:54:43.948" v="42" actId="478"/>
          <ac:spMkLst>
            <pc:docMk/>
            <pc:sldMk cId="3173855348" sldId="2273"/>
            <ac:spMk id="30" creationId="{00000000-0000-0000-0000-000000000000}"/>
          </ac:spMkLst>
        </pc:spChg>
        <pc:spChg chg="del">
          <ac:chgData name="Saveen Reddy" userId="1ff099edb1c7ebfa" providerId="LiveId" clId="{03FCAAC5-2C72-47A2-A8BF-1185CBB2B952}" dt="2017-08-24T23:54:43.948" v="42" actId="478"/>
          <ac:spMkLst>
            <pc:docMk/>
            <pc:sldMk cId="3173855348" sldId="2273"/>
            <ac:spMk id="31" creationId="{00000000-0000-0000-0000-000000000000}"/>
          </ac:spMkLst>
        </pc:spChg>
        <pc:spChg chg="del">
          <ac:chgData name="Saveen Reddy" userId="1ff099edb1c7ebfa" providerId="LiveId" clId="{03FCAAC5-2C72-47A2-A8BF-1185CBB2B952}" dt="2017-08-24T23:54:43.948" v="42" actId="478"/>
          <ac:spMkLst>
            <pc:docMk/>
            <pc:sldMk cId="3173855348" sldId="2273"/>
            <ac:spMk id="32" creationId="{00000000-0000-0000-0000-000000000000}"/>
          </ac:spMkLst>
        </pc:spChg>
        <pc:spChg chg="del">
          <ac:chgData name="Saveen Reddy" userId="1ff099edb1c7ebfa" providerId="LiveId" clId="{03FCAAC5-2C72-47A2-A8BF-1185CBB2B952}" dt="2017-08-24T23:54:43.948" v="42" actId="478"/>
          <ac:spMkLst>
            <pc:docMk/>
            <pc:sldMk cId="3173855348" sldId="2273"/>
            <ac:spMk id="34" creationId="{00000000-0000-0000-0000-000000000000}"/>
          </ac:spMkLst>
        </pc:spChg>
        <pc:spChg chg="del">
          <ac:chgData name="Saveen Reddy" userId="1ff099edb1c7ebfa" providerId="LiveId" clId="{03FCAAC5-2C72-47A2-A8BF-1185CBB2B952}" dt="2017-08-24T23:54:43.948" v="42" actId="478"/>
          <ac:spMkLst>
            <pc:docMk/>
            <pc:sldMk cId="3173855348" sldId="2273"/>
            <ac:spMk id="35" creationId="{00000000-0000-0000-0000-000000000000}"/>
          </ac:spMkLst>
        </pc:spChg>
        <pc:spChg chg="del">
          <ac:chgData name="Saveen Reddy" userId="1ff099edb1c7ebfa" providerId="LiveId" clId="{03FCAAC5-2C72-47A2-A8BF-1185CBB2B952}" dt="2017-08-24T23:54:43.948" v="42" actId="478"/>
          <ac:spMkLst>
            <pc:docMk/>
            <pc:sldMk cId="3173855348" sldId="2273"/>
            <ac:spMk id="42" creationId="{00000000-0000-0000-0000-000000000000}"/>
          </ac:spMkLst>
        </pc:spChg>
        <pc:spChg chg="del">
          <ac:chgData name="Saveen Reddy" userId="1ff099edb1c7ebfa" providerId="LiveId" clId="{03FCAAC5-2C72-47A2-A8BF-1185CBB2B952}" dt="2017-08-24T23:54:43.948" v="42" actId="478"/>
          <ac:spMkLst>
            <pc:docMk/>
            <pc:sldMk cId="3173855348" sldId="2273"/>
            <ac:spMk id="54" creationId="{00000000-0000-0000-0000-000000000000}"/>
          </ac:spMkLst>
        </pc:spChg>
        <pc:spChg chg="del">
          <ac:chgData name="Saveen Reddy" userId="1ff099edb1c7ebfa" providerId="LiveId" clId="{03FCAAC5-2C72-47A2-A8BF-1185CBB2B952}" dt="2017-08-24T23:54:43.948" v="42" actId="478"/>
          <ac:spMkLst>
            <pc:docMk/>
            <pc:sldMk cId="3173855348" sldId="2273"/>
            <ac:spMk id="55" creationId="{00000000-0000-0000-0000-000000000000}"/>
          </ac:spMkLst>
        </pc:spChg>
        <pc:spChg chg="add mod">
          <ac:chgData name="Saveen Reddy" userId="1ff099edb1c7ebfa" providerId="LiveId" clId="{03FCAAC5-2C72-47A2-A8BF-1185CBB2B952}" dt="2017-08-24T23:58:06.471" v="88" actId="108"/>
          <ac:spMkLst>
            <pc:docMk/>
            <pc:sldMk cId="3173855348" sldId="2273"/>
            <ac:spMk id="62" creationId="{51445ABD-3792-40B6-82C6-73D2231B1A20}"/>
          </ac:spMkLst>
        </pc:spChg>
        <pc:spChg chg="add mod">
          <ac:chgData name="Saveen Reddy" userId="1ff099edb1c7ebfa" providerId="LiveId" clId="{03FCAAC5-2C72-47A2-A8BF-1185CBB2B952}" dt="2017-09-02T17:21:01.050" v="2012" actId="208"/>
          <ac:spMkLst>
            <pc:docMk/>
            <pc:sldMk cId="3173855348" sldId="2273"/>
            <ac:spMk id="63" creationId="{65B31190-87E2-4ECD-8798-D28C553FE5C2}"/>
          </ac:spMkLst>
        </pc:spChg>
        <pc:spChg chg="add mod">
          <ac:chgData name="Saveen Reddy" userId="1ff099edb1c7ebfa" providerId="LiveId" clId="{03FCAAC5-2C72-47A2-A8BF-1185CBB2B952}" dt="2017-09-02T17:21:01.050" v="2012" actId="208"/>
          <ac:spMkLst>
            <pc:docMk/>
            <pc:sldMk cId="3173855348" sldId="2273"/>
            <ac:spMk id="64" creationId="{87988856-DADD-4AB8-923D-D51D0A19492F}"/>
          </ac:spMkLst>
        </pc:spChg>
        <pc:spChg chg="add mod">
          <ac:chgData name="Saveen Reddy" userId="1ff099edb1c7ebfa" providerId="LiveId" clId="{03FCAAC5-2C72-47A2-A8BF-1185CBB2B952}" dt="2017-09-02T17:21:11.010" v="2015" actId="208"/>
          <ac:spMkLst>
            <pc:docMk/>
            <pc:sldMk cId="3173855348" sldId="2273"/>
            <ac:spMk id="65" creationId="{FE794945-438C-47D2-AAC8-AA7BE1073628}"/>
          </ac:spMkLst>
        </pc:spChg>
        <pc:spChg chg="add mod">
          <ac:chgData name="Saveen Reddy" userId="1ff099edb1c7ebfa" providerId="LiveId" clId="{03FCAAC5-2C72-47A2-A8BF-1185CBB2B952}" dt="2017-09-02T17:20:43.575" v="2009" actId="208"/>
          <ac:spMkLst>
            <pc:docMk/>
            <pc:sldMk cId="3173855348" sldId="2273"/>
            <ac:spMk id="66" creationId="{7AA006ED-8728-4B3B-8A17-7896C3789A6B}"/>
          </ac:spMkLst>
        </pc:spChg>
        <pc:spChg chg="add mod">
          <ac:chgData name="Saveen Reddy" userId="1ff099edb1c7ebfa" providerId="LiveId" clId="{03FCAAC5-2C72-47A2-A8BF-1185CBB2B952}" dt="2017-09-02T17:20:51.425" v="2010" actId="208"/>
          <ac:spMkLst>
            <pc:docMk/>
            <pc:sldMk cId="3173855348" sldId="2273"/>
            <ac:spMk id="67" creationId="{ED9D63EF-B6B9-45AC-927E-DB589EB2188E}"/>
          </ac:spMkLst>
        </pc:spChg>
        <pc:spChg chg="del">
          <ac:chgData name="Saveen Reddy" userId="1ff099edb1c7ebfa" providerId="LiveId" clId="{03FCAAC5-2C72-47A2-A8BF-1185CBB2B952}" dt="2017-08-24T23:54:43.948" v="42" actId="478"/>
          <ac:spMkLst>
            <pc:docMk/>
            <pc:sldMk cId="3173855348" sldId="2273"/>
            <ac:spMk id="68" creationId="{00000000-0000-0000-0000-000000000000}"/>
          </ac:spMkLst>
        </pc:spChg>
        <pc:spChg chg="add mod">
          <ac:chgData name="Saveen Reddy" userId="1ff099edb1c7ebfa" providerId="LiveId" clId="{03FCAAC5-2C72-47A2-A8BF-1185CBB2B952}" dt="2017-09-02T17:20:51.425" v="2010" actId="208"/>
          <ac:spMkLst>
            <pc:docMk/>
            <pc:sldMk cId="3173855348" sldId="2273"/>
            <ac:spMk id="69" creationId="{37F90566-A92F-4E7A-A07F-BBE95DBF2140}"/>
          </ac:spMkLst>
        </pc:spChg>
        <pc:spChg chg="add mod">
          <ac:chgData name="Saveen Reddy" userId="1ff099edb1c7ebfa" providerId="LiveId" clId="{03FCAAC5-2C72-47A2-A8BF-1185CBB2B952}" dt="2017-09-02T17:20:51.425" v="2010" actId="208"/>
          <ac:spMkLst>
            <pc:docMk/>
            <pc:sldMk cId="3173855348" sldId="2273"/>
            <ac:spMk id="70" creationId="{427BF139-CA44-4D19-AEB2-E4ECA70BDE68}"/>
          </ac:spMkLst>
        </pc:spChg>
        <pc:spChg chg="add mod">
          <ac:chgData name="Saveen Reddy" userId="1ff099edb1c7ebfa" providerId="LiveId" clId="{03FCAAC5-2C72-47A2-A8BF-1185CBB2B952}" dt="2017-09-02T17:20:43.575" v="2009" actId="208"/>
          <ac:spMkLst>
            <pc:docMk/>
            <pc:sldMk cId="3173855348" sldId="2273"/>
            <ac:spMk id="71" creationId="{2B19E87B-F51C-4459-B34E-87D5F1330C4D}"/>
          </ac:spMkLst>
        </pc:spChg>
        <pc:spChg chg="add mod">
          <ac:chgData name="Saveen Reddy" userId="1ff099edb1c7ebfa" providerId="LiveId" clId="{03FCAAC5-2C72-47A2-A8BF-1185CBB2B952}" dt="2017-09-02T17:20:43.575" v="2009" actId="208"/>
          <ac:spMkLst>
            <pc:docMk/>
            <pc:sldMk cId="3173855348" sldId="2273"/>
            <ac:spMk id="72" creationId="{5B44DDCA-FDE2-48EA-98CE-50318FEFE408}"/>
          </ac:spMkLst>
        </pc:spChg>
        <pc:spChg chg="add mod">
          <ac:chgData name="Saveen Reddy" userId="1ff099edb1c7ebfa" providerId="LiveId" clId="{03FCAAC5-2C72-47A2-A8BF-1185CBB2B952}" dt="2017-09-02T17:21:01.050" v="2012" actId="208"/>
          <ac:spMkLst>
            <pc:docMk/>
            <pc:sldMk cId="3173855348" sldId="2273"/>
            <ac:spMk id="73" creationId="{FCB89F29-5CAE-49FF-B0B5-36451F7D03A9}"/>
          </ac:spMkLst>
        </pc:spChg>
        <pc:spChg chg="add mod">
          <ac:chgData name="Saveen Reddy" userId="1ff099edb1c7ebfa" providerId="LiveId" clId="{03FCAAC5-2C72-47A2-A8BF-1185CBB2B952}" dt="2017-09-02T17:21:05.859" v="2013" actId="208"/>
          <ac:spMkLst>
            <pc:docMk/>
            <pc:sldMk cId="3173855348" sldId="2273"/>
            <ac:spMk id="74" creationId="{62C9A3D3-F4E5-4906-B7EB-1AF662C22459}"/>
          </ac:spMkLst>
        </pc:spChg>
        <pc:spChg chg="add mod">
          <ac:chgData name="Saveen Reddy" userId="1ff099edb1c7ebfa" providerId="LiveId" clId="{03FCAAC5-2C72-47A2-A8BF-1185CBB2B952}" dt="2017-09-02T17:21:01.050" v="2012" actId="208"/>
          <ac:spMkLst>
            <pc:docMk/>
            <pc:sldMk cId="3173855348" sldId="2273"/>
            <ac:spMk id="75" creationId="{CC174417-8565-480E-819A-F0349AD55F6F}"/>
          </ac:spMkLst>
        </pc:spChg>
        <pc:spChg chg="add mod">
          <ac:chgData name="Saveen Reddy" userId="1ff099edb1c7ebfa" providerId="LiveId" clId="{03FCAAC5-2C72-47A2-A8BF-1185CBB2B952}" dt="2017-09-02T17:21:05.859" v="2013" actId="208"/>
          <ac:spMkLst>
            <pc:docMk/>
            <pc:sldMk cId="3173855348" sldId="2273"/>
            <ac:spMk id="76" creationId="{CFAB8E1C-CBB5-421D-8ED7-9ABA8A21B606}"/>
          </ac:spMkLst>
        </pc:spChg>
        <pc:spChg chg="del">
          <ac:chgData name="Saveen Reddy" userId="1ff099edb1c7ebfa" providerId="LiveId" clId="{03FCAAC5-2C72-47A2-A8BF-1185CBB2B952}" dt="2017-08-24T23:54:43.948" v="42" actId="478"/>
          <ac:spMkLst>
            <pc:docMk/>
            <pc:sldMk cId="3173855348" sldId="2273"/>
            <ac:spMk id="80" creationId="{00000000-0000-0000-0000-000000000000}"/>
          </ac:spMkLst>
        </pc:spChg>
        <pc:spChg chg="add mod">
          <ac:chgData name="Saveen Reddy" userId="1ff099edb1c7ebfa" providerId="LiveId" clId="{03FCAAC5-2C72-47A2-A8BF-1185CBB2B952}" dt="2017-09-02T17:23:49.086" v="2047" actId="2085"/>
          <ac:spMkLst>
            <pc:docMk/>
            <pc:sldMk cId="3173855348" sldId="2273"/>
            <ac:spMk id="85" creationId="{CDD81B7B-8DB6-4E83-8FF9-EB9A1F2A8DA1}"/>
          </ac:spMkLst>
        </pc:spChg>
        <pc:spChg chg="del">
          <ac:chgData name="Saveen Reddy" userId="1ff099edb1c7ebfa" providerId="LiveId" clId="{03FCAAC5-2C72-47A2-A8BF-1185CBB2B952}" dt="2017-08-24T23:54:43.948" v="42" actId="478"/>
          <ac:spMkLst>
            <pc:docMk/>
            <pc:sldMk cId="3173855348" sldId="2273"/>
            <ac:spMk id="86" creationId="{00000000-0000-0000-0000-000000000000}"/>
          </ac:spMkLst>
        </pc:spChg>
        <pc:spChg chg="del">
          <ac:chgData name="Saveen Reddy" userId="1ff099edb1c7ebfa" providerId="LiveId" clId="{03FCAAC5-2C72-47A2-A8BF-1185CBB2B952}" dt="2017-08-24T23:54:43.948" v="42" actId="478"/>
          <ac:spMkLst>
            <pc:docMk/>
            <pc:sldMk cId="3173855348" sldId="2273"/>
            <ac:spMk id="87" creationId="{00000000-0000-0000-0000-000000000000}"/>
          </ac:spMkLst>
        </pc:spChg>
        <pc:spChg chg="del">
          <ac:chgData name="Saveen Reddy" userId="1ff099edb1c7ebfa" providerId="LiveId" clId="{03FCAAC5-2C72-47A2-A8BF-1185CBB2B952}" dt="2017-08-24T23:54:43.948" v="42" actId="478"/>
          <ac:spMkLst>
            <pc:docMk/>
            <pc:sldMk cId="3173855348" sldId="2273"/>
            <ac:spMk id="89" creationId="{00000000-0000-0000-0000-000000000000}"/>
          </ac:spMkLst>
        </pc:spChg>
        <pc:spChg chg="del">
          <ac:chgData name="Saveen Reddy" userId="1ff099edb1c7ebfa" providerId="LiveId" clId="{03FCAAC5-2C72-47A2-A8BF-1185CBB2B952}" dt="2017-08-24T23:54:43.948" v="42" actId="478"/>
          <ac:spMkLst>
            <pc:docMk/>
            <pc:sldMk cId="3173855348" sldId="2273"/>
            <ac:spMk id="90" creationId="{00000000-0000-0000-0000-000000000000}"/>
          </ac:spMkLst>
        </pc:spChg>
        <pc:spChg chg="mod">
          <ac:chgData name="Saveen Reddy" userId="1ff099edb1c7ebfa" providerId="LiveId" clId="{03FCAAC5-2C72-47A2-A8BF-1185CBB2B952}" dt="2017-09-02T17:23:45.462" v="2046" actId="2085"/>
          <ac:spMkLst>
            <pc:docMk/>
            <pc:sldMk cId="3173855348" sldId="2273"/>
            <ac:spMk id="91" creationId="{D9CD11BA-2278-4BBF-9BC3-20D135F79F87}"/>
          </ac:spMkLst>
        </pc:spChg>
        <pc:spChg chg="mod">
          <ac:chgData name="Saveen Reddy" userId="1ff099edb1c7ebfa" providerId="LiveId" clId="{03FCAAC5-2C72-47A2-A8BF-1185CBB2B952}" dt="2017-09-02T17:23:45.462" v="2046" actId="2085"/>
          <ac:spMkLst>
            <pc:docMk/>
            <pc:sldMk cId="3173855348" sldId="2273"/>
            <ac:spMk id="92" creationId="{A6481229-3EEB-4380-B54A-3A2A74BBB4D4}"/>
          </ac:spMkLst>
        </pc:spChg>
        <pc:spChg chg="del">
          <ac:chgData name="Saveen Reddy" userId="1ff099edb1c7ebfa" providerId="LiveId" clId="{03FCAAC5-2C72-47A2-A8BF-1185CBB2B952}" dt="2017-08-24T23:54:43.948" v="42" actId="478"/>
          <ac:spMkLst>
            <pc:docMk/>
            <pc:sldMk cId="3173855348" sldId="2273"/>
            <ac:spMk id="93" creationId="{00000000-0000-0000-0000-000000000000}"/>
          </ac:spMkLst>
        </pc:spChg>
        <pc:spChg chg="del">
          <ac:chgData name="Saveen Reddy" userId="1ff099edb1c7ebfa" providerId="LiveId" clId="{03FCAAC5-2C72-47A2-A8BF-1185CBB2B952}" dt="2017-08-24T23:54:43.948" v="42" actId="478"/>
          <ac:spMkLst>
            <pc:docMk/>
            <pc:sldMk cId="3173855348" sldId="2273"/>
            <ac:spMk id="94" creationId="{00000000-0000-0000-0000-000000000000}"/>
          </ac:spMkLst>
        </pc:spChg>
        <pc:spChg chg="add mod">
          <ac:chgData name="Saveen Reddy" userId="1ff099edb1c7ebfa" providerId="LiveId" clId="{03FCAAC5-2C72-47A2-A8BF-1185CBB2B952}" dt="2017-09-02T17:23:38.777" v="2044" actId="2085"/>
          <ac:spMkLst>
            <pc:docMk/>
            <pc:sldMk cId="3173855348" sldId="2273"/>
            <ac:spMk id="95" creationId="{D1E95F60-AC30-4F06-9844-31F28E41217C}"/>
          </ac:spMkLst>
        </pc:spChg>
        <pc:spChg chg="add mod">
          <ac:chgData name="Saveen Reddy" userId="1ff099edb1c7ebfa" providerId="LiveId" clId="{03FCAAC5-2C72-47A2-A8BF-1185CBB2B952}" dt="2017-09-02T17:23:42.488" v="2045" actId="2085"/>
          <ac:spMkLst>
            <pc:docMk/>
            <pc:sldMk cId="3173855348" sldId="2273"/>
            <ac:spMk id="96" creationId="{5AE27146-DFE2-4A06-8C4C-E2C43FD0C35B}"/>
          </ac:spMkLst>
        </pc:spChg>
        <pc:spChg chg="del">
          <ac:chgData name="Saveen Reddy" userId="1ff099edb1c7ebfa" providerId="LiveId" clId="{03FCAAC5-2C72-47A2-A8BF-1185CBB2B952}" dt="2017-08-24T23:54:43.948" v="42" actId="478"/>
          <ac:spMkLst>
            <pc:docMk/>
            <pc:sldMk cId="3173855348" sldId="2273"/>
            <ac:spMk id="98" creationId="{00000000-0000-0000-0000-000000000000}"/>
          </ac:spMkLst>
        </pc:spChg>
        <pc:spChg chg="del">
          <ac:chgData name="Saveen Reddy" userId="1ff099edb1c7ebfa" providerId="LiveId" clId="{03FCAAC5-2C72-47A2-A8BF-1185CBB2B952}" dt="2017-08-24T23:54:43.948" v="42" actId="478"/>
          <ac:spMkLst>
            <pc:docMk/>
            <pc:sldMk cId="3173855348" sldId="2273"/>
            <ac:spMk id="99" creationId="{00000000-0000-0000-0000-000000000000}"/>
          </ac:spMkLst>
        </pc:spChg>
        <pc:spChg chg="del">
          <ac:chgData name="Saveen Reddy" userId="1ff099edb1c7ebfa" providerId="LiveId" clId="{03FCAAC5-2C72-47A2-A8BF-1185CBB2B952}" dt="2017-08-24T23:54:43.948" v="42" actId="478"/>
          <ac:spMkLst>
            <pc:docMk/>
            <pc:sldMk cId="3173855348" sldId="2273"/>
            <ac:spMk id="100" creationId="{00000000-0000-0000-0000-000000000000}"/>
          </ac:spMkLst>
        </pc:spChg>
        <pc:spChg chg="del">
          <ac:chgData name="Saveen Reddy" userId="1ff099edb1c7ebfa" providerId="LiveId" clId="{03FCAAC5-2C72-47A2-A8BF-1185CBB2B952}" dt="2017-08-24T23:54:43.948" v="42" actId="478"/>
          <ac:spMkLst>
            <pc:docMk/>
            <pc:sldMk cId="3173855348" sldId="2273"/>
            <ac:spMk id="101" creationId="{00000000-0000-0000-0000-000000000000}"/>
          </ac:spMkLst>
        </pc:spChg>
        <pc:spChg chg="del">
          <ac:chgData name="Saveen Reddy" userId="1ff099edb1c7ebfa" providerId="LiveId" clId="{03FCAAC5-2C72-47A2-A8BF-1185CBB2B952}" dt="2017-08-24T23:54:43.948" v="42" actId="478"/>
          <ac:spMkLst>
            <pc:docMk/>
            <pc:sldMk cId="3173855348" sldId="2273"/>
            <ac:spMk id="102" creationId="{00000000-0000-0000-0000-000000000000}"/>
          </ac:spMkLst>
        </pc:spChg>
        <pc:spChg chg="del">
          <ac:chgData name="Saveen Reddy" userId="1ff099edb1c7ebfa" providerId="LiveId" clId="{03FCAAC5-2C72-47A2-A8BF-1185CBB2B952}" dt="2017-08-24T23:54:43.948" v="42" actId="478"/>
          <ac:spMkLst>
            <pc:docMk/>
            <pc:sldMk cId="3173855348" sldId="2273"/>
            <ac:spMk id="109" creationId="{00000000-0000-0000-0000-000000000000}"/>
          </ac:spMkLst>
        </pc:spChg>
        <pc:spChg chg="del">
          <ac:chgData name="Saveen Reddy" userId="1ff099edb1c7ebfa" providerId="LiveId" clId="{03FCAAC5-2C72-47A2-A8BF-1185CBB2B952}" dt="2017-08-24T23:54:43.948" v="42" actId="478"/>
          <ac:spMkLst>
            <pc:docMk/>
            <pc:sldMk cId="3173855348" sldId="2273"/>
            <ac:spMk id="110" creationId="{00000000-0000-0000-0000-000000000000}"/>
          </ac:spMkLst>
        </pc:spChg>
        <pc:spChg chg="del">
          <ac:chgData name="Saveen Reddy" userId="1ff099edb1c7ebfa" providerId="LiveId" clId="{03FCAAC5-2C72-47A2-A8BF-1185CBB2B952}" dt="2017-08-24T23:54:43.948" v="42" actId="478"/>
          <ac:spMkLst>
            <pc:docMk/>
            <pc:sldMk cId="3173855348" sldId="2273"/>
            <ac:spMk id="111" creationId="{00000000-0000-0000-0000-000000000000}"/>
          </ac:spMkLst>
        </pc:spChg>
        <pc:spChg chg="del">
          <ac:chgData name="Saveen Reddy" userId="1ff099edb1c7ebfa" providerId="LiveId" clId="{03FCAAC5-2C72-47A2-A8BF-1185CBB2B952}" dt="2017-08-24T23:54:43.948" v="42" actId="478"/>
          <ac:spMkLst>
            <pc:docMk/>
            <pc:sldMk cId="3173855348" sldId="2273"/>
            <ac:spMk id="112" creationId="{00000000-0000-0000-0000-000000000000}"/>
          </ac:spMkLst>
        </pc:spChg>
        <pc:spChg chg="del">
          <ac:chgData name="Saveen Reddy" userId="1ff099edb1c7ebfa" providerId="LiveId" clId="{03FCAAC5-2C72-47A2-A8BF-1185CBB2B952}" dt="2017-08-24T23:54:43.948" v="42" actId="478"/>
          <ac:spMkLst>
            <pc:docMk/>
            <pc:sldMk cId="3173855348" sldId="2273"/>
            <ac:spMk id="113" creationId="{00000000-0000-0000-0000-000000000000}"/>
          </ac:spMkLst>
        </pc:spChg>
        <pc:spChg chg="mod">
          <ac:chgData name="Saveen Reddy" userId="1ff099edb1c7ebfa" providerId="LiveId" clId="{03FCAAC5-2C72-47A2-A8BF-1185CBB2B952}" dt="2017-09-02T17:20:22.549" v="2007" actId="208"/>
          <ac:spMkLst>
            <pc:docMk/>
            <pc:sldMk cId="3173855348" sldId="2273"/>
            <ac:spMk id="116" creationId="{71423CF0-CB31-4437-AB11-CBBB60CDF1F8}"/>
          </ac:spMkLst>
        </pc:spChg>
        <pc:spChg chg="del">
          <ac:chgData name="Saveen Reddy" userId="1ff099edb1c7ebfa" providerId="LiveId" clId="{03FCAAC5-2C72-47A2-A8BF-1185CBB2B952}" dt="2017-08-24T23:54:43.948" v="42" actId="478"/>
          <ac:spMkLst>
            <pc:docMk/>
            <pc:sldMk cId="3173855348" sldId="2273"/>
            <ac:spMk id="117" creationId="{00000000-0000-0000-0000-000000000000}"/>
          </ac:spMkLst>
        </pc:spChg>
        <pc:spChg chg="mod">
          <ac:chgData name="Saveen Reddy" userId="1ff099edb1c7ebfa" providerId="LiveId" clId="{03FCAAC5-2C72-47A2-A8BF-1185CBB2B952}" dt="2017-09-02T17:20:22.549" v="2007" actId="208"/>
          <ac:spMkLst>
            <pc:docMk/>
            <pc:sldMk cId="3173855348" sldId="2273"/>
            <ac:spMk id="118" creationId="{F77FFD8E-9457-4DE0-8C76-0BA8BF153BA1}"/>
          </ac:spMkLst>
        </pc:spChg>
        <pc:spChg chg="mod">
          <ac:chgData name="Saveen Reddy" userId="1ff099edb1c7ebfa" providerId="LiveId" clId="{03FCAAC5-2C72-47A2-A8BF-1185CBB2B952}" dt="2017-09-02T17:20:22.549" v="2007" actId="208"/>
          <ac:spMkLst>
            <pc:docMk/>
            <pc:sldMk cId="3173855348" sldId="2273"/>
            <ac:spMk id="119" creationId="{980139ED-029C-4CD6-AEC7-ED7C17CF3C8C}"/>
          </ac:spMkLst>
        </pc:spChg>
        <pc:spChg chg="mod">
          <ac:chgData name="Saveen Reddy" userId="1ff099edb1c7ebfa" providerId="LiveId" clId="{03FCAAC5-2C72-47A2-A8BF-1185CBB2B952}" dt="2017-09-02T17:20:22.549" v="2007" actId="208"/>
          <ac:spMkLst>
            <pc:docMk/>
            <pc:sldMk cId="3173855348" sldId="2273"/>
            <ac:spMk id="120" creationId="{D7B579A0-B11C-475C-B3D4-85539DA7B764}"/>
          </ac:spMkLst>
        </pc:spChg>
        <pc:spChg chg="mod">
          <ac:chgData name="Saveen Reddy" userId="1ff099edb1c7ebfa" providerId="LiveId" clId="{03FCAAC5-2C72-47A2-A8BF-1185CBB2B952}" dt="2017-09-02T17:20:26.365" v="2008" actId="208"/>
          <ac:spMkLst>
            <pc:docMk/>
            <pc:sldMk cId="3173855348" sldId="2273"/>
            <ac:spMk id="122" creationId="{066B25A0-B319-4BBE-A6CA-0665CA1ED8CF}"/>
          </ac:spMkLst>
        </pc:spChg>
        <pc:spChg chg="mod">
          <ac:chgData name="Saveen Reddy" userId="1ff099edb1c7ebfa" providerId="LiveId" clId="{03FCAAC5-2C72-47A2-A8BF-1185CBB2B952}" dt="2017-09-02T17:20:26.365" v="2008" actId="208"/>
          <ac:spMkLst>
            <pc:docMk/>
            <pc:sldMk cId="3173855348" sldId="2273"/>
            <ac:spMk id="124" creationId="{A4C32773-5E1C-4BE0-B897-8F061903B106}"/>
          </ac:spMkLst>
        </pc:spChg>
        <pc:spChg chg="mod">
          <ac:chgData name="Saveen Reddy" userId="1ff099edb1c7ebfa" providerId="LiveId" clId="{03FCAAC5-2C72-47A2-A8BF-1185CBB2B952}" dt="2017-09-02T17:20:26.365" v="2008" actId="208"/>
          <ac:spMkLst>
            <pc:docMk/>
            <pc:sldMk cId="3173855348" sldId="2273"/>
            <ac:spMk id="126" creationId="{94AA81D2-E794-4D8F-B2A6-F2D15DE32A3F}"/>
          </ac:spMkLst>
        </pc:spChg>
        <pc:spChg chg="mod">
          <ac:chgData name="Saveen Reddy" userId="1ff099edb1c7ebfa" providerId="LiveId" clId="{03FCAAC5-2C72-47A2-A8BF-1185CBB2B952}" dt="2017-09-02T17:20:26.365" v="2008" actId="208"/>
          <ac:spMkLst>
            <pc:docMk/>
            <pc:sldMk cId="3173855348" sldId="2273"/>
            <ac:spMk id="127" creationId="{7260FC0D-E742-4858-A92F-7D3E91B50885}"/>
          </ac:spMkLst>
        </pc:spChg>
        <pc:spChg chg="mod">
          <ac:chgData name="Saveen Reddy" userId="1ff099edb1c7ebfa" providerId="LiveId" clId="{03FCAAC5-2C72-47A2-A8BF-1185CBB2B952}" dt="2017-09-02T17:20:26.365" v="2008" actId="208"/>
          <ac:spMkLst>
            <pc:docMk/>
            <pc:sldMk cId="3173855348" sldId="2273"/>
            <ac:spMk id="128" creationId="{AF652E8C-3727-4329-987E-3DA6C092A0FA}"/>
          </ac:spMkLst>
        </pc:spChg>
        <pc:spChg chg="mod">
          <ac:chgData name="Saveen Reddy" userId="1ff099edb1c7ebfa" providerId="LiveId" clId="{03FCAAC5-2C72-47A2-A8BF-1185CBB2B952}" dt="2017-09-02T17:20:26.365" v="2008" actId="208"/>
          <ac:spMkLst>
            <pc:docMk/>
            <pc:sldMk cId="3173855348" sldId="2273"/>
            <ac:spMk id="129" creationId="{B18E2C3E-1396-44C5-BBDB-54AB1FE6DAAD}"/>
          </ac:spMkLst>
        </pc:spChg>
        <pc:spChg chg="mod topLvl">
          <ac:chgData name="Saveen Reddy" userId="1ff099edb1c7ebfa" providerId="LiveId" clId="{03FCAAC5-2C72-47A2-A8BF-1185CBB2B952}" dt="2017-09-02T17:21:46.782" v="2023" actId="208"/>
          <ac:spMkLst>
            <pc:docMk/>
            <pc:sldMk cId="3173855348" sldId="2273"/>
            <ac:spMk id="131" creationId="{1B1B2CA9-AC2F-4DDD-A644-3F7C0FF10092}"/>
          </ac:spMkLst>
        </pc:spChg>
        <pc:spChg chg="mod topLvl">
          <ac:chgData name="Saveen Reddy" userId="1ff099edb1c7ebfa" providerId="LiveId" clId="{03FCAAC5-2C72-47A2-A8BF-1185CBB2B952}" dt="2017-09-02T17:21:41.466" v="2021" actId="208"/>
          <ac:spMkLst>
            <pc:docMk/>
            <pc:sldMk cId="3173855348" sldId="2273"/>
            <ac:spMk id="132" creationId="{ABF53C3F-C1B8-469C-94BB-AC57117F1B15}"/>
          </ac:spMkLst>
        </pc:spChg>
        <pc:spChg chg="mod topLvl">
          <ac:chgData name="Saveen Reddy" userId="1ff099edb1c7ebfa" providerId="LiveId" clId="{03FCAAC5-2C72-47A2-A8BF-1185CBB2B952}" dt="2017-09-02T17:21:41.466" v="2021" actId="208"/>
          <ac:spMkLst>
            <pc:docMk/>
            <pc:sldMk cId="3173855348" sldId="2273"/>
            <ac:spMk id="133" creationId="{85E6108B-D99D-482E-B2EE-10853C73A747}"/>
          </ac:spMkLst>
        </pc:spChg>
        <pc:spChg chg="mod">
          <ac:chgData name="Saveen Reddy" userId="1ff099edb1c7ebfa" providerId="LiveId" clId="{03FCAAC5-2C72-47A2-A8BF-1185CBB2B952}" dt="2017-09-02T17:23:11.321" v="2042" actId="208"/>
          <ac:spMkLst>
            <pc:docMk/>
            <pc:sldMk cId="3173855348" sldId="2273"/>
            <ac:spMk id="139" creationId="{331D1BD9-86AD-4B98-BE5B-E881AC57FA9C}"/>
          </ac:spMkLst>
        </pc:spChg>
        <pc:spChg chg="mod">
          <ac:chgData name="Saveen Reddy" userId="1ff099edb1c7ebfa" providerId="LiveId" clId="{03FCAAC5-2C72-47A2-A8BF-1185CBB2B952}" dt="2017-09-02T17:23:11.321" v="2042" actId="208"/>
          <ac:spMkLst>
            <pc:docMk/>
            <pc:sldMk cId="3173855348" sldId="2273"/>
            <ac:spMk id="140" creationId="{D72B8239-BDF3-4954-8393-1C8FEFE4822A}"/>
          </ac:spMkLst>
        </pc:spChg>
        <pc:spChg chg="mod">
          <ac:chgData name="Saveen Reddy" userId="1ff099edb1c7ebfa" providerId="LiveId" clId="{03FCAAC5-2C72-47A2-A8BF-1185CBB2B952}" dt="2017-09-02T17:23:11.321" v="2042" actId="208"/>
          <ac:spMkLst>
            <pc:docMk/>
            <pc:sldMk cId="3173855348" sldId="2273"/>
            <ac:spMk id="141" creationId="{88D9B70C-E729-4D63-9E56-BE3EDD86C5AB}"/>
          </ac:spMkLst>
        </pc:spChg>
        <pc:spChg chg="mod">
          <ac:chgData name="Saveen Reddy" userId="1ff099edb1c7ebfa" providerId="LiveId" clId="{03FCAAC5-2C72-47A2-A8BF-1185CBB2B952}" dt="2017-09-02T17:23:11.321" v="2042" actId="208"/>
          <ac:spMkLst>
            <pc:docMk/>
            <pc:sldMk cId="3173855348" sldId="2273"/>
            <ac:spMk id="143" creationId="{A04A01E5-2D40-49FA-AE38-52EEA4B6575A}"/>
          </ac:spMkLst>
        </pc:spChg>
        <pc:spChg chg="mod">
          <ac:chgData name="Saveen Reddy" userId="1ff099edb1c7ebfa" providerId="LiveId" clId="{03FCAAC5-2C72-47A2-A8BF-1185CBB2B952}" dt="2017-09-02T17:23:11.321" v="2042" actId="208"/>
          <ac:spMkLst>
            <pc:docMk/>
            <pc:sldMk cId="3173855348" sldId="2273"/>
            <ac:spMk id="145" creationId="{6A546EF4-539B-4346-8C8E-073291FE23D0}"/>
          </ac:spMkLst>
        </pc:spChg>
        <pc:spChg chg="mod">
          <ac:chgData name="Saveen Reddy" userId="1ff099edb1c7ebfa" providerId="LiveId" clId="{03FCAAC5-2C72-47A2-A8BF-1185CBB2B952}" dt="2017-09-02T17:23:11.321" v="2042" actId="208"/>
          <ac:spMkLst>
            <pc:docMk/>
            <pc:sldMk cId="3173855348" sldId="2273"/>
            <ac:spMk id="146" creationId="{43434B9B-13F6-4AA4-A37E-D3A4BA1555F5}"/>
          </ac:spMkLst>
        </pc:spChg>
        <pc:spChg chg="mod">
          <ac:chgData name="Saveen Reddy" userId="1ff099edb1c7ebfa" providerId="LiveId" clId="{03FCAAC5-2C72-47A2-A8BF-1185CBB2B952}" dt="2017-09-02T17:23:11.321" v="2042" actId="208"/>
          <ac:spMkLst>
            <pc:docMk/>
            <pc:sldMk cId="3173855348" sldId="2273"/>
            <ac:spMk id="147" creationId="{CF2C0492-DDFA-4222-AF2D-8C6AACE49971}"/>
          </ac:spMkLst>
        </pc:spChg>
        <pc:spChg chg="mod">
          <ac:chgData name="Saveen Reddy" userId="1ff099edb1c7ebfa" providerId="LiveId" clId="{03FCAAC5-2C72-47A2-A8BF-1185CBB2B952}" dt="2017-09-02T17:23:11.321" v="2042" actId="208"/>
          <ac:spMkLst>
            <pc:docMk/>
            <pc:sldMk cId="3173855348" sldId="2273"/>
            <ac:spMk id="148" creationId="{4779F3B3-D9C6-4EF2-B6D2-BAD18D4B3F24}"/>
          </ac:spMkLst>
        </pc:spChg>
        <pc:spChg chg="mod">
          <ac:chgData name="Saveen Reddy" userId="1ff099edb1c7ebfa" providerId="LiveId" clId="{03FCAAC5-2C72-47A2-A8BF-1185CBB2B952}" dt="2017-09-02T17:23:11.321" v="2042" actId="208"/>
          <ac:spMkLst>
            <pc:docMk/>
            <pc:sldMk cId="3173855348" sldId="2273"/>
            <ac:spMk id="149" creationId="{3DFBAA30-0153-417A-99D3-CF72E5CF1F04}"/>
          </ac:spMkLst>
        </pc:spChg>
        <pc:spChg chg="mod">
          <ac:chgData name="Saveen Reddy" userId="1ff099edb1c7ebfa" providerId="LiveId" clId="{03FCAAC5-2C72-47A2-A8BF-1185CBB2B952}" dt="2017-09-02T17:23:11.321" v="2042" actId="208"/>
          <ac:spMkLst>
            <pc:docMk/>
            <pc:sldMk cId="3173855348" sldId="2273"/>
            <ac:spMk id="150" creationId="{D6F9C372-7B12-46FE-A661-7857162A1E0C}"/>
          </ac:spMkLst>
        </pc:spChg>
        <pc:spChg chg="mod">
          <ac:chgData name="Saveen Reddy" userId="1ff099edb1c7ebfa" providerId="LiveId" clId="{03FCAAC5-2C72-47A2-A8BF-1185CBB2B952}" dt="2017-09-02T17:23:11.321" v="2042" actId="208"/>
          <ac:spMkLst>
            <pc:docMk/>
            <pc:sldMk cId="3173855348" sldId="2273"/>
            <ac:spMk id="151" creationId="{AF38EFF0-C2B5-4068-97C6-8CD57073C7E3}"/>
          </ac:spMkLst>
        </pc:spChg>
        <pc:spChg chg="mod">
          <ac:chgData name="Saveen Reddy" userId="1ff099edb1c7ebfa" providerId="LiveId" clId="{03FCAAC5-2C72-47A2-A8BF-1185CBB2B952}" dt="2017-09-02T17:23:11.321" v="2042" actId="208"/>
          <ac:spMkLst>
            <pc:docMk/>
            <pc:sldMk cId="3173855348" sldId="2273"/>
            <ac:spMk id="152" creationId="{FE4B65A2-28BB-4011-947D-0F33B0AB38C4}"/>
          </ac:spMkLst>
        </pc:spChg>
        <pc:spChg chg="mod">
          <ac:chgData name="Saveen Reddy" userId="1ff099edb1c7ebfa" providerId="LiveId" clId="{03FCAAC5-2C72-47A2-A8BF-1185CBB2B952}" dt="2017-09-02T17:23:11.321" v="2042" actId="208"/>
          <ac:spMkLst>
            <pc:docMk/>
            <pc:sldMk cId="3173855348" sldId="2273"/>
            <ac:spMk id="153" creationId="{C865A5A6-1B36-4B1D-9362-BBB50B2FF97C}"/>
          </ac:spMkLst>
        </pc:spChg>
        <pc:spChg chg="mod">
          <ac:chgData name="Saveen Reddy" userId="1ff099edb1c7ebfa" providerId="LiveId" clId="{03FCAAC5-2C72-47A2-A8BF-1185CBB2B952}" dt="2017-09-02T17:23:11.321" v="2042" actId="208"/>
          <ac:spMkLst>
            <pc:docMk/>
            <pc:sldMk cId="3173855348" sldId="2273"/>
            <ac:spMk id="154" creationId="{DBF73A32-9B6B-4CF5-8B80-EA7DC772AB3C}"/>
          </ac:spMkLst>
        </pc:spChg>
        <pc:spChg chg="mod">
          <ac:chgData name="Saveen Reddy" userId="1ff099edb1c7ebfa" providerId="LiveId" clId="{03FCAAC5-2C72-47A2-A8BF-1185CBB2B952}" dt="2017-09-02T17:23:11.321" v="2042" actId="208"/>
          <ac:spMkLst>
            <pc:docMk/>
            <pc:sldMk cId="3173855348" sldId="2273"/>
            <ac:spMk id="155" creationId="{57859F27-A1B1-4F3A-9C2A-878966C4CAA7}"/>
          </ac:spMkLst>
        </pc:spChg>
        <pc:spChg chg="mod">
          <ac:chgData name="Saveen Reddy" userId="1ff099edb1c7ebfa" providerId="LiveId" clId="{03FCAAC5-2C72-47A2-A8BF-1185CBB2B952}" dt="2017-09-02T17:23:11.321" v="2042" actId="208"/>
          <ac:spMkLst>
            <pc:docMk/>
            <pc:sldMk cId="3173855348" sldId="2273"/>
            <ac:spMk id="156" creationId="{7E6508E1-8447-4E7D-AFB5-2C9E2012F4EE}"/>
          </ac:spMkLst>
        </pc:spChg>
        <pc:spChg chg="mod">
          <ac:chgData name="Saveen Reddy" userId="1ff099edb1c7ebfa" providerId="LiveId" clId="{03FCAAC5-2C72-47A2-A8BF-1185CBB2B952}" dt="2017-09-02T17:21:45.704" v="2022" actId="2085"/>
          <ac:spMkLst>
            <pc:docMk/>
            <pc:sldMk cId="3173855348" sldId="2273"/>
            <ac:spMk id="157" creationId="{001D3429-68B1-4AB8-9261-2E95696274EA}"/>
          </ac:spMkLst>
        </pc:spChg>
        <pc:spChg chg="mod">
          <ac:chgData name="Saveen Reddy" userId="1ff099edb1c7ebfa" providerId="LiveId" clId="{03FCAAC5-2C72-47A2-A8BF-1185CBB2B952}" dt="2017-09-02T17:21:45.704" v="2022" actId="2085"/>
          <ac:spMkLst>
            <pc:docMk/>
            <pc:sldMk cId="3173855348" sldId="2273"/>
            <ac:spMk id="158" creationId="{2A98643E-39E9-4938-88C3-ECEFC9A6E743}"/>
          </ac:spMkLst>
        </pc:spChg>
        <pc:spChg chg="mod">
          <ac:chgData name="Saveen Reddy" userId="1ff099edb1c7ebfa" providerId="LiveId" clId="{03FCAAC5-2C72-47A2-A8BF-1185CBB2B952}" dt="2017-09-02T17:21:45.704" v="2022" actId="2085"/>
          <ac:spMkLst>
            <pc:docMk/>
            <pc:sldMk cId="3173855348" sldId="2273"/>
            <ac:spMk id="159" creationId="{486BCCF0-1D05-4EAB-823C-B8CA2079C203}"/>
          </ac:spMkLst>
        </pc:spChg>
        <pc:spChg chg="mod">
          <ac:chgData name="Saveen Reddy" userId="1ff099edb1c7ebfa" providerId="LiveId" clId="{03FCAAC5-2C72-47A2-A8BF-1185CBB2B952}" dt="2017-09-02T17:21:45.704" v="2022" actId="2085"/>
          <ac:spMkLst>
            <pc:docMk/>
            <pc:sldMk cId="3173855348" sldId="2273"/>
            <ac:spMk id="160" creationId="{BD7BB2C9-0BF0-43E8-912A-F72AF0FA3D7C}"/>
          </ac:spMkLst>
        </pc:spChg>
        <pc:spChg chg="mod">
          <ac:chgData name="Saveen Reddy" userId="1ff099edb1c7ebfa" providerId="LiveId" clId="{03FCAAC5-2C72-47A2-A8BF-1185CBB2B952}" dt="2017-09-02T17:21:45.704" v="2022" actId="2085"/>
          <ac:spMkLst>
            <pc:docMk/>
            <pc:sldMk cId="3173855348" sldId="2273"/>
            <ac:spMk id="161" creationId="{8A1DA749-B60E-494C-BEEF-4158BD1D3BF2}"/>
          </ac:spMkLst>
        </pc:spChg>
        <pc:spChg chg="mod">
          <ac:chgData name="Saveen Reddy" userId="1ff099edb1c7ebfa" providerId="LiveId" clId="{03FCAAC5-2C72-47A2-A8BF-1185CBB2B952}" dt="2017-09-02T17:21:45.704" v="2022" actId="2085"/>
          <ac:spMkLst>
            <pc:docMk/>
            <pc:sldMk cId="3173855348" sldId="2273"/>
            <ac:spMk id="162" creationId="{7CF860F5-4B91-4B40-900E-650852FB451A}"/>
          </ac:spMkLst>
        </pc:spChg>
        <pc:spChg chg="mod">
          <ac:chgData name="Saveen Reddy" userId="1ff099edb1c7ebfa" providerId="LiveId" clId="{03FCAAC5-2C72-47A2-A8BF-1185CBB2B952}" dt="2017-09-02T17:21:45.704" v="2022" actId="2085"/>
          <ac:spMkLst>
            <pc:docMk/>
            <pc:sldMk cId="3173855348" sldId="2273"/>
            <ac:spMk id="163" creationId="{B27A5B7D-2649-4C21-94CA-E53D204FD20C}"/>
          </ac:spMkLst>
        </pc:spChg>
        <pc:spChg chg="mod">
          <ac:chgData name="Saveen Reddy" userId="1ff099edb1c7ebfa" providerId="LiveId" clId="{03FCAAC5-2C72-47A2-A8BF-1185CBB2B952}" dt="2017-09-02T17:20:26.365" v="2008" actId="208"/>
          <ac:spMkLst>
            <pc:docMk/>
            <pc:sldMk cId="3173855348" sldId="2273"/>
            <ac:spMk id="168" creationId="{A21FACC4-DE43-458F-8B99-A29AF7689FE8}"/>
          </ac:spMkLst>
        </pc:spChg>
        <pc:spChg chg="mod">
          <ac:chgData name="Saveen Reddy" userId="1ff099edb1c7ebfa" providerId="LiveId" clId="{03FCAAC5-2C72-47A2-A8BF-1185CBB2B952}" dt="2017-09-02T17:20:26.365" v="2008" actId="208"/>
          <ac:spMkLst>
            <pc:docMk/>
            <pc:sldMk cId="3173855348" sldId="2273"/>
            <ac:spMk id="169" creationId="{2B88B460-08E9-4C33-8878-F9BF39DDF1ED}"/>
          </ac:spMkLst>
        </pc:spChg>
        <pc:spChg chg="mod">
          <ac:chgData name="Saveen Reddy" userId="1ff099edb1c7ebfa" providerId="LiveId" clId="{03FCAAC5-2C72-47A2-A8BF-1185CBB2B952}" dt="2017-09-02T17:20:26.365" v="2008" actId="208"/>
          <ac:spMkLst>
            <pc:docMk/>
            <pc:sldMk cId="3173855348" sldId="2273"/>
            <ac:spMk id="170" creationId="{613A8ECE-0E68-441D-8C96-8E6A78A90E87}"/>
          </ac:spMkLst>
        </pc:spChg>
        <pc:spChg chg="mod">
          <ac:chgData name="Saveen Reddy" userId="1ff099edb1c7ebfa" providerId="LiveId" clId="{03FCAAC5-2C72-47A2-A8BF-1185CBB2B952}" dt="2017-09-02T17:20:26.365" v="2008" actId="208"/>
          <ac:spMkLst>
            <pc:docMk/>
            <pc:sldMk cId="3173855348" sldId="2273"/>
            <ac:spMk id="171" creationId="{9F958FA4-24E2-4772-9B8B-204BA7BC98F2}"/>
          </ac:spMkLst>
        </pc:spChg>
        <pc:spChg chg="mod">
          <ac:chgData name="Saveen Reddy" userId="1ff099edb1c7ebfa" providerId="LiveId" clId="{03FCAAC5-2C72-47A2-A8BF-1185CBB2B952}" dt="2017-09-02T17:23:54.921" v="2048" actId="208"/>
          <ac:spMkLst>
            <pc:docMk/>
            <pc:sldMk cId="3173855348" sldId="2273"/>
            <ac:spMk id="173" creationId="{1A6826C4-71B8-470F-99AA-D29662E39FEC}"/>
          </ac:spMkLst>
        </pc:spChg>
        <pc:spChg chg="mod">
          <ac:chgData name="Saveen Reddy" userId="1ff099edb1c7ebfa" providerId="LiveId" clId="{03FCAAC5-2C72-47A2-A8BF-1185CBB2B952}" dt="2017-09-02T17:23:54.921" v="2048" actId="208"/>
          <ac:spMkLst>
            <pc:docMk/>
            <pc:sldMk cId="3173855348" sldId="2273"/>
            <ac:spMk id="174" creationId="{9E7BED8B-C50C-402A-BE0A-A1F69F116DF8}"/>
          </ac:spMkLst>
        </pc:spChg>
        <pc:spChg chg="mod topLvl">
          <ac:chgData name="Saveen Reddy" userId="1ff099edb1c7ebfa" providerId="LiveId" clId="{03FCAAC5-2C72-47A2-A8BF-1185CBB2B952}" dt="2017-09-02T17:21:50.832" v="2024" actId="208"/>
          <ac:spMkLst>
            <pc:docMk/>
            <pc:sldMk cId="3173855348" sldId="2273"/>
            <ac:spMk id="176" creationId="{EAC70E6B-D17B-4DC2-8083-725B6935F418}"/>
          </ac:spMkLst>
        </pc:spChg>
        <pc:spChg chg="mod topLvl">
          <ac:chgData name="Saveen Reddy" userId="1ff099edb1c7ebfa" providerId="LiveId" clId="{03FCAAC5-2C72-47A2-A8BF-1185CBB2B952}" dt="2017-09-02T17:21:50.832" v="2024" actId="208"/>
          <ac:spMkLst>
            <pc:docMk/>
            <pc:sldMk cId="3173855348" sldId="2273"/>
            <ac:spMk id="177" creationId="{CA6904EC-4EE4-4AAF-BA6D-BE9F70312845}"/>
          </ac:spMkLst>
        </pc:spChg>
        <pc:spChg chg="mod topLvl">
          <ac:chgData name="Saveen Reddy" userId="1ff099edb1c7ebfa" providerId="LiveId" clId="{03FCAAC5-2C72-47A2-A8BF-1185CBB2B952}" dt="2017-09-02T17:21:50.832" v="2024" actId="208"/>
          <ac:spMkLst>
            <pc:docMk/>
            <pc:sldMk cId="3173855348" sldId="2273"/>
            <ac:spMk id="178" creationId="{7109B65D-2694-44A6-831E-CE53B42B6BF7}"/>
          </ac:spMkLst>
        </pc:spChg>
        <pc:spChg chg="mod topLvl">
          <ac:chgData name="Saveen Reddy" userId="1ff099edb1c7ebfa" providerId="LiveId" clId="{03FCAAC5-2C72-47A2-A8BF-1185CBB2B952}" dt="2017-09-02T17:22:13.585" v="2028" actId="208"/>
          <ac:spMkLst>
            <pc:docMk/>
            <pc:sldMk cId="3173855348" sldId="2273"/>
            <ac:spMk id="181" creationId="{2195CAF9-125D-40FE-820F-731B53A52169}"/>
          </ac:spMkLst>
        </pc:spChg>
        <pc:spChg chg="mod topLvl">
          <ac:chgData name="Saveen Reddy" userId="1ff099edb1c7ebfa" providerId="LiveId" clId="{03FCAAC5-2C72-47A2-A8BF-1185CBB2B952}" dt="2017-09-02T17:22:07.793" v="2026" actId="2085"/>
          <ac:spMkLst>
            <pc:docMk/>
            <pc:sldMk cId="3173855348" sldId="2273"/>
            <ac:spMk id="182" creationId="{A5260292-61B4-4E4E-BB93-B7F416D55C1B}"/>
          </ac:spMkLst>
        </pc:spChg>
        <pc:spChg chg="mod topLvl">
          <ac:chgData name="Saveen Reddy" userId="1ff099edb1c7ebfa" providerId="LiveId" clId="{03FCAAC5-2C72-47A2-A8BF-1185CBB2B952}" dt="2017-09-02T17:21:50.832" v="2024" actId="208"/>
          <ac:spMkLst>
            <pc:docMk/>
            <pc:sldMk cId="3173855348" sldId="2273"/>
            <ac:spMk id="185" creationId="{2A5BE516-AC8C-45AA-B45A-A7F55092443C}"/>
          </ac:spMkLst>
        </pc:spChg>
        <pc:spChg chg="mod topLvl">
          <ac:chgData name="Saveen Reddy" userId="1ff099edb1c7ebfa" providerId="LiveId" clId="{03FCAAC5-2C72-47A2-A8BF-1185CBB2B952}" dt="2017-09-02T17:22:41.047" v="2036" actId="208"/>
          <ac:spMkLst>
            <pc:docMk/>
            <pc:sldMk cId="3173855348" sldId="2273"/>
            <ac:spMk id="186" creationId="{3ABDB56E-8194-49DC-A1BA-9AFA996A04C9}"/>
          </ac:spMkLst>
        </pc:spChg>
        <pc:spChg chg="mod topLvl">
          <ac:chgData name="Saveen Reddy" userId="1ff099edb1c7ebfa" providerId="LiveId" clId="{03FCAAC5-2C72-47A2-A8BF-1185CBB2B952}" dt="2017-09-02T17:22:41.047" v="2036" actId="208"/>
          <ac:spMkLst>
            <pc:docMk/>
            <pc:sldMk cId="3173855348" sldId="2273"/>
            <ac:spMk id="187" creationId="{A7CE757B-0D23-40C8-803A-4BA3BC3F087D}"/>
          </ac:spMkLst>
        </pc:spChg>
        <pc:spChg chg="mod topLvl">
          <ac:chgData name="Saveen Reddy" userId="1ff099edb1c7ebfa" providerId="LiveId" clId="{03FCAAC5-2C72-47A2-A8BF-1185CBB2B952}" dt="2017-09-02T17:22:41.047" v="2036" actId="208"/>
          <ac:spMkLst>
            <pc:docMk/>
            <pc:sldMk cId="3173855348" sldId="2273"/>
            <ac:spMk id="188" creationId="{71A65020-EAFF-4CD8-B73D-C8A2FE7EAB54}"/>
          </ac:spMkLst>
        </pc:spChg>
        <pc:spChg chg="mod">
          <ac:chgData name="Saveen Reddy" userId="1ff099edb1c7ebfa" providerId="LiveId" clId="{03FCAAC5-2C72-47A2-A8BF-1185CBB2B952}" dt="2017-09-02T17:22:25.199" v="2033" actId="208"/>
          <ac:spMkLst>
            <pc:docMk/>
            <pc:sldMk cId="3173855348" sldId="2273"/>
            <ac:spMk id="190" creationId="{5BB9B415-6F8A-41C6-949A-5957C24D1BE3}"/>
          </ac:spMkLst>
        </pc:spChg>
        <pc:spChg chg="mod">
          <ac:chgData name="Saveen Reddy" userId="1ff099edb1c7ebfa" providerId="LiveId" clId="{03FCAAC5-2C72-47A2-A8BF-1185CBB2B952}" dt="2017-09-02T17:22:22.606" v="2032" actId="208"/>
          <ac:spMkLst>
            <pc:docMk/>
            <pc:sldMk cId="3173855348" sldId="2273"/>
            <ac:spMk id="191" creationId="{0C0B0C64-CF85-4446-ADAC-6D983C93BB92}"/>
          </ac:spMkLst>
        </pc:spChg>
        <pc:spChg chg="mod">
          <ac:chgData name="Saveen Reddy" userId="1ff099edb1c7ebfa" providerId="LiveId" clId="{03FCAAC5-2C72-47A2-A8BF-1185CBB2B952}" dt="2017-09-02T17:22:36.822" v="2035" actId="208"/>
          <ac:spMkLst>
            <pc:docMk/>
            <pc:sldMk cId="3173855348" sldId="2273"/>
            <ac:spMk id="192" creationId="{DDB3D0DC-9809-46A2-A975-AD6664891204}"/>
          </ac:spMkLst>
        </pc:spChg>
        <pc:spChg chg="mod">
          <ac:chgData name="Saveen Reddy" userId="1ff099edb1c7ebfa" providerId="LiveId" clId="{03FCAAC5-2C72-47A2-A8BF-1185CBB2B952}" dt="2017-09-02T17:22:36.822" v="2035" actId="208"/>
          <ac:spMkLst>
            <pc:docMk/>
            <pc:sldMk cId="3173855348" sldId="2273"/>
            <ac:spMk id="193" creationId="{287936E6-8958-485A-BF47-C0848252858C}"/>
          </ac:spMkLst>
        </pc:spChg>
        <pc:spChg chg="mod">
          <ac:chgData name="Saveen Reddy" userId="1ff099edb1c7ebfa" providerId="LiveId" clId="{03FCAAC5-2C72-47A2-A8BF-1185CBB2B952}" dt="2017-09-02T17:22:36.822" v="2035" actId="208"/>
          <ac:spMkLst>
            <pc:docMk/>
            <pc:sldMk cId="3173855348" sldId="2273"/>
            <ac:spMk id="194" creationId="{FD255C98-160D-474E-B4ED-E06B7679204F}"/>
          </ac:spMkLst>
        </pc:spChg>
        <pc:spChg chg="mod">
          <ac:chgData name="Saveen Reddy" userId="1ff099edb1c7ebfa" providerId="LiveId" clId="{03FCAAC5-2C72-47A2-A8BF-1185CBB2B952}" dt="2017-09-02T17:22:56.800" v="2040" actId="208"/>
          <ac:spMkLst>
            <pc:docMk/>
            <pc:sldMk cId="3173855348" sldId="2273"/>
            <ac:spMk id="195" creationId="{EA04EE86-BC70-47A2-A80D-E519D326A253}"/>
          </ac:spMkLst>
        </pc:spChg>
        <pc:spChg chg="mod">
          <ac:chgData name="Saveen Reddy" userId="1ff099edb1c7ebfa" providerId="LiveId" clId="{03FCAAC5-2C72-47A2-A8BF-1185CBB2B952}" dt="2017-09-02T17:22:56.800" v="2040" actId="208"/>
          <ac:spMkLst>
            <pc:docMk/>
            <pc:sldMk cId="3173855348" sldId="2273"/>
            <ac:spMk id="197" creationId="{4876C650-BA7E-4061-8F53-9B97366F9290}"/>
          </ac:spMkLst>
        </pc:spChg>
        <pc:spChg chg="mod">
          <ac:chgData name="Saveen Reddy" userId="1ff099edb1c7ebfa" providerId="LiveId" clId="{03FCAAC5-2C72-47A2-A8BF-1185CBB2B952}" dt="2017-09-02T17:22:56.800" v="2040" actId="208"/>
          <ac:spMkLst>
            <pc:docMk/>
            <pc:sldMk cId="3173855348" sldId="2273"/>
            <ac:spMk id="198" creationId="{68982B08-C2BF-46D0-B0CE-E1CBE48CB82D}"/>
          </ac:spMkLst>
        </pc:spChg>
        <pc:spChg chg="mod">
          <ac:chgData name="Saveen Reddy" userId="1ff099edb1c7ebfa" providerId="LiveId" clId="{03FCAAC5-2C72-47A2-A8BF-1185CBB2B952}" dt="2017-09-02T17:22:56.800" v="2040" actId="208"/>
          <ac:spMkLst>
            <pc:docMk/>
            <pc:sldMk cId="3173855348" sldId="2273"/>
            <ac:spMk id="199" creationId="{0929F2AD-EC27-42AA-975D-21CE927978F7}"/>
          </ac:spMkLst>
        </pc:spChg>
        <pc:spChg chg="mod">
          <ac:chgData name="Saveen Reddy" userId="1ff099edb1c7ebfa" providerId="LiveId" clId="{03FCAAC5-2C72-47A2-A8BF-1185CBB2B952}" dt="2017-09-02T17:22:56.800" v="2040" actId="208"/>
          <ac:spMkLst>
            <pc:docMk/>
            <pc:sldMk cId="3173855348" sldId="2273"/>
            <ac:spMk id="200" creationId="{9AFB0EDF-F281-41D2-B6AE-B9A1C45A14ED}"/>
          </ac:spMkLst>
        </pc:spChg>
        <pc:spChg chg="mod">
          <ac:chgData name="Saveen Reddy" userId="1ff099edb1c7ebfa" providerId="LiveId" clId="{03FCAAC5-2C72-47A2-A8BF-1185CBB2B952}" dt="2017-09-02T17:22:56.800" v="2040" actId="208"/>
          <ac:spMkLst>
            <pc:docMk/>
            <pc:sldMk cId="3173855348" sldId="2273"/>
            <ac:spMk id="201" creationId="{598E94DD-82DB-4CEA-94BE-8FF69BFF8992}"/>
          </ac:spMkLst>
        </pc:spChg>
        <pc:grpChg chg="del">
          <ac:chgData name="Saveen Reddy" userId="1ff099edb1c7ebfa" providerId="LiveId" clId="{03FCAAC5-2C72-47A2-A8BF-1185CBB2B952}" dt="2017-08-24T23:54:43.948" v="42" actId="478"/>
          <ac:grpSpMkLst>
            <pc:docMk/>
            <pc:sldMk cId="3173855348" sldId="2273"/>
            <ac:grpSpMk id="36" creationId="{00000000-0000-0000-0000-000000000000}"/>
          </ac:grpSpMkLst>
        </pc:grpChg>
        <pc:grpChg chg="del">
          <ac:chgData name="Saveen Reddy" userId="1ff099edb1c7ebfa" providerId="LiveId" clId="{03FCAAC5-2C72-47A2-A8BF-1185CBB2B952}" dt="2017-08-24T23:54:43.948" v="42" actId="478"/>
          <ac:grpSpMkLst>
            <pc:docMk/>
            <pc:sldMk cId="3173855348" sldId="2273"/>
            <ac:grpSpMk id="49" creationId="{00000000-0000-0000-0000-000000000000}"/>
          </ac:grpSpMkLst>
        </pc:grpChg>
        <pc:grpChg chg="del">
          <ac:chgData name="Saveen Reddy" userId="1ff099edb1c7ebfa" providerId="LiveId" clId="{03FCAAC5-2C72-47A2-A8BF-1185CBB2B952}" dt="2017-08-24T23:54:43.948" v="42" actId="478"/>
          <ac:grpSpMkLst>
            <pc:docMk/>
            <pc:sldMk cId="3173855348" sldId="2273"/>
            <ac:grpSpMk id="56" creationId="{00000000-0000-0000-0000-000000000000}"/>
          </ac:grpSpMkLst>
        </pc:grpChg>
        <pc:grpChg chg="del">
          <ac:chgData name="Saveen Reddy" userId="1ff099edb1c7ebfa" providerId="LiveId" clId="{03FCAAC5-2C72-47A2-A8BF-1185CBB2B952}" dt="2017-08-24T23:54:43.948" v="42" actId="478"/>
          <ac:grpSpMkLst>
            <pc:docMk/>
            <pc:sldMk cId="3173855348" sldId="2273"/>
            <ac:grpSpMk id="81" creationId="{00000000-0000-0000-0000-000000000000}"/>
          </ac:grpSpMkLst>
        </pc:grpChg>
        <pc:grpChg chg="add mod">
          <ac:chgData name="Saveen Reddy" userId="1ff099edb1c7ebfa" providerId="LiveId" clId="{03FCAAC5-2C72-47A2-A8BF-1185CBB2B952}" dt="2017-09-02T17:21:05.859" v="2013" actId="208"/>
          <ac:grpSpMkLst>
            <pc:docMk/>
            <pc:sldMk cId="3173855348" sldId="2273"/>
            <ac:grpSpMk id="88" creationId="{EEDBCB8C-3A6D-40A6-8334-497F3B777ACE}"/>
          </ac:grpSpMkLst>
        </pc:grpChg>
        <pc:grpChg chg="del">
          <ac:chgData name="Saveen Reddy" userId="1ff099edb1c7ebfa" providerId="LiveId" clId="{03FCAAC5-2C72-47A2-A8BF-1185CBB2B952}" dt="2017-08-24T23:54:43.948" v="42" actId="478"/>
          <ac:grpSpMkLst>
            <pc:docMk/>
            <pc:sldMk cId="3173855348" sldId="2273"/>
            <ac:grpSpMk id="103" creationId="{00000000-0000-0000-0000-000000000000}"/>
          </ac:grpSpMkLst>
        </pc:grpChg>
        <pc:grpChg chg="add mod">
          <ac:chgData name="Saveen Reddy" userId="1ff099edb1c7ebfa" providerId="LiveId" clId="{03FCAAC5-2C72-47A2-A8BF-1185CBB2B952}" dt="2017-09-02T17:20:21.245" v="2006" actId="208"/>
          <ac:grpSpMkLst>
            <pc:docMk/>
            <pc:sldMk cId="3173855348" sldId="2273"/>
            <ac:grpSpMk id="115" creationId="{035B4E13-854A-4017-BAE9-4453E8F09C64}"/>
          </ac:grpSpMkLst>
        </pc:grpChg>
        <pc:grpChg chg="add mod">
          <ac:chgData name="Saveen Reddy" userId="1ff099edb1c7ebfa" providerId="LiveId" clId="{03FCAAC5-2C72-47A2-A8BF-1185CBB2B952}" dt="2017-08-24T23:55:23.598" v="55" actId="1038"/>
          <ac:grpSpMkLst>
            <pc:docMk/>
            <pc:sldMk cId="3173855348" sldId="2273"/>
            <ac:grpSpMk id="121" creationId="{3C326238-63EE-4D64-BE6B-B348F038E349}"/>
          </ac:grpSpMkLst>
        </pc:grpChg>
        <pc:grpChg chg="add del mod">
          <ac:chgData name="Saveen Reddy" userId="1ff099edb1c7ebfa" providerId="LiveId" clId="{03FCAAC5-2C72-47A2-A8BF-1185CBB2B952}" dt="2017-09-02T17:21:41.466" v="2021" actId="208"/>
          <ac:grpSpMkLst>
            <pc:docMk/>
            <pc:sldMk cId="3173855348" sldId="2273"/>
            <ac:grpSpMk id="130" creationId="{35C63351-B20D-4564-ADFF-987A7693C349}"/>
          </ac:grpSpMkLst>
        </pc:grpChg>
        <pc:grpChg chg="mod topLvl">
          <ac:chgData name="Saveen Reddy" userId="1ff099edb1c7ebfa" providerId="LiveId" clId="{03FCAAC5-2C72-47A2-A8BF-1185CBB2B952}" dt="2017-09-02T17:21:46.782" v="2023" actId="208"/>
          <ac:grpSpMkLst>
            <pc:docMk/>
            <pc:sldMk cId="3173855348" sldId="2273"/>
            <ac:grpSpMk id="135" creationId="{51979BF1-34F2-4C5C-BE00-0CF45EDA9FB0}"/>
          </ac:grpSpMkLst>
        </pc:grpChg>
        <pc:grpChg chg="mod topLvl">
          <ac:chgData name="Saveen Reddy" userId="1ff099edb1c7ebfa" providerId="LiveId" clId="{03FCAAC5-2C72-47A2-A8BF-1185CBB2B952}" dt="2017-09-02T17:21:41.466" v="2021" actId="208"/>
          <ac:grpSpMkLst>
            <pc:docMk/>
            <pc:sldMk cId="3173855348" sldId="2273"/>
            <ac:grpSpMk id="136" creationId="{65A340A5-D80F-42AA-A569-1E4FDD619D09}"/>
          </ac:grpSpMkLst>
        </pc:grpChg>
        <pc:grpChg chg="add mod">
          <ac:chgData name="Saveen Reddy" userId="1ff099edb1c7ebfa" providerId="LiveId" clId="{03FCAAC5-2C72-47A2-A8BF-1185CBB2B952}" dt="2017-08-24T23:55:23.598" v="55" actId="1038"/>
          <ac:grpSpMkLst>
            <pc:docMk/>
            <pc:sldMk cId="3173855348" sldId="2273"/>
            <ac:grpSpMk id="164" creationId="{BC980E04-3BC8-473C-AE8A-1EDD4B6402AC}"/>
          </ac:grpSpMkLst>
        </pc:grpChg>
        <pc:grpChg chg="add mod">
          <ac:chgData name="Saveen Reddy" userId="1ff099edb1c7ebfa" providerId="LiveId" clId="{03FCAAC5-2C72-47A2-A8BF-1185CBB2B952}" dt="2017-08-24T23:55:23.598" v="55" actId="1038"/>
          <ac:grpSpMkLst>
            <pc:docMk/>
            <pc:sldMk cId="3173855348" sldId="2273"/>
            <ac:grpSpMk id="172" creationId="{302CD009-26ED-4E6B-B22C-D8C3CCDF4DB2}"/>
          </ac:grpSpMkLst>
        </pc:grpChg>
        <pc:grpChg chg="add del mod">
          <ac:chgData name="Saveen Reddy" userId="1ff099edb1c7ebfa" providerId="LiveId" clId="{03FCAAC5-2C72-47A2-A8BF-1185CBB2B952}" dt="2017-09-02T17:21:50.832" v="2024" actId="208"/>
          <ac:grpSpMkLst>
            <pc:docMk/>
            <pc:sldMk cId="3173855348" sldId="2273"/>
            <ac:grpSpMk id="175" creationId="{20C13EEB-8BA1-4EDF-9A6B-46E3701991BE}"/>
          </ac:grpSpMkLst>
        </pc:grpChg>
        <pc:grpChg chg="mod topLvl">
          <ac:chgData name="Saveen Reddy" userId="1ff099edb1c7ebfa" providerId="LiveId" clId="{03FCAAC5-2C72-47A2-A8BF-1185CBB2B952}" dt="2017-09-02T17:21:50.832" v="2024" actId="208"/>
          <ac:grpSpMkLst>
            <pc:docMk/>
            <pc:sldMk cId="3173855348" sldId="2273"/>
            <ac:grpSpMk id="183" creationId="{0C72E8F3-A43F-4070-9F3A-C013F8F23BF4}"/>
          </ac:grpSpMkLst>
        </pc:grpChg>
        <pc:grpChg chg="mod topLvl">
          <ac:chgData name="Saveen Reddy" userId="1ff099edb1c7ebfa" providerId="LiveId" clId="{03FCAAC5-2C72-47A2-A8BF-1185CBB2B952}" dt="2017-09-02T17:22:18.166" v="2030" actId="208"/>
          <ac:grpSpMkLst>
            <pc:docMk/>
            <pc:sldMk cId="3173855348" sldId="2273"/>
            <ac:grpSpMk id="184" creationId="{E0548780-ECAE-4959-8C33-BAFD4AC272BC}"/>
          </ac:grpSpMkLst>
        </pc:grpChg>
        <pc:grpChg chg="add mod">
          <ac:chgData name="Saveen Reddy" userId="1ff099edb1c7ebfa" providerId="LiveId" clId="{03FCAAC5-2C72-47A2-A8BF-1185CBB2B952}" dt="2017-08-24T23:56:07.417" v="65" actId="1076"/>
          <ac:grpSpMkLst>
            <pc:docMk/>
            <pc:sldMk cId="3173855348" sldId="2273"/>
            <ac:grpSpMk id="206" creationId="{2ECDAFFD-68EA-40AE-BA5D-96494F575D27}"/>
          </ac:grpSpMkLst>
        </pc:grpChg>
        <pc:picChg chg="add del mod">
          <ac:chgData name="Saveen Reddy" userId="1ff099edb1c7ebfa" providerId="LiveId" clId="{03FCAAC5-2C72-47A2-A8BF-1185CBB2B952}" dt="2017-08-24T23:56:04.089" v="64" actId="478"/>
          <ac:picMkLst>
            <pc:docMk/>
            <pc:sldMk cId="3173855348" sldId="2273"/>
            <ac:picMk id="203" creationId="{C77D3DFA-C8DB-465C-8EC7-9B8A71589CC1}"/>
          </ac:picMkLst>
        </pc:picChg>
        <pc:picChg chg="add del mod">
          <ac:chgData name="Saveen Reddy" userId="1ff099edb1c7ebfa" providerId="LiveId" clId="{03FCAAC5-2C72-47A2-A8BF-1185CBB2B952}" dt="2017-08-24T23:56:16.912" v="70" actId="478"/>
          <ac:picMkLst>
            <pc:docMk/>
            <pc:sldMk cId="3173855348" sldId="2273"/>
            <ac:picMk id="204" creationId="{E564EEF1-7115-4054-946E-6DC51DFD8D23}"/>
          </ac:picMkLst>
        </pc:picChg>
        <pc:picChg chg="add mod">
          <ac:chgData name="Saveen Reddy" userId="1ff099edb1c7ebfa" providerId="LiveId" clId="{03FCAAC5-2C72-47A2-A8BF-1185CBB2B952}" dt="2017-08-24T23:56:20.538" v="71" actId="1076"/>
          <ac:picMkLst>
            <pc:docMk/>
            <pc:sldMk cId="3173855348" sldId="2273"/>
            <ac:picMk id="205" creationId="{A1BF2568-A767-4100-9A2D-321B16AA1E57}"/>
          </ac:picMkLst>
        </pc:picChg>
        <pc:cxnChg chg="add mod">
          <ac:chgData name="Saveen Reddy" userId="1ff099edb1c7ebfa" providerId="LiveId" clId="{03FCAAC5-2C72-47A2-A8BF-1185CBB2B952}" dt="2017-09-02T17:24:05.864" v="2051" actId="208"/>
          <ac:cxnSpMkLst>
            <pc:docMk/>
            <pc:sldMk cId="3173855348" sldId="2273"/>
            <ac:cxnSpMk id="77" creationId="{AE6A1967-CD10-4396-9EA0-7CF639A6079E}"/>
          </ac:cxnSpMkLst>
        </pc:cxnChg>
        <pc:cxnChg chg="add mod">
          <ac:chgData name="Saveen Reddy" userId="1ff099edb1c7ebfa" providerId="LiveId" clId="{03FCAAC5-2C72-47A2-A8BF-1185CBB2B952}" dt="2017-09-02T17:24:05.864" v="2051" actId="208"/>
          <ac:cxnSpMkLst>
            <pc:docMk/>
            <pc:sldMk cId="3173855348" sldId="2273"/>
            <ac:cxnSpMk id="78" creationId="{3D49AE9C-5EC8-4CC7-AFF8-59768322CA57}"/>
          </ac:cxnSpMkLst>
        </pc:cxnChg>
        <pc:cxnChg chg="add mod">
          <ac:chgData name="Saveen Reddy" userId="1ff099edb1c7ebfa" providerId="LiveId" clId="{03FCAAC5-2C72-47A2-A8BF-1185CBB2B952}" dt="2017-09-02T17:24:05.864" v="2051" actId="208"/>
          <ac:cxnSpMkLst>
            <pc:docMk/>
            <pc:sldMk cId="3173855348" sldId="2273"/>
            <ac:cxnSpMk id="79" creationId="{4A3DBA2F-B424-443F-8AD8-E9DF72718D2B}"/>
          </ac:cxnSpMkLst>
        </pc:cxnChg>
        <pc:cxnChg chg="add mod">
          <ac:chgData name="Saveen Reddy" userId="1ff099edb1c7ebfa" providerId="LiveId" clId="{03FCAAC5-2C72-47A2-A8BF-1185CBB2B952}" dt="2017-09-02T17:24:05.864" v="2051" actId="208"/>
          <ac:cxnSpMkLst>
            <pc:docMk/>
            <pc:sldMk cId="3173855348" sldId="2273"/>
            <ac:cxnSpMk id="84" creationId="{EB54A175-6205-4698-9179-F8C1BDFE147B}"/>
          </ac:cxnSpMkLst>
        </pc:cxnChg>
        <pc:cxnChg chg="add mod">
          <ac:chgData name="Saveen Reddy" userId="1ff099edb1c7ebfa" providerId="LiveId" clId="{03FCAAC5-2C72-47A2-A8BF-1185CBB2B952}" dt="2017-09-02T18:35:57.497" v="2055" actId="208"/>
          <ac:cxnSpMkLst>
            <pc:docMk/>
            <pc:sldMk cId="3173855348" sldId="2273"/>
            <ac:cxnSpMk id="97" creationId="{6493F76E-27A5-4D97-A18B-DE79F56A758B}"/>
          </ac:cxnSpMkLst>
        </pc:cxnChg>
        <pc:cxnChg chg="add mod">
          <ac:chgData name="Saveen Reddy" userId="1ff099edb1c7ebfa" providerId="LiveId" clId="{03FCAAC5-2C72-47A2-A8BF-1185CBB2B952}" dt="2017-09-02T18:35:57.497" v="2055" actId="208"/>
          <ac:cxnSpMkLst>
            <pc:docMk/>
            <pc:sldMk cId="3173855348" sldId="2273"/>
            <ac:cxnSpMk id="114" creationId="{3EBF666F-D5D7-4702-BA84-0CD96B4550B9}"/>
          </ac:cxnSpMkLst>
        </pc:cxnChg>
        <pc:cxnChg chg="mod topLvl">
          <ac:chgData name="Saveen Reddy" userId="1ff099edb1c7ebfa" providerId="LiveId" clId="{03FCAAC5-2C72-47A2-A8BF-1185CBB2B952}" dt="2017-09-02T17:23:59.182" v="2050" actId="208"/>
          <ac:cxnSpMkLst>
            <pc:docMk/>
            <pc:sldMk cId="3173855348" sldId="2273"/>
            <ac:cxnSpMk id="134" creationId="{49BB6E7E-8055-453C-BAB4-5C37EC6282E6}"/>
          </ac:cxnSpMkLst>
        </pc:cxnChg>
        <pc:cxnChg chg="mod">
          <ac:chgData name="Saveen Reddy" userId="1ff099edb1c7ebfa" providerId="LiveId" clId="{03FCAAC5-2C72-47A2-A8BF-1185CBB2B952}" dt="2017-09-02T17:20:26.365" v="2008" actId="208"/>
          <ac:cxnSpMkLst>
            <pc:docMk/>
            <pc:sldMk cId="3173855348" sldId="2273"/>
            <ac:cxnSpMk id="166" creationId="{F0AC6E5C-5FC6-4528-AEBF-1A4A95122D42}"/>
          </ac:cxnSpMkLst>
        </pc:cxnChg>
        <pc:cxnChg chg="mod">
          <ac:chgData name="Saveen Reddy" userId="1ff099edb1c7ebfa" providerId="LiveId" clId="{03FCAAC5-2C72-47A2-A8BF-1185CBB2B952}" dt="2017-09-02T17:20:26.365" v="2008" actId="208"/>
          <ac:cxnSpMkLst>
            <pc:docMk/>
            <pc:sldMk cId="3173855348" sldId="2273"/>
            <ac:cxnSpMk id="167" creationId="{2F68AF56-1234-4BC2-BA0E-70B55C67B2A7}"/>
          </ac:cxnSpMkLst>
        </pc:cxnChg>
        <pc:cxnChg chg="mod topLvl">
          <ac:chgData name="Saveen Reddy" userId="1ff099edb1c7ebfa" providerId="LiveId" clId="{03FCAAC5-2C72-47A2-A8BF-1185CBB2B952}" dt="2017-09-02T17:24:05.864" v="2051" actId="208"/>
          <ac:cxnSpMkLst>
            <pc:docMk/>
            <pc:sldMk cId="3173855348" sldId="2273"/>
            <ac:cxnSpMk id="179" creationId="{6946318E-A35D-4F84-AB29-9F66495C0BCF}"/>
          </ac:cxnSpMkLst>
        </pc:cxnChg>
        <pc:cxnChg chg="mod topLvl">
          <ac:chgData name="Saveen Reddy" userId="1ff099edb1c7ebfa" providerId="LiveId" clId="{03FCAAC5-2C72-47A2-A8BF-1185CBB2B952}" dt="2017-09-02T17:23:59.182" v="2050" actId="208"/>
          <ac:cxnSpMkLst>
            <pc:docMk/>
            <pc:sldMk cId="3173855348" sldId="2273"/>
            <ac:cxnSpMk id="180" creationId="{DB68CB07-DCE5-42AF-8A4A-BAABBCD1CE28}"/>
          </ac:cxnSpMkLst>
        </pc:cxnChg>
        <pc:cxnChg chg="mod topLvl">
          <ac:chgData name="Saveen Reddy" userId="1ff099edb1c7ebfa" providerId="LiveId" clId="{03FCAAC5-2C72-47A2-A8BF-1185CBB2B952}" dt="2017-09-02T17:23:59.182" v="2050" actId="208"/>
          <ac:cxnSpMkLst>
            <pc:docMk/>
            <pc:sldMk cId="3173855348" sldId="2273"/>
            <ac:cxnSpMk id="189" creationId="{AAB0F4ED-9C48-4BFA-91DD-94DFD1D348B6}"/>
          </ac:cxnSpMkLst>
        </pc:cxnChg>
        <pc:cxnChg chg="add mod">
          <ac:chgData name="Saveen Reddy" userId="1ff099edb1c7ebfa" providerId="LiveId" clId="{03FCAAC5-2C72-47A2-A8BF-1185CBB2B952}" dt="2017-09-02T17:24:05.864" v="2051" actId="208"/>
          <ac:cxnSpMkLst>
            <pc:docMk/>
            <pc:sldMk cId="3173855348" sldId="2273"/>
            <ac:cxnSpMk id="202" creationId="{7265B1CD-508E-48E1-99BC-0F8F760F8D94}"/>
          </ac:cxnSpMkLst>
        </pc:cxnChg>
      </pc:sldChg>
      <pc:sldChg chg="addSp modSp add del">
        <pc:chgData name="Saveen Reddy" userId="1ff099edb1c7ebfa" providerId="LiveId" clId="{03FCAAC5-2C72-47A2-A8BF-1185CBB2B952}" dt="2017-08-25T00:00:46.355" v="125" actId="2696"/>
        <pc:sldMkLst>
          <pc:docMk/>
          <pc:sldMk cId="1508293757" sldId="2274"/>
        </pc:sldMkLst>
        <pc:spChg chg="add mod">
          <ac:chgData name="Saveen Reddy" userId="1ff099edb1c7ebfa" providerId="LiveId" clId="{03FCAAC5-2C72-47A2-A8BF-1185CBB2B952}" dt="2017-08-24T23:59:16.836" v="115" actId="403"/>
          <ac:spMkLst>
            <pc:docMk/>
            <pc:sldMk cId="1508293757" sldId="2274"/>
            <ac:spMk id="2" creationId="{2FD5F7BA-4263-4C6D-8011-2825419A3243}"/>
          </ac:spMkLst>
        </pc:spChg>
      </pc:sldChg>
      <pc:sldChg chg="addSp delSp modSp add ord">
        <pc:chgData name="Saveen Reddy" userId="1ff099edb1c7ebfa" providerId="LiveId" clId="{03FCAAC5-2C72-47A2-A8BF-1185CBB2B952}" dt="2017-09-02T18:39:23.702" v="2093" actId="3064"/>
        <pc:sldMkLst>
          <pc:docMk/>
          <pc:sldMk cId="2259839546" sldId="2274"/>
        </pc:sldMkLst>
        <pc:spChg chg="add mod">
          <ac:chgData name="Saveen Reddy" userId="1ff099edb1c7ebfa" providerId="LiveId" clId="{03FCAAC5-2C72-47A2-A8BF-1185CBB2B952}" dt="2017-09-02T18:36:17.616" v="2060" actId="3064"/>
          <ac:spMkLst>
            <pc:docMk/>
            <pc:sldMk cId="2259839546" sldId="2274"/>
            <ac:spMk id="2" creationId="{68641964-EDE9-4198-AA47-87CE1404E895}"/>
          </ac:spMkLst>
        </pc:spChg>
        <pc:spChg chg="del">
          <ac:chgData name="Saveen Reddy" userId="1ff099edb1c7ebfa" providerId="LiveId" clId="{03FCAAC5-2C72-47A2-A8BF-1185CBB2B952}" dt="2017-08-25T00:01:14.907" v="129" actId="478"/>
          <ac:spMkLst>
            <pc:docMk/>
            <pc:sldMk cId="2259839546" sldId="2274"/>
            <ac:spMk id="8" creationId="{00000000-0000-0000-0000-000000000000}"/>
          </ac:spMkLst>
        </pc:spChg>
        <pc:spChg chg="del">
          <ac:chgData name="Saveen Reddy" userId="1ff099edb1c7ebfa" providerId="LiveId" clId="{03FCAAC5-2C72-47A2-A8BF-1185CBB2B952}" dt="2017-08-25T00:01:17.578" v="130" actId="478"/>
          <ac:spMkLst>
            <pc:docMk/>
            <pc:sldMk cId="2259839546" sldId="2274"/>
            <ac:spMk id="12" creationId="{00000000-0000-0000-0000-000000000000}"/>
          </ac:spMkLst>
        </pc:spChg>
        <pc:spChg chg="del">
          <ac:chgData name="Saveen Reddy" userId="1ff099edb1c7ebfa" providerId="LiveId" clId="{03FCAAC5-2C72-47A2-A8BF-1185CBB2B952}" dt="2017-08-25T00:01:14.907" v="129" actId="478"/>
          <ac:spMkLst>
            <pc:docMk/>
            <pc:sldMk cId="2259839546" sldId="2274"/>
            <ac:spMk id="17" creationId="{00000000-0000-0000-0000-000000000000}"/>
          </ac:spMkLst>
        </pc:spChg>
        <pc:spChg chg="del">
          <ac:chgData name="Saveen Reddy" userId="1ff099edb1c7ebfa" providerId="LiveId" clId="{03FCAAC5-2C72-47A2-A8BF-1185CBB2B952}" dt="2017-08-25T00:01:17.578" v="130" actId="478"/>
          <ac:spMkLst>
            <pc:docMk/>
            <pc:sldMk cId="2259839546" sldId="2274"/>
            <ac:spMk id="32" creationId="{00000000-0000-0000-0000-000000000000}"/>
          </ac:spMkLst>
        </pc:spChg>
        <pc:graphicFrameChg chg="add mod modGraphic">
          <ac:chgData name="Saveen Reddy" userId="1ff099edb1c7ebfa" providerId="LiveId" clId="{03FCAAC5-2C72-47A2-A8BF-1185CBB2B952}" dt="2017-09-02T18:39:23.702" v="2093" actId="3064"/>
          <ac:graphicFrameMkLst>
            <pc:docMk/>
            <pc:sldMk cId="2259839546" sldId="2274"/>
            <ac:graphicFrameMk id="7" creationId="{BBA1BF3F-2F5D-4796-90A2-D775A3CA5273}"/>
          </ac:graphicFrameMkLst>
        </pc:graphicFrameChg>
      </pc:sldChg>
      <pc:sldChg chg="modSp ord">
        <pc:chgData name="Saveen Reddy" userId="1ff099edb1c7ebfa" providerId="LiveId" clId="{03FCAAC5-2C72-47A2-A8BF-1185CBB2B952}" dt="2017-08-29T19:19:06.012" v="1787" actId="20577"/>
        <pc:sldMkLst>
          <pc:docMk/>
          <pc:sldMk cId="1943360112" sldId="2275"/>
        </pc:sldMkLst>
        <pc:spChg chg="mod">
          <ac:chgData name="Saveen Reddy" userId="1ff099edb1c7ebfa" providerId="LiveId" clId="{03FCAAC5-2C72-47A2-A8BF-1185CBB2B952}" dt="2017-08-29T13:58:20.271" v="348" actId="20577"/>
          <ac:spMkLst>
            <pc:docMk/>
            <pc:sldMk cId="1943360112" sldId="2275"/>
            <ac:spMk id="5" creationId="{47394B05-15AE-4EE4-9221-47FF5BDC6807}"/>
          </ac:spMkLst>
        </pc:spChg>
        <pc:graphicFrameChg chg="mod modGraphic">
          <ac:chgData name="Saveen Reddy" userId="1ff099edb1c7ebfa" providerId="LiveId" clId="{03FCAAC5-2C72-47A2-A8BF-1185CBB2B952}" dt="2017-08-29T19:19:06.012" v="1787" actId="20577"/>
          <ac:graphicFrameMkLst>
            <pc:docMk/>
            <pc:sldMk cId="1943360112" sldId="2275"/>
            <ac:graphicFrameMk id="4" creationId="{193AAFE5-2842-4B25-997E-5D06608F83FC}"/>
          </ac:graphicFrameMkLst>
        </pc:graphicFrameChg>
      </pc:sldChg>
      <pc:sldChg chg="delSp modSp add setBg">
        <pc:chgData name="Saveen Reddy" userId="1ff099edb1c7ebfa" providerId="LiveId" clId="{03FCAAC5-2C72-47A2-A8BF-1185CBB2B952}" dt="2017-09-02T17:19:07.150" v="1996" actId="404"/>
        <pc:sldMkLst>
          <pc:docMk/>
          <pc:sldMk cId="2419110594" sldId="2275"/>
        </pc:sldMkLst>
        <pc:spChg chg="mod">
          <ac:chgData name="Saveen Reddy" userId="1ff099edb1c7ebfa" providerId="LiveId" clId="{03FCAAC5-2C72-47A2-A8BF-1185CBB2B952}" dt="2017-09-02T17:06:48.651" v="1853" actId="1038"/>
          <ac:spMkLst>
            <pc:docMk/>
            <pc:sldMk cId="2419110594" sldId="2275"/>
            <ac:spMk id="3" creationId="{00000000-0000-0000-0000-000000000000}"/>
          </ac:spMkLst>
        </pc:spChg>
        <pc:spChg chg="mod topLvl">
          <ac:chgData name="Saveen Reddy" userId="1ff099edb1c7ebfa" providerId="LiveId" clId="{03FCAAC5-2C72-47A2-A8BF-1185CBB2B952}" dt="2017-09-02T17:18:41.645" v="1986" actId="404"/>
          <ac:spMkLst>
            <pc:docMk/>
            <pc:sldMk cId="2419110594" sldId="2275"/>
            <ac:spMk id="17" creationId="{00000000-0000-0000-0000-000000000000}"/>
          </ac:spMkLst>
        </pc:spChg>
        <pc:spChg chg="mod topLvl">
          <ac:chgData name="Saveen Reddy" userId="1ff099edb1c7ebfa" providerId="LiveId" clId="{03FCAAC5-2C72-47A2-A8BF-1185CBB2B952}" dt="2017-09-02T17:18:38.289" v="1985" actId="404"/>
          <ac:spMkLst>
            <pc:docMk/>
            <pc:sldMk cId="2419110594" sldId="2275"/>
            <ac:spMk id="18" creationId="{00000000-0000-0000-0000-000000000000}"/>
          </ac:spMkLst>
        </pc:spChg>
        <pc:spChg chg="mod topLvl">
          <ac:chgData name="Saveen Reddy" userId="1ff099edb1c7ebfa" providerId="LiveId" clId="{03FCAAC5-2C72-47A2-A8BF-1185CBB2B952}" dt="2017-09-02T17:18:36.093" v="1984" actId="404"/>
          <ac:spMkLst>
            <pc:docMk/>
            <pc:sldMk cId="2419110594" sldId="2275"/>
            <ac:spMk id="19" creationId="{00000000-0000-0000-0000-000000000000}"/>
          </ac:spMkLst>
        </pc:spChg>
        <pc:spChg chg="mod topLvl">
          <ac:chgData name="Saveen Reddy" userId="1ff099edb1c7ebfa" providerId="LiveId" clId="{03FCAAC5-2C72-47A2-A8BF-1185CBB2B952}" dt="2017-09-02T17:18:34.032" v="1983" actId="404"/>
          <ac:spMkLst>
            <pc:docMk/>
            <pc:sldMk cId="2419110594" sldId="2275"/>
            <ac:spMk id="20" creationId="{00000000-0000-0000-0000-000000000000}"/>
          </ac:spMkLst>
        </pc:spChg>
        <pc:spChg chg="mod topLvl">
          <ac:chgData name="Saveen Reddy" userId="1ff099edb1c7ebfa" providerId="LiveId" clId="{03FCAAC5-2C72-47A2-A8BF-1185CBB2B952}" dt="2017-09-02T17:19:07.150" v="1996" actId="404"/>
          <ac:spMkLst>
            <pc:docMk/>
            <pc:sldMk cId="2419110594" sldId="2275"/>
            <ac:spMk id="23" creationId="{00000000-0000-0000-0000-000000000000}"/>
          </ac:spMkLst>
        </pc:spChg>
        <pc:spChg chg="mod">
          <ac:chgData name="Saveen Reddy" userId="1ff099edb1c7ebfa" providerId="LiveId" clId="{03FCAAC5-2C72-47A2-A8BF-1185CBB2B952}" dt="2017-09-02T17:06:42.172" v="1846" actId="404"/>
          <ac:spMkLst>
            <pc:docMk/>
            <pc:sldMk cId="2419110594" sldId="2275"/>
            <ac:spMk id="25" creationId="{00000000-0000-0000-0000-000000000000}"/>
          </ac:spMkLst>
        </pc:spChg>
        <pc:spChg chg="mod topLvl">
          <ac:chgData name="Saveen Reddy" userId="1ff099edb1c7ebfa" providerId="LiveId" clId="{03FCAAC5-2C72-47A2-A8BF-1185CBB2B952}" dt="2017-09-02T17:18:41.645" v="1986" actId="404"/>
          <ac:spMkLst>
            <pc:docMk/>
            <pc:sldMk cId="2419110594" sldId="2275"/>
            <ac:spMk id="26" creationId="{00000000-0000-0000-0000-000000000000}"/>
          </ac:spMkLst>
        </pc:spChg>
        <pc:spChg chg="mod topLvl">
          <ac:chgData name="Saveen Reddy" userId="1ff099edb1c7ebfa" providerId="LiveId" clId="{03FCAAC5-2C72-47A2-A8BF-1185CBB2B952}" dt="2017-09-02T17:18:34.032" v="1983" actId="404"/>
          <ac:spMkLst>
            <pc:docMk/>
            <pc:sldMk cId="2419110594" sldId="2275"/>
            <ac:spMk id="30" creationId="{00000000-0000-0000-0000-000000000000}"/>
          </ac:spMkLst>
        </pc:spChg>
        <pc:spChg chg="mod">
          <ac:chgData name="Saveen Reddy" userId="1ff099edb1c7ebfa" providerId="LiveId" clId="{03FCAAC5-2C72-47A2-A8BF-1185CBB2B952}" dt="2017-09-02T17:19:04.950" v="1995" actId="404"/>
          <ac:spMkLst>
            <pc:docMk/>
            <pc:sldMk cId="2419110594" sldId="2275"/>
            <ac:spMk id="38" creationId="{00000000-0000-0000-0000-000000000000}"/>
          </ac:spMkLst>
        </pc:spChg>
        <pc:spChg chg="mod">
          <ac:chgData name="Saveen Reddy" userId="1ff099edb1c7ebfa" providerId="LiveId" clId="{03FCAAC5-2C72-47A2-A8BF-1185CBB2B952}" dt="2017-09-02T17:18:50.406" v="1989" actId="404"/>
          <ac:spMkLst>
            <pc:docMk/>
            <pc:sldMk cId="2419110594" sldId="2275"/>
            <ac:spMk id="40" creationId="{00000000-0000-0000-0000-000000000000}"/>
          </ac:spMkLst>
        </pc:spChg>
        <pc:spChg chg="mod">
          <ac:chgData name="Saveen Reddy" userId="1ff099edb1c7ebfa" providerId="LiveId" clId="{03FCAAC5-2C72-47A2-A8BF-1185CBB2B952}" dt="2017-09-02T17:19:03.165" v="1994" actId="404"/>
          <ac:spMkLst>
            <pc:docMk/>
            <pc:sldMk cId="2419110594" sldId="2275"/>
            <ac:spMk id="42" creationId="{00000000-0000-0000-0000-000000000000}"/>
          </ac:spMkLst>
        </pc:spChg>
        <pc:spChg chg="mod">
          <ac:chgData name="Saveen Reddy" userId="1ff099edb1c7ebfa" providerId="LiveId" clId="{03FCAAC5-2C72-47A2-A8BF-1185CBB2B952}" dt="2017-09-02T17:19:01.253" v="1993" actId="404"/>
          <ac:spMkLst>
            <pc:docMk/>
            <pc:sldMk cId="2419110594" sldId="2275"/>
            <ac:spMk id="43" creationId="{00000000-0000-0000-0000-000000000000}"/>
          </ac:spMkLst>
        </pc:spChg>
        <pc:spChg chg="mod">
          <ac:chgData name="Saveen Reddy" userId="1ff099edb1c7ebfa" providerId="LiveId" clId="{03FCAAC5-2C72-47A2-A8BF-1185CBB2B952}" dt="2017-09-02T17:18:56.635" v="1991" actId="404"/>
          <ac:spMkLst>
            <pc:docMk/>
            <pc:sldMk cId="2419110594" sldId="2275"/>
            <ac:spMk id="44" creationId="{00000000-0000-0000-0000-000000000000}"/>
          </ac:spMkLst>
        </pc:spChg>
        <pc:spChg chg="mod">
          <ac:chgData name="Saveen Reddy" userId="1ff099edb1c7ebfa" providerId="LiveId" clId="{03FCAAC5-2C72-47A2-A8BF-1185CBB2B952}" dt="2017-09-02T17:18:59.270" v="1992" actId="404"/>
          <ac:spMkLst>
            <pc:docMk/>
            <pc:sldMk cId="2419110594" sldId="2275"/>
            <ac:spMk id="45" creationId="{00000000-0000-0000-0000-000000000000}"/>
          </ac:spMkLst>
        </pc:spChg>
        <pc:spChg chg="mod">
          <ac:chgData name="Saveen Reddy" userId="1ff099edb1c7ebfa" providerId="LiveId" clId="{03FCAAC5-2C72-47A2-A8BF-1185CBB2B952}" dt="2017-09-02T17:18:52.557" v="1990" actId="404"/>
          <ac:spMkLst>
            <pc:docMk/>
            <pc:sldMk cId="2419110594" sldId="2275"/>
            <ac:spMk id="46" creationId="{00000000-0000-0000-0000-000000000000}"/>
          </ac:spMkLst>
        </pc:spChg>
        <pc:spChg chg="mod">
          <ac:chgData name="Saveen Reddy" userId="1ff099edb1c7ebfa" providerId="LiveId" clId="{03FCAAC5-2C72-47A2-A8BF-1185CBB2B952}" dt="2017-09-02T17:18:46.998" v="1988" actId="208"/>
          <ac:spMkLst>
            <pc:docMk/>
            <pc:sldMk cId="2419110594" sldId="2275"/>
            <ac:spMk id="47" creationId="{00000000-0000-0000-0000-000000000000}"/>
          </ac:spMkLst>
        </pc:spChg>
        <pc:spChg chg="mod">
          <ac:chgData name="Saveen Reddy" userId="1ff099edb1c7ebfa" providerId="LiveId" clId="{03FCAAC5-2C72-47A2-A8BF-1185CBB2B952}" dt="2017-09-02T17:09:58.045" v="1886" actId="208"/>
          <ac:spMkLst>
            <pc:docMk/>
            <pc:sldMk cId="2419110594" sldId="2275"/>
            <ac:spMk id="48" creationId="{00000000-0000-0000-0000-000000000000}"/>
          </ac:spMkLst>
        </pc:spChg>
        <pc:spChg chg="mod">
          <ac:chgData name="Saveen Reddy" userId="1ff099edb1c7ebfa" providerId="LiveId" clId="{03FCAAC5-2C72-47A2-A8BF-1185CBB2B952}" dt="2017-09-02T17:09:58.045" v="1886" actId="208"/>
          <ac:spMkLst>
            <pc:docMk/>
            <pc:sldMk cId="2419110594" sldId="2275"/>
            <ac:spMk id="49" creationId="{00000000-0000-0000-0000-000000000000}"/>
          </ac:spMkLst>
        </pc:spChg>
        <pc:spChg chg="mod">
          <ac:chgData name="Saveen Reddy" userId="1ff099edb1c7ebfa" providerId="LiveId" clId="{03FCAAC5-2C72-47A2-A8BF-1185CBB2B952}" dt="2017-09-02T17:09:58.045" v="1886" actId="208"/>
          <ac:spMkLst>
            <pc:docMk/>
            <pc:sldMk cId="2419110594" sldId="2275"/>
            <ac:spMk id="52" creationId="{00000000-0000-0000-0000-000000000000}"/>
          </ac:spMkLst>
        </pc:spChg>
        <pc:spChg chg="mod">
          <ac:chgData name="Saveen Reddy" userId="1ff099edb1c7ebfa" providerId="LiveId" clId="{03FCAAC5-2C72-47A2-A8BF-1185CBB2B952}" dt="2017-09-02T17:09:58.045" v="1886" actId="208"/>
          <ac:spMkLst>
            <pc:docMk/>
            <pc:sldMk cId="2419110594" sldId="2275"/>
            <ac:spMk id="54" creationId="{00000000-0000-0000-0000-000000000000}"/>
          </ac:spMkLst>
        </pc:spChg>
        <pc:spChg chg="mod">
          <ac:chgData name="Saveen Reddy" userId="1ff099edb1c7ebfa" providerId="LiveId" clId="{03FCAAC5-2C72-47A2-A8BF-1185CBB2B952}" dt="2017-09-02T17:09:58.045" v="1886" actId="208"/>
          <ac:spMkLst>
            <pc:docMk/>
            <pc:sldMk cId="2419110594" sldId="2275"/>
            <ac:spMk id="55" creationId="{00000000-0000-0000-0000-000000000000}"/>
          </ac:spMkLst>
        </pc:spChg>
        <pc:spChg chg="mod">
          <ac:chgData name="Saveen Reddy" userId="1ff099edb1c7ebfa" providerId="LiveId" clId="{03FCAAC5-2C72-47A2-A8BF-1185CBB2B952}" dt="2017-09-02T17:09:58.045" v="1886" actId="208"/>
          <ac:spMkLst>
            <pc:docMk/>
            <pc:sldMk cId="2419110594" sldId="2275"/>
            <ac:spMk id="57" creationId="{00000000-0000-0000-0000-000000000000}"/>
          </ac:spMkLst>
        </pc:spChg>
        <pc:spChg chg="mod">
          <ac:chgData name="Saveen Reddy" userId="1ff099edb1c7ebfa" providerId="LiveId" clId="{03FCAAC5-2C72-47A2-A8BF-1185CBB2B952}" dt="2017-09-02T17:09:58.045" v="1886" actId="208"/>
          <ac:spMkLst>
            <pc:docMk/>
            <pc:sldMk cId="2419110594" sldId="2275"/>
            <ac:spMk id="58" creationId="{00000000-0000-0000-0000-000000000000}"/>
          </ac:spMkLst>
        </pc:spChg>
        <pc:grpChg chg="mod">
          <ac:chgData name="Saveen Reddy" userId="1ff099edb1c7ebfa" providerId="LiveId" clId="{03FCAAC5-2C72-47A2-A8BF-1185CBB2B952}" dt="2017-09-02T17:04:53.598" v="1822" actId="404"/>
          <ac:grpSpMkLst>
            <pc:docMk/>
            <pc:sldMk cId="2419110594" sldId="2275"/>
            <ac:grpSpMk id="2" creationId="{00000000-0000-0000-0000-000000000000}"/>
          </ac:grpSpMkLst>
        </pc:grpChg>
        <pc:grpChg chg="del ord">
          <ac:chgData name="Saveen Reddy" userId="1ff099edb1c7ebfa" providerId="LiveId" clId="{03FCAAC5-2C72-47A2-A8BF-1185CBB2B952}" dt="2017-09-02T17:18:29.305" v="1980" actId="404"/>
          <ac:grpSpMkLst>
            <pc:docMk/>
            <pc:sldMk cId="2419110594" sldId="2275"/>
            <ac:grpSpMk id="16" creationId="{00000000-0000-0000-0000-000000000000}"/>
          </ac:grpSpMkLst>
        </pc:grpChg>
        <pc:grpChg chg="mod topLvl">
          <ac:chgData name="Saveen Reddy" userId="1ff099edb1c7ebfa" providerId="LiveId" clId="{03FCAAC5-2C72-47A2-A8BF-1185CBB2B952}" dt="2017-09-02T17:18:43.998" v="1987" actId="404"/>
          <ac:grpSpMkLst>
            <pc:docMk/>
            <pc:sldMk cId="2419110594" sldId="2275"/>
            <ac:grpSpMk id="35" creationId="{00000000-0000-0000-0000-000000000000}"/>
          </ac:grpSpMkLst>
        </pc:grpChg>
      </pc:sldChg>
      <pc:sldChg chg="modSp add">
        <pc:chgData name="Saveen Reddy" userId="1ff099edb1c7ebfa" providerId="LiveId" clId="{03FCAAC5-2C72-47A2-A8BF-1185CBB2B952}" dt="2017-08-29T19:21:29.149" v="1816" actId="20577"/>
        <pc:sldMkLst>
          <pc:docMk/>
          <pc:sldMk cId="3905349417" sldId="2276"/>
        </pc:sldMkLst>
        <pc:spChg chg="mod">
          <ac:chgData name="Saveen Reddy" userId="1ff099edb1c7ebfa" providerId="LiveId" clId="{03FCAAC5-2C72-47A2-A8BF-1185CBB2B952}" dt="2017-08-29T13:58:27.566" v="353" actId="20577"/>
          <ac:spMkLst>
            <pc:docMk/>
            <pc:sldMk cId="3905349417" sldId="2276"/>
            <ac:spMk id="5" creationId="{47394B05-15AE-4EE4-9221-47FF5BDC6807}"/>
          </ac:spMkLst>
        </pc:spChg>
        <pc:graphicFrameChg chg="mod modGraphic">
          <ac:chgData name="Saveen Reddy" userId="1ff099edb1c7ebfa" providerId="LiveId" clId="{03FCAAC5-2C72-47A2-A8BF-1185CBB2B952}" dt="2017-08-29T19:21:29.149" v="1816" actId="20577"/>
          <ac:graphicFrameMkLst>
            <pc:docMk/>
            <pc:sldMk cId="3905349417" sldId="2276"/>
            <ac:graphicFrameMk id="4" creationId="{193AAFE5-2842-4B25-997E-5D06608F83FC}"/>
          </ac:graphicFrameMkLst>
        </pc:graphicFrameChg>
      </pc:sldChg>
      <pc:sldChg chg="modSp add modTransition setBg">
        <pc:chgData name="Saveen Reddy" userId="1ff099edb1c7ebfa" providerId="LiveId" clId="{03FCAAC5-2C72-47A2-A8BF-1185CBB2B952}" dt="2017-09-02T17:20:02.048" v="2005" actId="208"/>
        <pc:sldMkLst>
          <pc:docMk/>
          <pc:sldMk cId="3910922879" sldId="2276"/>
        </pc:sldMkLst>
        <pc:spChg chg="mod">
          <ac:chgData name="Saveen Reddy" userId="1ff099edb1c7ebfa" providerId="LiveId" clId="{03FCAAC5-2C72-47A2-A8BF-1185CBB2B952}" dt="2017-09-02T17:10:24.804" v="1890" actId="208"/>
          <ac:spMkLst>
            <pc:docMk/>
            <pc:sldMk cId="3910922879" sldId="2276"/>
            <ac:spMk id="112" creationId="{00000000-0000-0000-0000-000000000000}"/>
          </ac:spMkLst>
        </pc:spChg>
        <pc:spChg chg="mod">
          <ac:chgData name="Saveen Reddy" userId="1ff099edb1c7ebfa" providerId="LiveId" clId="{03FCAAC5-2C72-47A2-A8BF-1185CBB2B952}" dt="2017-09-02T17:10:35.850" v="1892" actId="208"/>
          <ac:spMkLst>
            <pc:docMk/>
            <pc:sldMk cId="3910922879" sldId="2276"/>
            <ac:spMk id="113" creationId="{00000000-0000-0000-0000-000000000000}"/>
          </ac:spMkLst>
        </pc:spChg>
        <pc:spChg chg="mod">
          <ac:chgData name="Saveen Reddy" userId="1ff099edb1c7ebfa" providerId="LiveId" clId="{03FCAAC5-2C72-47A2-A8BF-1185CBB2B952}" dt="2017-09-02T17:19:51.879" v="2003" actId="208"/>
          <ac:spMkLst>
            <pc:docMk/>
            <pc:sldMk cId="3910922879" sldId="2276"/>
            <ac:spMk id="114" creationId="{00000000-0000-0000-0000-000000000000}"/>
          </ac:spMkLst>
        </pc:spChg>
        <pc:spChg chg="mod">
          <ac:chgData name="Saveen Reddy" userId="1ff099edb1c7ebfa" providerId="LiveId" clId="{03FCAAC5-2C72-47A2-A8BF-1185CBB2B952}" dt="2017-09-02T17:19:47.999" v="2002" actId="208"/>
          <ac:spMkLst>
            <pc:docMk/>
            <pc:sldMk cId="3910922879" sldId="2276"/>
            <ac:spMk id="368" creationId="{00000000-0000-0000-0000-000000000000}"/>
          </ac:spMkLst>
        </pc:spChg>
        <pc:spChg chg="mod">
          <ac:chgData name="Saveen Reddy" userId="1ff099edb1c7ebfa" providerId="LiveId" clId="{03FCAAC5-2C72-47A2-A8BF-1185CBB2B952}" dt="2017-09-02T17:19:47.999" v="2002" actId="208"/>
          <ac:spMkLst>
            <pc:docMk/>
            <pc:sldMk cId="3910922879" sldId="2276"/>
            <ac:spMk id="369" creationId="{00000000-0000-0000-0000-000000000000}"/>
          </ac:spMkLst>
        </pc:spChg>
        <pc:spChg chg="mod">
          <ac:chgData name="Saveen Reddy" userId="1ff099edb1c7ebfa" providerId="LiveId" clId="{03FCAAC5-2C72-47A2-A8BF-1185CBB2B952}" dt="2017-09-02T17:19:47.999" v="2002" actId="208"/>
          <ac:spMkLst>
            <pc:docMk/>
            <pc:sldMk cId="3910922879" sldId="2276"/>
            <ac:spMk id="370" creationId="{00000000-0000-0000-0000-000000000000}"/>
          </ac:spMkLst>
        </pc:spChg>
        <pc:spChg chg="mod">
          <ac:chgData name="Saveen Reddy" userId="1ff099edb1c7ebfa" providerId="LiveId" clId="{03FCAAC5-2C72-47A2-A8BF-1185CBB2B952}" dt="2017-09-02T17:19:51.879" v="2003" actId="208"/>
          <ac:spMkLst>
            <pc:docMk/>
            <pc:sldMk cId="3910922879" sldId="2276"/>
            <ac:spMk id="371" creationId="{00000000-0000-0000-0000-000000000000}"/>
          </ac:spMkLst>
        </pc:spChg>
        <pc:spChg chg="mod">
          <ac:chgData name="Saveen Reddy" userId="1ff099edb1c7ebfa" providerId="LiveId" clId="{03FCAAC5-2C72-47A2-A8BF-1185CBB2B952}" dt="2017-09-02T17:19:56.828" v="2004" actId="208"/>
          <ac:spMkLst>
            <pc:docMk/>
            <pc:sldMk cId="3910922879" sldId="2276"/>
            <ac:spMk id="372" creationId="{00000000-0000-0000-0000-000000000000}"/>
          </ac:spMkLst>
        </pc:spChg>
        <pc:spChg chg="mod">
          <ac:chgData name="Saveen Reddy" userId="1ff099edb1c7ebfa" providerId="LiveId" clId="{03FCAAC5-2C72-47A2-A8BF-1185CBB2B952}" dt="2017-09-02T17:19:56.828" v="2004" actId="208"/>
          <ac:spMkLst>
            <pc:docMk/>
            <pc:sldMk cId="3910922879" sldId="2276"/>
            <ac:spMk id="373" creationId="{00000000-0000-0000-0000-000000000000}"/>
          </ac:spMkLst>
        </pc:spChg>
        <pc:spChg chg="mod">
          <ac:chgData name="Saveen Reddy" userId="1ff099edb1c7ebfa" providerId="LiveId" clId="{03FCAAC5-2C72-47A2-A8BF-1185CBB2B952}" dt="2017-09-02T17:10:43.475" v="1894" actId="208"/>
          <ac:spMkLst>
            <pc:docMk/>
            <pc:sldMk cId="3910922879" sldId="2276"/>
            <ac:spMk id="375" creationId="{00000000-0000-0000-0000-000000000000}"/>
          </ac:spMkLst>
        </pc:spChg>
        <pc:spChg chg="mod">
          <ac:chgData name="Saveen Reddy" userId="1ff099edb1c7ebfa" providerId="LiveId" clId="{03FCAAC5-2C72-47A2-A8BF-1185CBB2B952}" dt="2017-09-02T17:10:43.475" v="1894" actId="208"/>
          <ac:spMkLst>
            <pc:docMk/>
            <pc:sldMk cId="3910922879" sldId="2276"/>
            <ac:spMk id="376" creationId="{00000000-0000-0000-0000-000000000000}"/>
          </ac:spMkLst>
        </pc:spChg>
        <pc:spChg chg="mod">
          <ac:chgData name="Saveen Reddy" userId="1ff099edb1c7ebfa" providerId="LiveId" clId="{03FCAAC5-2C72-47A2-A8BF-1185CBB2B952}" dt="2017-09-02T17:10:43.475" v="1894" actId="208"/>
          <ac:spMkLst>
            <pc:docMk/>
            <pc:sldMk cId="3910922879" sldId="2276"/>
            <ac:spMk id="377" creationId="{00000000-0000-0000-0000-000000000000}"/>
          </ac:spMkLst>
        </pc:spChg>
        <pc:spChg chg="mod">
          <ac:chgData name="Saveen Reddy" userId="1ff099edb1c7ebfa" providerId="LiveId" clId="{03FCAAC5-2C72-47A2-A8BF-1185CBB2B952}" dt="2017-09-02T17:10:43.475" v="1894" actId="208"/>
          <ac:spMkLst>
            <pc:docMk/>
            <pc:sldMk cId="3910922879" sldId="2276"/>
            <ac:spMk id="378" creationId="{00000000-0000-0000-0000-000000000000}"/>
          </ac:spMkLst>
        </pc:spChg>
        <pc:spChg chg="mod">
          <ac:chgData name="Saveen Reddy" userId="1ff099edb1c7ebfa" providerId="LiveId" clId="{03FCAAC5-2C72-47A2-A8BF-1185CBB2B952}" dt="2017-09-02T17:10:43.475" v="1894" actId="208"/>
          <ac:spMkLst>
            <pc:docMk/>
            <pc:sldMk cId="3910922879" sldId="2276"/>
            <ac:spMk id="380" creationId="{00000000-0000-0000-0000-000000000000}"/>
          </ac:spMkLst>
        </pc:spChg>
        <pc:spChg chg="mod">
          <ac:chgData name="Saveen Reddy" userId="1ff099edb1c7ebfa" providerId="LiveId" clId="{03FCAAC5-2C72-47A2-A8BF-1185CBB2B952}" dt="2017-09-02T17:10:43.475" v="1894" actId="208"/>
          <ac:spMkLst>
            <pc:docMk/>
            <pc:sldMk cId="3910922879" sldId="2276"/>
            <ac:spMk id="381" creationId="{00000000-0000-0000-0000-000000000000}"/>
          </ac:spMkLst>
        </pc:spChg>
        <pc:spChg chg="mod">
          <ac:chgData name="Saveen Reddy" userId="1ff099edb1c7ebfa" providerId="LiveId" clId="{03FCAAC5-2C72-47A2-A8BF-1185CBB2B952}" dt="2017-09-02T17:07:03.099" v="1855" actId="208"/>
          <ac:spMkLst>
            <pc:docMk/>
            <pc:sldMk cId="3910922879" sldId="2276"/>
            <ac:spMk id="404" creationId="{00000000-0000-0000-0000-000000000000}"/>
          </ac:spMkLst>
        </pc:spChg>
        <pc:spChg chg="mod">
          <ac:chgData name="Saveen Reddy" userId="1ff099edb1c7ebfa" providerId="LiveId" clId="{03FCAAC5-2C72-47A2-A8BF-1185CBB2B952}" dt="2017-09-02T17:19:56.828" v="2004" actId="208"/>
          <ac:spMkLst>
            <pc:docMk/>
            <pc:sldMk cId="3910922879" sldId="2276"/>
            <ac:spMk id="405" creationId="{00000000-0000-0000-0000-000000000000}"/>
          </ac:spMkLst>
        </pc:spChg>
        <pc:spChg chg="mod">
          <ac:chgData name="Saveen Reddy" userId="1ff099edb1c7ebfa" providerId="LiveId" clId="{03FCAAC5-2C72-47A2-A8BF-1185CBB2B952}" dt="2017-09-02T17:19:56.828" v="2004" actId="208"/>
          <ac:spMkLst>
            <pc:docMk/>
            <pc:sldMk cId="3910922879" sldId="2276"/>
            <ac:spMk id="416" creationId="{00000000-0000-0000-0000-000000000000}"/>
          </ac:spMkLst>
        </pc:spChg>
        <pc:spChg chg="mod">
          <ac:chgData name="Saveen Reddy" userId="1ff099edb1c7ebfa" providerId="LiveId" clId="{03FCAAC5-2C72-47A2-A8BF-1185CBB2B952}" dt="2017-09-02T17:19:51.879" v="2003" actId="208"/>
          <ac:spMkLst>
            <pc:docMk/>
            <pc:sldMk cId="3910922879" sldId="2276"/>
            <ac:spMk id="420" creationId="{00000000-0000-0000-0000-000000000000}"/>
          </ac:spMkLst>
        </pc:spChg>
        <pc:spChg chg="mod">
          <ac:chgData name="Saveen Reddy" userId="1ff099edb1c7ebfa" providerId="LiveId" clId="{03FCAAC5-2C72-47A2-A8BF-1185CBB2B952}" dt="2017-09-02T17:11:57.092" v="1912" actId="208"/>
          <ac:spMkLst>
            <pc:docMk/>
            <pc:sldMk cId="3910922879" sldId="2276"/>
            <ac:spMk id="432" creationId="{00000000-0000-0000-0000-000000000000}"/>
          </ac:spMkLst>
        </pc:spChg>
        <pc:spChg chg="mod">
          <ac:chgData name="Saveen Reddy" userId="1ff099edb1c7ebfa" providerId="LiveId" clId="{03FCAAC5-2C72-47A2-A8BF-1185CBB2B952}" dt="2017-09-02T17:11:42.060" v="1906" actId="208"/>
          <ac:spMkLst>
            <pc:docMk/>
            <pc:sldMk cId="3910922879" sldId="2276"/>
            <ac:spMk id="433" creationId="{00000000-0000-0000-0000-000000000000}"/>
          </ac:spMkLst>
        </pc:spChg>
        <pc:spChg chg="mod">
          <ac:chgData name="Saveen Reddy" userId="1ff099edb1c7ebfa" providerId="LiveId" clId="{03FCAAC5-2C72-47A2-A8BF-1185CBB2B952}" dt="2017-09-02T17:11:45.132" v="1907" actId="208"/>
          <ac:spMkLst>
            <pc:docMk/>
            <pc:sldMk cId="3910922879" sldId="2276"/>
            <ac:spMk id="434" creationId="{00000000-0000-0000-0000-000000000000}"/>
          </ac:spMkLst>
        </pc:spChg>
        <pc:spChg chg="mod">
          <ac:chgData name="Saveen Reddy" userId="1ff099edb1c7ebfa" providerId="LiveId" clId="{03FCAAC5-2C72-47A2-A8BF-1185CBB2B952}" dt="2017-09-02T17:11:47.780" v="1908" actId="208"/>
          <ac:spMkLst>
            <pc:docMk/>
            <pc:sldMk cId="3910922879" sldId="2276"/>
            <ac:spMk id="435" creationId="{00000000-0000-0000-0000-000000000000}"/>
          </ac:spMkLst>
        </pc:spChg>
        <pc:spChg chg="mod">
          <ac:chgData name="Saveen Reddy" userId="1ff099edb1c7ebfa" providerId="LiveId" clId="{03FCAAC5-2C72-47A2-A8BF-1185CBB2B952}" dt="2017-09-02T17:11:52.708" v="1910" actId="208"/>
          <ac:spMkLst>
            <pc:docMk/>
            <pc:sldMk cId="3910922879" sldId="2276"/>
            <ac:spMk id="436" creationId="{00000000-0000-0000-0000-000000000000}"/>
          </ac:spMkLst>
        </pc:spChg>
        <pc:spChg chg="mod">
          <ac:chgData name="Saveen Reddy" userId="1ff099edb1c7ebfa" providerId="LiveId" clId="{03FCAAC5-2C72-47A2-A8BF-1185CBB2B952}" dt="2017-09-02T17:11:54.892" v="1911" actId="208"/>
          <ac:spMkLst>
            <pc:docMk/>
            <pc:sldMk cId="3910922879" sldId="2276"/>
            <ac:spMk id="437" creationId="{00000000-0000-0000-0000-000000000000}"/>
          </ac:spMkLst>
        </pc:spChg>
        <pc:spChg chg="mod">
          <ac:chgData name="Saveen Reddy" userId="1ff099edb1c7ebfa" providerId="LiveId" clId="{03FCAAC5-2C72-47A2-A8BF-1185CBB2B952}" dt="2017-09-02T17:11:50.029" v="1909" actId="208"/>
          <ac:spMkLst>
            <pc:docMk/>
            <pc:sldMk cId="3910922879" sldId="2276"/>
            <ac:spMk id="438" creationId="{00000000-0000-0000-0000-000000000000}"/>
          </ac:spMkLst>
        </pc:spChg>
        <pc:spChg chg="mod">
          <ac:chgData name="Saveen Reddy" userId="1ff099edb1c7ebfa" providerId="LiveId" clId="{03FCAAC5-2C72-47A2-A8BF-1185CBB2B952}" dt="2017-09-02T17:11:09.948" v="1901" actId="208"/>
          <ac:spMkLst>
            <pc:docMk/>
            <pc:sldMk cId="3910922879" sldId="2276"/>
            <ac:spMk id="439" creationId="{00000000-0000-0000-0000-000000000000}"/>
          </ac:spMkLst>
        </pc:spChg>
        <pc:spChg chg="mod">
          <ac:chgData name="Saveen Reddy" userId="1ff099edb1c7ebfa" providerId="LiveId" clId="{03FCAAC5-2C72-47A2-A8BF-1185CBB2B952}" dt="2017-09-02T17:10:43.475" v="1894" actId="208"/>
          <ac:spMkLst>
            <pc:docMk/>
            <pc:sldMk cId="3910922879" sldId="2276"/>
            <ac:spMk id="441" creationId="{00000000-0000-0000-0000-000000000000}"/>
          </ac:spMkLst>
        </pc:spChg>
        <pc:spChg chg="mod">
          <ac:chgData name="Saveen Reddy" userId="1ff099edb1c7ebfa" providerId="LiveId" clId="{03FCAAC5-2C72-47A2-A8BF-1185CBB2B952}" dt="2017-09-02T17:10:43.475" v="1894" actId="208"/>
          <ac:spMkLst>
            <pc:docMk/>
            <pc:sldMk cId="3910922879" sldId="2276"/>
            <ac:spMk id="442" creationId="{00000000-0000-0000-0000-000000000000}"/>
          </ac:spMkLst>
        </pc:spChg>
        <pc:spChg chg="mod">
          <ac:chgData name="Saveen Reddy" userId="1ff099edb1c7ebfa" providerId="LiveId" clId="{03FCAAC5-2C72-47A2-A8BF-1185CBB2B952}" dt="2017-09-02T17:10:57.411" v="1897" actId="208"/>
          <ac:spMkLst>
            <pc:docMk/>
            <pc:sldMk cId="3910922879" sldId="2276"/>
            <ac:spMk id="444" creationId="{00000000-0000-0000-0000-000000000000}"/>
          </ac:spMkLst>
        </pc:spChg>
        <pc:spChg chg="mod">
          <ac:chgData name="Saveen Reddy" userId="1ff099edb1c7ebfa" providerId="LiveId" clId="{03FCAAC5-2C72-47A2-A8BF-1185CBB2B952}" dt="2017-09-02T17:10:57.411" v="1897" actId="208"/>
          <ac:spMkLst>
            <pc:docMk/>
            <pc:sldMk cId="3910922879" sldId="2276"/>
            <ac:spMk id="445" creationId="{00000000-0000-0000-0000-000000000000}"/>
          </ac:spMkLst>
        </pc:spChg>
        <pc:spChg chg="mod">
          <ac:chgData name="Saveen Reddy" userId="1ff099edb1c7ebfa" providerId="LiveId" clId="{03FCAAC5-2C72-47A2-A8BF-1185CBB2B952}" dt="2017-09-02T17:10:57.411" v="1897" actId="208"/>
          <ac:spMkLst>
            <pc:docMk/>
            <pc:sldMk cId="3910922879" sldId="2276"/>
            <ac:spMk id="446" creationId="{00000000-0000-0000-0000-000000000000}"/>
          </ac:spMkLst>
        </pc:spChg>
        <pc:spChg chg="mod">
          <ac:chgData name="Saveen Reddy" userId="1ff099edb1c7ebfa" providerId="LiveId" clId="{03FCAAC5-2C72-47A2-A8BF-1185CBB2B952}" dt="2017-09-02T17:10:57.411" v="1897" actId="208"/>
          <ac:spMkLst>
            <pc:docMk/>
            <pc:sldMk cId="3910922879" sldId="2276"/>
            <ac:spMk id="448" creationId="{00000000-0000-0000-0000-000000000000}"/>
          </ac:spMkLst>
        </pc:spChg>
        <pc:spChg chg="mod">
          <ac:chgData name="Saveen Reddy" userId="1ff099edb1c7ebfa" providerId="LiveId" clId="{03FCAAC5-2C72-47A2-A8BF-1185CBB2B952}" dt="2017-09-02T17:10:57.411" v="1897" actId="208"/>
          <ac:spMkLst>
            <pc:docMk/>
            <pc:sldMk cId="3910922879" sldId="2276"/>
            <ac:spMk id="449" creationId="{00000000-0000-0000-0000-000000000000}"/>
          </ac:spMkLst>
        </pc:spChg>
        <pc:grpChg chg="mod">
          <ac:chgData name="Saveen Reddy" userId="1ff099edb1c7ebfa" providerId="LiveId" clId="{03FCAAC5-2C72-47A2-A8BF-1185CBB2B952}" dt="2017-09-02T17:10:24.804" v="1890" actId="208"/>
          <ac:grpSpMkLst>
            <pc:docMk/>
            <pc:sldMk cId="3910922879" sldId="2276"/>
            <ac:grpSpMk id="100" creationId="{00000000-0000-0000-0000-000000000000}"/>
          </ac:grpSpMkLst>
        </pc:grpChg>
        <pc:grpChg chg="mod">
          <ac:chgData name="Saveen Reddy" userId="1ff099edb1c7ebfa" providerId="LiveId" clId="{03FCAAC5-2C72-47A2-A8BF-1185CBB2B952}" dt="2017-09-02T17:11:03.204" v="1899" actId="208"/>
          <ac:grpSpMkLst>
            <pc:docMk/>
            <pc:sldMk cId="3910922879" sldId="2276"/>
            <ac:grpSpMk id="365" creationId="{00000000-0000-0000-0000-000000000000}"/>
          </ac:grpSpMkLst>
        </pc:grpChg>
        <pc:grpChg chg="mod">
          <ac:chgData name="Saveen Reddy" userId="1ff099edb1c7ebfa" providerId="LiveId" clId="{03FCAAC5-2C72-47A2-A8BF-1185CBB2B952}" dt="2017-09-02T17:10:46.896" v="1895" actId="208"/>
          <ac:grpSpMkLst>
            <pc:docMk/>
            <pc:sldMk cId="3910922879" sldId="2276"/>
            <ac:grpSpMk id="374" creationId="{00000000-0000-0000-0000-000000000000}"/>
          </ac:grpSpMkLst>
        </pc:grpChg>
        <pc:grpChg chg="mod">
          <ac:chgData name="Saveen Reddy" userId="1ff099edb1c7ebfa" providerId="LiveId" clId="{03FCAAC5-2C72-47A2-A8BF-1185CBB2B952}" dt="2017-09-02T17:10:46.896" v="1895" actId="208"/>
          <ac:grpSpMkLst>
            <pc:docMk/>
            <pc:sldMk cId="3910922879" sldId="2276"/>
            <ac:grpSpMk id="379" creationId="{00000000-0000-0000-0000-000000000000}"/>
          </ac:grpSpMkLst>
        </pc:grpChg>
        <pc:grpChg chg="mod">
          <ac:chgData name="Saveen Reddy" userId="1ff099edb1c7ebfa" providerId="LiveId" clId="{03FCAAC5-2C72-47A2-A8BF-1185CBB2B952}" dt="2017-09-02T17:10:46.896" v="1895" actId="208"/>
          <ac:grpSpMkLst>
            <pc:docMk/>
            <pc:sldMk cId="3910922879" sldId="2276"/>
            <ac:grpSpMk id="440" creationId="{00000000-0000-0000-0000-000000000000}"/>
          </ac:grpSpMkLst>
        </pc:grpChg>
        <pc:grpChg chg="mod">
          <ac:chgData name="Saveen Reddy" userId="1ff099edb1c7ebfa" providerId="LiveId" clId="{03FCAAC5-2C72-47A2-A8BF-1185CBB2B952}" dt="2017-09-02T17:10:58.164" v="1898" actId="208"/>
          <ac:grpSpMkLst>
            <pc:docMk/>
            <pc:sldMk cId="3910922879" sldId="2276"/>
            <ac:grpSpMk id="443" creationId="{00000000-0000-0000-0000-000000000000}"/>
          </ac:grpSpMkLst>
        </pc:grpChg>
        <pc:grpChg chg="mod">
          <ac:chgData name="Saveen Reddy" userId="1ff099edb1c7ebfa" providerId="LiveId" clId="{03FCAAC5-2C72-47A2-A8BF-1185CBB2B952}" dt="2017-09-02T17:10:58.164" v="1898" actId="208"/>
          <ac:grpSpMkLst>
            <pc:docMk/>
            <pc:sldMk cId="3910922879" sldId="2276"/>
            <ac:grpSpMk id="447" creationId="{00000000-0000-0000-0000-000000000000}"/>
          </ac:grpSpMkLst>
        </pc:grpChg>
        <pc:grpChg chg="mod">
          <ac:chgData name="Saveen Reddy" userId="1ff099edb1c7ebfa" providerId="LiveId" clId="{03FCAAC5-2C72-47A2-A8BF-1185CBB2B952}" dt="2017-09-02T17:11:03.204" v="1899" actId="208"/>
          <ac:grpSpMkLst>
            <pc:docMk/>
            <pc:sldMk cId="3910922879" sldId="2276"/>
            <ac:grpSpMk id="450" creationId="{00000000-0000-0000-0000-000000000000}"/>
          </ac:grpSpMkLst>
        </pc:grpChg>
        <pc:grpChg chg="mod">
          <ac:chgData name="Saveen Reddy" userId="1ff099edb1c7ebfa" providerId="LiveId" clId="{03FCAAC5-2C72-47A2-A8BF-1185CBB2B952}" dt="2017-09-02T17:11:03.204" v="1899" actId="208"/>
          <ac:grpSpMkLst>
            <pc:docMk/>
            <pc:sldMk cId="3910922879" sldId="2276"/>
            <ac:grpSpMk id="454" creationId="{00000000-0000-0000-0000-000000000000}"/>
          </ac:grpSpMkLst>
        </pc:grpChg>
        <pc:grpChg chg="mod">
          <ac:chgData name="Saveen Reddy" userId="1ff099edb1c7ebfa" providerId="LiveId" clId="{03FCAAC5-2C72-47A2-A8BF-1185CBB2B952}" dt="2017-09-02T17:11:03.204" v="1899" actId="208"/>
          <ac:grpSpMkLst>
            <pc:docMk/>
            <pc:sldMk cId="3910922879" sldId="2276"/>
            <ac:grpSpMk id="458" creationId="{00000000-0000-0000-0000-000000000000}"/>
          </ac:grpSpMkLst>
        </pc:grpChg>
        <pc:cxnChg chg="mod">
          <ac:chgData name="Saveen Reddy" userId="1ff099edb1c7ebfa" providerId="LiveId" clId="{03FCAAC5-2C72-47A2-A8BF-1185CBB2B952}" dt="2017-09-02T17:20:02.048" v="2005" actId="208"/>
          <ac:cxnSpMkLst>
            <pc:docMk/>
            <pc:sldMk cId="3910922879" sldId="2276"/>
            <ac:cxnSpMk id="407" creationId="{00000000-0000-0000-0000-000000000000}"/>
          </ac:cxnSpMkLst>
        </pc:cxnChg>
        <pc:cxnChg chg="mod">
          <ac:chgData name="Saveen Reddy" userId="1ff099edb1c7ebfa" providerId="LiveId" clId="{03FCAAC5-2C72-47A2-A8BF-1185CBB2B952}" dt="2017-09-02T17:20:02.048" v="2005" actId="208"/>
          <ac:cxnSpMkLst>
            <pc:docMk/>
            <pc:sldMk cId="3910922879" sldId="2276"/>
            <ac:cxnSpMk id="409" creationId="{00000000-0000-0000-0000-000000000000}"/>
          </ac:cxnSpMkLst>
        </pc:cxnChg>
        <pc:cxnChg chg="mod">
          <ac:chgData name="Saveen Reddy" userId="1ff099edb1c7ebfa" providerId="LiveId" clId="{03FCAAC5-2C72-47A2-A8BF-1185CBB2B952}" dt="2017-09-02T17:20:02.048" v="2005" actId="208"/>
          <ac:cxnSpMkLst>
            <pc:docMk/>
            <pc:sldMk cId="3910922879" sldId="2276"/>
            <ac:cxnSpMk id="410" creationId="{00000000-0000-0000-0000-000000000000}"/>
          </ac:cxnSpMkLst>
        </pc:cxnChg>
        <pc:cxnChg chg="mod">
          <ac:chgData name="Saveen Reddy" userId="1ff099edb1c7ebfa" providerId="LiveId" clId="{03FCAAC5-2C72-47A2-A8BF-1185CBB2B952}" dt="2017-09-02T17:20:02.048" v="2005" actId="208"/>
          <ac:cxnSpMkLst>
            <pc:docMk/>
            <pc:sldMk cId="3910922879" sldId="2276"/>
            <ac:cxnSpMk id="412" creationId="{00000000-0000-0000-0000-000000000000}"/>
          </ac:cxnSpMkLst>
        </pc:cxnChg>
        <pc:cxnChg chg="mod">
          <ac:chgData name="Saveen Reddy" userId="1ff099edb1c7ebfa" providerId="LiveId" clId="{03FCAAC5-2C72-47A2-A8BF-1185CBB2B952}" dt="2017-09-02T17:20:02.048" v="2005" actId="208"/>
          <ac:cxnSpMkLst>
            <pc:docMk/>
            <pc:sldMk cId="3910922879" sldId="2276"/>
            <ac:cxnSpMk id="414" creationId="{00000000-0000-0000-0000-000000000000}"/>
          </ac:cxnSpMkLst>
        </pc:cxnChg>
        <pc:cxnChg chg="mod">
          <ac:chgData name="Saveen Reddy" userId="1ff099edb1c7ebfa" providerId="LiveId" clId="{03FCAAC5-2C72-47A2-A8BF-1185CBB2B952}" dt="2017-09-02T17:20:02.048" v="2005" actId="208"/>
          <ac:cxnSpMkLst>
            <pc:docMk/>
            <pc:sldMk cId="3910922879" sldId="2276"/>
            <ac:cxnSpMk id="415" creationId="{00000000-0000-0000-0000-000000000000}"/>
          </ac:cxnSpMkLst>
        </pc:cxnChg>
      </pc:sldChg>
      <pc:sldChg chg="modSp add modTransition setBg">
        <pc:chgData name="Saveen Reddy" userId="1ff099edb1c7ebfa" providerId="LiveId" clId="{03FCAAC5-2C72-47A2-A8BF-1185CBB2B952}" dt="2017-09-02T17:17:51.634" v="1975" actId="404"/>
        <pc:sldMkLst>
          <pc:docMk/>
          <pc:sldMk cId="2189596149" sldId="2277"/>
        </pc:sldMkLst>
        <pc:spChg chg="mod">
          <ac:chgData name="Saveen Reddy" userId="1ff099edb1c7ebfa" providerId="LiveId" clId="{03FCAAC5-2C72-47A2-A8BF-1185CBB2B952}" dt="2017-09-02T17:16:42.950" v="1961" actId="404"/>
          <ac:spMkLst>
            <pc:docMk/>
            <pc:sldMk cId="2189596149" sldId="2277"/>
            <ac:spMk id="58" creationId="{00000000-0000-0000-0000-000000000000}"/>
          </ac:spMkLst>
        </pc:spChg>
        <pc:spChg chg="mod">
          <ac:chgData name="Saveen Reddy" userId="1ff099edb1c7ebfa" providerId="LiveId" clId="{03FCAAC5-2C72-47A2-A8BF-1185CBB2B952}" dt="2017-09-02T17:17:29.820" v="1970" actId="208"/>
          <ac:spMkLst>
            <pc:docMk/>
            <pc:sldMk cId="2189596149" sldId="2277"/>
            <ac:spMk id="60" creationId="{00000000-0000-0000-0000-000000000000}"/>
          </ac:spMkLst>
        </pc:spChg>
        <pc:spChg chg="mod">
          <ac:chgData name="Saveen Reddy" userId="1ff099edb1c7ebfa" providerId="LiveId" clId="{03FCAAC5-2C72-47A2-A8BF-1185CBB2B952}" dt="2017-09-02T17:07:54.003" v="1863" actId="404"/>
          <ac:spMkLst>
            <pc:docMk/>
            <pc:sldMk cId="2189596149" sldId="2277"/>
            <ac:spMk id="61" creationId="{00000000-0000-0000-0000-000000000000}"/>
          </ac:spMkLst>
        </pc:spChg>
        <pc:spChg chg="mod">
          <ac:chgData name="Saveen Reddy" userId="1ff099edb1c7ebfa" providerId="LiveId" clId="{03FCAAC5-2C72-47A2-A8BF-1185CBB2B952}" dt="2017-09-02T17:07:48.475" v="1862" actId="404"/>
          <ac:spMkLst>
            <pc:docMk/>
            <pc:sldMk cId="2189596149" sldId="2277"/>
            <ac:spMk id="62" creationId="{00000000-0000-0000-0000-000000000000}"/>
          </ac:spMkLst>
        </pc:spChg>
        <pc:spChg chg="mod">
          <ac:chgData name="Saveen Reddy" userId="1ff099edb1c7ebfa" providerId="LiveId" clId="{03FCAAC5-2C72-47A2-A8BF-1185CBB2B952}" dt="2017-09-02T17:17:34.396" v="1972" actId="208"/>
          <ac:spMkLst>
            <pc:docMk/>
            <pc:sldMk cId="2189596149" sldId="2277"/>
            <ac:spMk id="63" creationId="{00000000-0000-0000-0000-000000000000}"/>
          </ac:spMkLst>
        </pc:spChg>
        <pc:spChg chg="mod">
          <ac:chgData name="Saveen Reddy" userId="1ff099edb1c7ebfa" providerId="LiveId" clId="{03FCAAC5-2C72-47A2-A8BF-1185CBB2B952}" dt="2017-09-02T17:07:45.450" v="1861" actId="404"/>
          <ac:spMkLst>
            <pc:docMk/>
            <pc:sldMk cId="2189596149" sldId="2277"/>
            <ac:spMk id="64" creationId="{00000000-0000-0000-0000-000000000000}"/>
          </ac:spMkLst>
        </pc:spChg>
        <pc:spChg chg="mod">
          <ac:chgData name="Saveen Reddy" userId="1ff099edb1c7ebfa" providerId="LiveId" clId="{03FCAAC5-2C72-47A2-A8BF-1185CBB2B952}" dt="2017-09-02T17:17:38.564" v="1973" actId="208"/>
          <ac:spMkLst>
            <pc:docMk/>
            <pc:sldMk cId="2189596149" sldId="2277"/>
            <ac:spMk id="66" creationId="{00000000-0000-0000-0000-000000000000}"/>
          </ac:spMkLst>
        </pc:spChg>
        <pc:spChg chg="mod">
          <ac:chgData name="Saveen Reddy" userId="1ff099edb1c7ebfa" providerId="LiveId" clId="{03FCAAC5-2C72-47A2-A8BF-1185CBB2B952}" dt="2017-09-02T17:07:30.812" v="1860" actId="404"/>
          <ac:spMkLst>
            <pc:docMk/>
            <pc:sldMk cId="2189596149" sldId="2277"/>
            <ac:spMk id="67" creationId="{00000000-0000-0000-0000-000000000000}"/>
          </ac:spMkLst>
        </pc:spChg>
        <pc:spChg chg="mod">
          <ac:chgData name="Saveen Reddy" userId="1ff099edb1c7ebfa" providerId="LiveId" clId="{03FCAAC5-2C72-47A2-A8BF-1185CBB2B952}" dt="2017-09-02T17:17:15.380" v="1966" actId="404"/>
          <ac:spMkLst>
            <pc:docMk/>
            <pc:sldMk cId="2189596149" sldId="2277"/>
            <ac:spMk id="70" creationId="{00000000-0000-0000-0000-000000000000}"/>
          </ac:spMkLst>
        </pc:spChg>
        <pc:spChg chg="mod">
          <ac:chgData name="Saveen Reddy" userId="1ff099edb1c7ebfa" providerId="LiveId" clId="{03FCAAC5-2C72-47A2-A8BF-1185CBB2B952}" dt="2017-09-02T17:17:05.196" v="1964" actId="404"/>
          <ac:spMkLst>
            <pc:docMk/>
            <pc:sldMk cId="2189596149" sldId="2277"/>
            <ac:spMk id="71" creationId="{00000000-0000-0000-0000-000000000000}"/>
          </ac:spMkLst>
        </pc:spChg>
        <pc:spChg chg="mod">
          <ac:chgData name="Saveen Reddy" userId="1ff099edb1c7ebfa" providerId="LiveId" clId="{03FCAAC5-2C72-47A2-A8BF-1185CBB2B952}" dt="2017-09-02T17:17:11.086" v="1965" actId="404"/>
          <ac:spMkLst>
            <pc:docMk/>
            <pc:sldMk cId="2189596149" sldId="2277"/>
            <ac:spMk id="72" creationId="{00000000-0000-0000-0000-000000000000}"/>
          </ac:spMkLst>
        </pc:spChg>
        <pc:spChg chg="mod">
          <ac:chgData name="Saveen Reddy" userId="1ff099edb1c7ebfa" providerId="LiveId" clId="{03FCAAC5-2C72-47A2-A8BF-1185CBB2B952}" dt="2017-09-02T17:17:11.086" v="1965" actId="404"/>
          <ac:spMkLst>
            <pc:docMk/>
            <pc:sldMk cId="2189596149" sldId="2277"/>
            <ac:spMk id="73" creationId="{00000000-0000-0000-0000-000000000000}"/>
          </ac:spMkLst>
        </pc:spChg>
        <pc:spChg chg="mod">
          <ac:chgData name="Saveen Reddy" userId="1ff099edb1c7ebfa" providerId="LiveId" clId="{03FCAAC5-2C72-47A2-A8BF-1185CBB2B952}" dt="2017-09-02T17:16:59.279" v="1963" actId="404"/>
          <ac:spMkLst>
            <pc:docMk/>
            <pc:sldMk cId="2189596149" sldId="2277"/>
            <ac:spMk id="104" creationId="{00000000-0000-0000-0000-000000000000}"/>
          </ac:spMkLst>
        </pc:spChg>
        <pc:spChg chg="mod">
          <ac:chgData name="Saveen Reddy" userId="1ff099edb1c7ebfa" providerId="LiveId" clId="{03FCAAC5-2C72-47A2-A8BF-1185CBB2B952}" dt="2017-09-02T17:16:42.950" v="1961" actId="404"/>
          <ac:spMkLst>
            <pc:docMk/>
            <pc:sldMk cId="2189596149" sldId="2277"/>
            <ac:spMk id="105" creationId="{00000000-0000-0000-0000-000000000000}"/>
          </ac:spMkLst>
        </pc:spChg>
        <pc:spChg chg="mod">
          <ac:chgData name="Saveen Reddy" userId="1ff099edb1c7ebfa" providerId="LiveId" clId="{03FCAAC5-2C72-47A2-A8BF-1185CBB2B952}" dt="2017-09-02T17:16:42.950" v="1961" actId="404"/>
          <ac:spMkLst>
            <pc:docMk/>
            <pc:sldMk cId="2189596149" sldId="2277"/>
            <ac:spMk id="106" creationId="{00000000-0000-0000-0000-000000000000}"/>
          </ac:spMkLst>
        </pc:spChg>
        <pc:spChg chg="mod">
          <ac:chgData name="Saveen Reddy" userId="1ff099edb1c7ebfa" providerId="LiveId" clId="{03FCAAC5-2C72-47A2-A8BF-1185CBB2B952}" dt="2017-09-02T17:16:34.829" v="1960" actId="404"/>
          <ac:spMkLst>
            <pc:docMk/>
            <pc:sldMk cId="2189596149" sldId="2277"/>
            <ac:spMk id="154" creationId="{00000000-0000-0000-0000-000000000000}"/>
          </ac:spMkLst>
        </pc:spChg>
        <pc:spChg chg="mod">
          <ac:chgData name="Saveen Reddy" userId="1ff099edb1c7ebfa" providerId="LiveId" clId="{03FCAAC5-2C72-47A2-A8BF-1185CBB2B952}" dt="2017-09-02T17:17:43.079" v="1974" actId="404"/>
          <ac:spMkLst>
            <pc:docMk/>
            <pc:sldMk cId="2189596149" sldId="2277"/>
            <ac:spMk id="167" creationId="{00000000-0000-0000-0000-000000000000}"/>
          </ac:spMkLst>
        </pc:spChg>
        <pc:grpChg chg="mod">
          <ac:chgData name="Saveen Reddy" userId="1ff099edb1c7ebfa" providerId="LiveId" clId="{03FCAAC5-2C72-47A2-A8BF-1185CBB2B952}" dt="2017-09-02T17:16:53.572" v="1962" actId="404"/>
          <ac:grpSpMkLst>
            <pc:docMk/>
            <pc:sldMk cId="2189596149" sldId="2277"/>
            <ac:grpSpMk id="9" creationId="{00000000-0000-0000-0000-000000000000}"/>
          </ac:grpSpMkLst>
        </pc:grpChg>
        <pc:grpChg chg="mod">
          <ac:chgData name="Saveen Reddy" userId="1ff099edb1c7ebfa" providerId="LiveId" clId="{03FCAAC5-2C72-47A2-A8BF-1185CBB2B952}" dt="2017-09-02T17:17:21.764" v="1968" actId="404"/>
          <ac:grpSpMkLst>
            <pc:docMk/>
            <pc:sldMk cId="2189596149" sldId="2277"/>
            <ac:grpSpMk id="59" creationId="{00000000-0000-0000-0000-000000000000}"/>
          </ac:grpSpMkLst>
        </pc:grpChg>
        <pc:grpChg chg="mod">
          <ac:chgData name="Saveen Reddy" userId="1ff099edb1c7ebfa" providerId="LiveId" clId="{03FCAAC5-2C72-47A2-A8BF-1185CBB2B952}" dt="2017-09-02T17:17:51.634" v="1975" actId="404"/>
          <ac:grpSpMkLst>
            <pc:docMk/>
            <pc:sldMk cId="2189596149" sldId="2277"/>
            <ac:grpSpMk id="69" creationId="{00000000-0000-0000-0000-000000000000}"/>
          </ac:grpSpMkLst>
        </pc:grpChg>
        <pc:grpChg chg="mod">
          <ac:chgData name="Saveen Reddy" userId="1ff099edb1c7ebfa" providerId="LiveId" clId="{03FCAAC5-2C72-47A2-A8BF-1185CBB2B952}" dt="2017-09-02T17:17:51.634" v="1975" actId="404"/>
          <ac:grpSpMkLst>
            <pc:docMk/>
            <pc:sldMk cId="2189596149" sldId="2277"/>
            <ac:grpSpMk id="82" creationId="{00000000-0000-0000-0000-000000000000}"/>
          </ac:grpSpMkLst>
        </pc:grpChg>
        <pc:grpChg chg="mod">
          <ac:chgData name="Saveen Reddy" userId="1ff099edb1c7ebfa" providerId="LiveId" clId="{03FCAAC5-2C72-47A2-A8BF-1185CBB2B952}" dt="2017-09-02T17:17:18.373" v="1967" actId="404"/>
          <ac:grpSpMkLst>
            <pc:docMk/>
            <pc:sldMk cId="2189596149" sldId="2277"/>
            <ac:grpSpMk id="107" creationId="{00000000-0000-0000-0000-000000000000}"/>
          </ac:grpSpMkLst>
        </pc:grpChg>
        <pc:grpChg chg="mod">
          <ac:chgData name="Saveen Reddy" userId="1ff099edb1c7ebfa" providerId="LiveId" clId="{03FCAAC5-2C72-47A2-A8BF-1185CBB2B952}" dt="2017-09-02T17:17:51.634" v="1975" actId="404"/>
          <ac:grpSpMkLst>
            <pc:docMk/>
            <pc:sldMk cId="2189596149" sldId="2277"/>
            <ac:grpSpMk id="155" creationId="{00000000-0000-0000-0000-000000000000}"/>
          </ac:grpSpMkLst>
        </pc:grpChg>
        <pc:grpChg chg="mod">
          <ac:chgData name="Saveen Reddy" userId="1ff099edb1c7ebfa" providerId="LiveId" clId="{03FCAAC5-2C72-47A2-A8BF-1185CBB2B952}" dt="2017-09-02T17:17:51.634" v="1975" actId="404"/>
          <ac:grpSpMkLst>
            <pc:docMk/>
            <pc:sldMk cId="2189596149" sldId="2277"/>
            <ac:grpSpMk id="165" creationId="{00000000-0000-0000-0000-000000000000}"/>
          </ac:grpSpMkLst>
        </pc:grpChg>
        <pc:grpChg chg="mod">
          <ac:chgData name="Saveen Reddy" userId="1ff099edb1c7ebfa" providerId="LiveId" clId="{03FCAAC5-2C72-47A2-A8BF-1185CBB2B952}" dt="2017-09-02T17:17:51.634" v="1975" actId="404"/>
          <ac:grpSpMkLst>
            <pc:docMk/>
            <pc:sldMk cId="2189596149" sldId="2277"/>
            <ac:grpSpMk id="166" creationId="{00000000-0000-0000-0000-000000000000}"/>
          </ac:grpSpMkLst>
        </pc:grpChg>
        <pc:cxnChg chg="mod">
          <ac:chgData name="Saveen Reddy" userId="1ff099edb1c7ebfa" providerId="LiveId" clId="{03FCAAC5-2C72-47A2-A8BF-1185CBB2B952}" dt="2017-09-02T17:07:27.581" v="1859" actId="208"/>
          <ac:cxnSpMkLst>
            <pc:docMk/>
            <pc:sldMk cId="2189596149" sldId="2277"/>
            <ac:cxnSpMk id="169" creationId="{00000000-0000-0000-0000-000000000000}"/>
          </ac:cxnSpMkLst>
        </pc:cxnChg>
        <pc:cxnChg chg="mod">
          <ac:chgData name="Saveen Reddy" userId="1ff099edb1c7ebfa" providerId="LiveId" clId="{03FCAAC5-2C72-47A2-A8BF-1185CBB2B952}" dt="2017-09-02T17:07:27.581" v="1859" actId="208"/>
          <ac:cxnSpMkLst>
            <pc:docMk/>
            <pc:sldMk cId="2189596149" sldId="2277"/>
            <ac:cxnSpMk id="170" creationId="{00000000-0000-0000-0000-000000000000}"/>
          </ac:cxnSpMkLst>
        </pc:cxnChg>
        <pc:cxnChg chg="mod">
          <ac:chgData name="Saveen Reddy" userId="1ff099edb1c7ebfa" providerId="LiveId" clId="{03FCAAC5-2C72-47A2-A8BF-1185CBB2B952}" dt="2017-09-02T17:07:27.581" v="1859" actId="208"/>
          <ac:cxnSpMkLst>
            <pc:docMk/>
            <pc:sldMk cId="2189596149" sldId="2277"/>
            <ac:cxnSpMk id="171" creationId="{00000000-0000-0000-0000-000000000000}"/>
          </ac:cxnSpMkLst>
        </pc:cxnChg>
        <pc:cxnChg chg="mod">
          <ac:chgData name="Saveen Reddy" userId="1ff099edb1c7ebfa" providerId="LiveId" clId="{03FCAAC5-2C72-47A2-A8BF-1185CBB2B952}" dt="2017-09-02T17:07:27.581" v="1859" actId="208"/>
          <ac:cxnSpMkLst>
            <pc:docMk/>
            <pc:sldMk cId="2189596149" sldId="2277"/>
            <ac:cxnSpMk id="172" creationId="{00000000-0000-0000-0000-000000000000}"/>
          </ac:cxnSpMkLst>
        </pc:cxnChg>
        <pc:cxnChg chg="mod">
          <ac:chgData name="Saveen Reddy" userId="1ff099edb1c7ebfa" providerId="LiveId" clId="{03FCAAC5-2C72-47A2-A8BF-1185CBB2B952}" dt="2017-09-02T17:07:27.581" v="1859" actId="208"/>
          <ac:cxnSpMkLst>
            <pc:docMk/>
            <pc:sldMk cId="2189596149" sldId="2277"/>
            <ac:cxnSpMk id="173" creationId="{00000000-0000-0000-0000-000000000000}"/>
          </ac:cxnSpMkLst>
        </pc:cxnChg>
      </pc:sldChg>
      <pc:sldChg chg="addSp delSp modSp add modTransition setBg">
        <pc:chgData name="Saveen Reddy" userId="1ff099edb1c7ebfa" providerId="LiveId" clId="{03FCAAC5-2C72-47A2-A8BF-1185CBB2B952}" dt="2017-09-02T17:25:15.087" v="2054" actId="404"/>
        <pc:sldMkLst>
          <pc:docMk/>
          <pc:sldMk cId="1876328378" sldId="2278"/>
        </pc:sldMkLst>
        <pc:spChg chg="mod">
          <ac:chgData name="Saveen Reddy" userId="1ff099edb1c7ebfa" providerId="LiveId" clId="{03FCAAC5-2C72-47A2-A8BF-1185CBB2B952}" dt="2017-09-02T17:25:15.087" v="2054" actId="404"/>
          <ac:spMkLst>
            <pc:docMk/>
            <pc:sldMk cId="1876328378" sldId="2278"/>
            <ac:spMk id="2" creationId="{00000000-0000-0000-0000-000000000000}"/>
          </ac:spMkLst>
        </pc:spChg>
        <pc:spChg chg="mod">
          <ac:chgData name="Saveen Reddy" userId="1ff099edb1c7ebfa" providerId="LiveId" clId="{03FCAAC5-2C72-47A2-A8BF-1185CBB2B952}" dt="2017-09-02T17:15:58.412" v="1956" actId="404"/>
          <ac:spMkLst>
            <pc:docMk/>
            <pc:sldMk cId="1876328378" sldId="2278"/>
            <ac:spMk id="125" creationId="{00000000-0000-0000-0000-000000000000}"/>
          </ac:spMkLst>
        </pc:spChg>
        <pc:spChg chg="mod">
          <ac:chgData name="Saveen Reddy" userId="1ff099edb1c7ebfa" providerId="LiveId" clId="{03FCAAC5-2C72-47A2-A8BF-1185CBB2B952}" dt="2017-09-02T17:08:45.389" v="1880" actId="404"/>
          <ac:spMkLst>
            <pc:docMk/>
            <pc:sldMk cId="1876328378" sldId="2278"/>
            <ac:spMk id="126" creationId="{00000000-0000-0000-0000-000000000000}"/>
          </ac:spMkLst>
        </pc:spChg>
        <pc:spChg chg="mod">
          <ac:chgData name="Saveen Reddy" userId="1ff099edb1c7ebfa" providerId="LiveId" clId="{03FCAAC5-2C72-47A2-A8BF-1185CBB2B952}" dt="2017-09-02T17:08:47.916" v="1881" actId="404"/>
          <ac:spMkLst>
            <pc:docMk/>
            <pc:sldMk cId="1876328378" sldId="2278"/>
            <ac:spMk id="127" creationId="{00000000-0000-0000-0000-000000000000}"/>
          </ac:spMkLst>
        </pc:spChg>
        <pc:spChg chg="mod">
          <ac:chgData name="Saveen Reddy" userId="1ff099edb1c7ebfa" providerId="LiveId" clId="{03FCAAC5-2C72-47A2-A8BF-1185CBB2B952}" dt="2017-09-02T17:08:21.388" v="1878" actId="404"/>
          <ac:spMkLst>
            <pc:docMk/>
            <pc:sldMk cId="1876328378" sldId="2278"/>
            <ac:spMk id="128" creationId="{00000000-0000-0000-0000-000000000000}"/>
          </ac:spMkLst>
        </pc:spChg>
        <pc:spChg chg="mod topLvl">
          <ac:chgData name="Saveen Reddy" userId="1ff099edb1c7ebfa" providerId="LiveId" clId="{03FCAAC5-2C72-47A2-A8BF-1185CBB2B952}" dt="2017-09-02T17:25:11.894" v="2053" actId="2711"/>
          <ac:spMkLst>
            <pc:docMk/>
            <pc:sldMk cId="1876328378" sldId="2278"/>
            <ac:spMk id="129" creationId="{00000000-0000-0000-0000-000000000000}"/>
          </ac:spMkLst>
        </pc:spChg>
        <pc:spChg chg="mod topLvl">
          <ac:chgData name="Saveen Reddy" userId="1ff099edb1c7ebfa" providerId="LiveId" clId="{03FCAAC5-2C72-47A2-A8BF-1185CBB2B952}" dt="2017-09-02T17:25:11.894" v="2053" actId="2711"/>
          <ac:spMkLst>
            <pc:docMk/>
            <pc:sldMk cId="1876328378" sldId="2278"/>
            <ac:spMk id="130" creationId="{00000000-0000-0000-0000-000000000000}"/>
          </ac:spMkLst>
        </pc:spChg>
        <pc:spChg chg="mod topLvl">
          <ac:chgData name="Saveen Reddy" userId="1ff099edb1c7ebfa" providerId="LiveId" clId="{03FCAAC5-2C72-47A2-A8BF-1185CBB2B952}" dt="2017-09-02T17:25:11.894" v="2053" actId="2711"/>
          <ac:spMkLst>
            <pc:docMk/>
            <pc:sldMk cId="1876328378" sldId="2278"/>
            <ac:spMk id="131" creationId="{00000000-0000-0000-0000-000000000000}"/>
          </ac:spMkLst>
        </pc:spChg>
        <pc:spChg chg="mod">
          <ac:chgData name="Saveen Reddy" userId="1ff099edb1c7ebfa" providerId="LiveId" clId="{03FCAAC5-2C72-47A2-A8BF-1185CBB2B952}" dt="2017-09-02T17:25:11.894" v="2053" actId="2711"/>
          <ac:spMkLst>
            <pc:docMk/>
            <pc:sldMk cId="1876328378" sldId="2278"/>
            <ac:spMk id="132" creationId="{00000000-0000-0000-0000-000000000000}"/>
          </ac:spMkLst>
        </pc:spChg>
        <pc:spChg chg="mod">
          <ac:chgData name="Saveen Reddy" userId="1ff099edb1c7ebfa" providerId="LiveId" clId="{03FCAAC5-2C72-47A2-A8BF-1185CBB2B952}" dt="2017-09-02T17:25:11.894" v="2053" actId="2711"/>
          <ac:spMkLst>
            <pc:docMk/>
            <pc:sldMk cId="1876328378" sldId="2278"/>
            <ac:spMk id="133" creationId="{00000000-0000-0000-0000-000000000000}"/>
          </ac:spMkLst>
        </pc:spChg>
        <pc:spChg chg="mod topLvl">
          <ac:chgData name="Saveen Reddy" userId="1ff099edb1c7ebfa" providerId="LiveId" clId="{03FCAAC5-2C72-47A2-A8BF-1185CBB2B952}" dt="2017-09-02T17:13:08.219" v="1925" actId="2085"/>
          <ac:spMkLst>
            <pc:docMk/>
            <pc:sldMk cId="1876328378" sldId="2278"/>
            <ac:spMk id="134" creationId="{00000000-0000-0000-0000-000000000000}"/>
          </ac:spMkLst>
        </pc:spChg>
        <pc:spChg chg="mod">
          <ac:chgData name="Saveen Reddy" userId="1ff099edb1c7ebfa" providerId="LiveId" clId="{03FCAAC5-2C72-47A2-A8BF-1185CBB2B952}" dt="2017-09-02T17:13:08.219" v="1925" actId="2085"/>
          <ac:spMkLst>
            <pc:docMk/>
            <pc:sldMk cId="1876328378" sldId="2278"/>
            <ac:spMk id="136" creationId="{00000000-0000-0000-0000-000000000000}"/>
          </ac:spMkLst>
        </pc:spChg>
        <pc:spChg chg="mod">
          <ac:chgData name="Saveen Reddy" userId="1ff099edb1c7ebfa" providerId="LiveId" clId="{03FCAAC5-2C72-47A2-A8BF-1185CBB2B952}" dt="2017-09-02T17:13:08.219" v="1925" actId="2085"/>
          <ac:spMkLst>
            <pc:docMk/>
            <pc:sldMk cId="1876328378" sldId="2278"/>
            <ac:spMk id="137" creationId="{00000000-0000-0000-0000-000000000000}"/>
          </ac:spMkLst>
        </pc:spChg>
        <pc:spChg chg="mod topLvl">
          <ac:chgData name="Saveen Reddy" userId="1ff099edb1c7ebfa" providerId="LiveId" clId="{03FCAAC5-2C72-47A2-A8BF-1185CBB2B952}" dt="2017-09-02T17:14:05.493" v="1931" actId="404"/>
          <ac:spMkLst>
            <pc:docMk/>
            <pc:sldMk cId="1876328378" sldId="2278"/>
            <ac:spMk id="138" creationId="{00000000-0000-0000-0000-000000000000}"/>
          </ac:spMkLst>
        </pc:spChg>
        <pc:spChg chg="mod topLvl">
          <ac:chgData name="Saveen Reddy" userId="1ff099edb1c7ebfa" providerId="LiveId" clId="{03FCAAC5-2C72-47A2-A8BF-1185CBB2B952}" dt="2017-09-02T17:14:28.438" v="1939" actId="404"/>
          <ac:spMkLst>
            <pc:docMk/>
            <pc:sldMk cId="1876328378" sldId="2278"/>
            <ac:spMk id="141" creationId="{00000000-0000-0000-0000-000000000000}"/>
          </ac:spMkLst>
        </pc:spChg>
        <pc:spChg chg="mod topLvl">
          <ac:chgData name="Saveen Reddy" userId="1ff099edb1c7ebfa" providerId="LiveId" clId="{03FCAAC5-2C72-47A2-A8BF-1185CBB2B952}" dt="2017-09-02T17:14:28.438" v="1939" actId="404"/>
          <ac:spMkLst>
            <pc:docMk/>
            <pc:sldMk cId="1876328378" sldId="2278"/>
            <ac:spMk id="142" creationId="{00000000-0000-0000-0000-000000000000}"/>
          </ac:spMkLst>
        </pc:spChg>
        <pc:spChg chg="mod topLvl">
          <ac:chgData name="Saveen Reddy" userId="1ff099edb1c7ebfa" providerId="LiveId" clId="{03FCAAC5-2C72-47A2-A8BF-1185CBB2B952}" dt="2017-09-02T17:14:28.438" v="1939" actId="404"/>
          <ac:spMkLst>
            <pc:docMk/>
            <pc:sldMk cId="1876328378" sldId="2278"/>
            <ac:spMk id="143" creationId="{00000000-0000-0000-0000-000000000000}"/>
          </ac:spMkLst>
        </pc:spChg>
        <pc:spChg chg="mod topLvl">
          <ac:chgData name="Saveen Reddy" userId="1ff099edb1c7ebfa" providerId="LiveId" clId="{03FCAAC5-2C72-47A2-A8BF-1185CBB2B952}" dt="2017-09-02T17:14:33.890" v="1940" actId="404"/>
          <ac:spMkLst>
            <pc:docMk/>
            <pc:sldMk cId="1876328378" sldId="2278"/>
            <ac:spMk id="144" creationId="{00000000-0000-0000-0000-000000000000}"/>
          </ac:spMkLst>
        </pc:spChg>
        <pc:spChg chg="mod">
          <ac:chgData name="Saveen Reddy" userId="1ff099edb1c7ebfa" providerId="LiveId" clId="{03FCAAC5-2C72-47A2-A8BF-1185CBB2B952}" dt="2017-09-02T17:14:33.890" v="1940" actId="404"/>
          <ac:spMkLst>
            <pc:docMk/>
            <pc:sldMk cId="1876328378" sldId="2278"/>
            <ac:spMk id="145" creationId="{00000000-0000-0000-0000-000000000000}"/>
          </ac:spMkLst>
        </pc:spChg>
        <pc:spChg chg="mod topLvl">
          <ac:chgData name="Saveen Reddy" userId="1ff099edb1c7ebfa" providerId="LiveId" clId="{03FCAAC5-2C72-47A2-A8BF-1185CBB2B952}" dt="2017-09-02T17:14:33.890" v="1940" actId="404"/>
          <ac:spMkLst>
            <pc:docMk/>
            <pc:sldMk cId="1876328378" sldId="2278"/>
            <ac:spMk id="154" creationId="{00000000-0000-0000-0000-000000000000}"/>
          </ac:spMkLst>
        </pc:spChg>
        <pc:spChg chg="mod topLvl">
          <ac:chgData name="Saveen Reddy" userId="1ff099edb1c7ebfa" providerId="LiveId" clId="{03FCAAC5-2C72-47A2-A8BF-1185CBB2B952}" dt="2017-09-02T17:13:20.457" v="1927" actId="208"/>
          <ac:spMkLst>
            <pc:docMk/>
            <pc:sldMk cId="1876328378" sldId="2278"/>
            <ac:spMk id="156" creationId="{00000000-0000-0000-0000-000000000000}"/>
          </ac:spMkLst>
        </pc:spChg>
        <pc:spChg chg="mod topLvl">
          <ac:chgData name="Saveen Reddy" userId="1ff099edb1c7ebfa" providerId="LiveId" clId="{03FCAAC5-2C72-47A2-A8BF-1185CBB2B952}" dt="2017-09-02T17:12:18.787" v="1917" actId="208"/>
          <ac:spMkLst>
            <pc:docMk/>
            <pc:sldMk cId="1876328378" sldId="2278"/>
            <ac:spMk id="158" creationId="{00000000-0000-0000-0000-000000000000}"/>
          </ac:spMkLst>
        </pc:spChg>
        <pc:spChg chg="mod topLvl">
          <ac:chgData name="Saveen Reddy" userId="1ff099edb1c7ebfa" providerId="LiveId" clId="{03FCAAC5-2C72-47A2-A8BF-1185CBB2B952}" dt="2017-09-02T17:14:33.890" v="1940" actId="404"/>
          <ac:spMkLst>
            <pc:docMk/>
            <pc:sldMk cId="1876328378" sldId="2278"/>
            <ac:spMk id="160" creationId="{00000000-0000-0000-0000-000000000000}"/>
          </ac:spMkLst>
        </pc:spChg>
        <pc:spChg chg="mod topLvl">
          <ac:chgData name="Saveen Reddy" userId="1ff099edb1c7ebfa" providerId="LiveId" clId="{03FCAAC5-2C72-47A2-A8BF-1185CBB2B952}" dt="2017-09-02T17:14:33.890" v="1940" actId="404"/>
          <ac:spMkLst>
            <pc:docMk/>
            <pc:sldMk cId="1876328378" sldId="2278"/>
            <ac:spMk id="161" creationId="{00000000-0000-0000-0000-000000000000}"/>
          </ac:spMkLst>
        </pc:spChg>
        <pc:spChg chg="mod">
          <ac:chgData name="Saveen Reddy" userId="1ff099edb1c7ebfa" providerId="LiveId" clId="{03FCAAC5-2C72-47A2-A8BF-1185CBB2B952}" dt="2017-09-02T17:14:56.309" v="1946" actId="208"/>
          <ac:spMkLst>
            <pc:docMk/>
            <pc:sldMk cId="1876328378" sldId="2278"/>
            <ac:spMk id="163" creationId="{00000000-0000-0000-0000-000000000000}"/>
          </ac:spMkLst>
        </pc:spChg>
        <pc:spChg chg="mod">
          <ac:chgData name="Saveen Reddy" userId="1ff099edb1c7ebfa" providerId="LiveId" clId="{03FCAAC5-2C72-47A2-A8BF-1185CBB2B952}" dt="2017-09-02T17:14:56.309" v="1946" actId="208"/>
          <ac:spMkLst>
            <pc:docMk/>
            <pc:sldMk cId="1876328378" sldId="2278"/>
            <ac:spMk id="164" creationId="{00000000-0000-0000-0000-000000000000}"/>
          </ac:spMkLst>
        </pc:spChg>
        <pc:spChg chg="mod">
          <ac:chgData name="Saveen Reddy" userId="1ff099edb1c7ebfa" providerId="LiveId" clId="{03FCAAC5-2C72-47A2-A8BF-1185CBB2B952}" dt="2017-09-02T17:14:56.309" v="1946" actId="208"/>
          <ac:spMkLst>
            <pc:docMk/>
            <pc:sldMk cId="1876328378" sldId="2278"/>
            <ac:spMk id="165" creationId="{00000000-0000-0000-0000-000000000000}"/>
          </ac:spMkLst>
        </pc:spChg>
        <pc:spChg chg="mod">
          <ac:chgData name="Saveen Reddy" userId="1ff099edb1c7ebfa" providerId="LiveId" clId="{03FCAAC5-2C72-47A2-A8BF-1185CBB2B952}" dt="2017-09-02T17:14:56.309" v="1946" actId="208"/>
          <ac:spMkLst>
            <pc:docMk/>
            <pc:sldMk cId="1876328378" sldId="2278"/>
            <ac:spMk id="166" creationId="{00000000-0000-0000-0000-000000000000}"/>
          </ac:spMkLst>
        </pc:spChg>
        <pc:spChg chg="mod">
          <ac:chgData name="Saveen Reddy" userId="1ff099edb1c7ebfa" providerId="LiveId" clId="{03FCAAC5-2C72-47A2-A8BF-1185CBB2B952}" dt="2017-09-02T17:12:13.925" v="1915" actId="208"/>
          <ac:spMkLst>
            <pc:docMk/>
            <pc:sldMk cId="1876328378" sldId="2278"/>
            <ac:spMk id="168" creationId="{00000000-0000-0000-0000-000000000000}"/>
          </ac:spMkLst>
        </pc:spChg>
        <pc:spChg chg="mod">
          <ac:chgData name="Saveen Reddy" userId="1ff099edb1c7ebfa" providerId="LiveId" clId="{03FCAAC5-2C72-47A2-A8BF-1185CBB2B952}" dt="2017-09-02T17:12:13.925" v="1915" actId="208"/>
          <ac:spMkLst>
            <pc:docMk/>
            <pc:sldMk cId="1876328378" sldId="2278"/>
            <ac:spMk id="169" creationId="{00000000-0000-0000-0000-000000000000}"/>
          </ac:spMkLst>
        </pc:spChg>
        <pc:spChg chg="mod">
          <ac:chgData name="Saveen Reddy" userId="1ff099edb1c7ebfa" providerId="LiveId" clId="{03FCAAC5-2C72-47A2-A8BF-1185CBB2B952}" dt="2017-09-02T17:12:13.925" v="1915" actId="208"/>
          <ac:spMkLst>
            <pc:docMk/>
            <pc:sldMk cId="1876328378" sldId="2278"/>
            <ac:spMk id="171" creationId="{00000000-0000-0000-0000-000000000000}"/>
          </ac:spMkLst>
        </pc:spChg>
        <pc:spChg chg="mod">
          <ac:chgData name="Saveen Reddy" userId="1ff099edb1c7ebfa" providerId="LiveId" clId="{03FCAAC5-2C72-47A2-A8BF-1185CBB2B952}" dt="2017-09-02T17:12:13.925" v="1915" actId="208"/>
          <ac:spMkLst>
            <pc:docMk/>
            <pc:sldMk cId="1876328378" sldId="2278"/>
            <ac:spMk id="174" creationId="{00000000-0000-0000-0000-000000000000}"/>
          </ac:spMkLst>
        </pc:spChg>
        <pc:spChg chg="mod">
          <ac:chgData name="Saveen Reddy" userId="1ff099edb1c7ebfa" providerId="LiveId" clId="{03FCAAC5-2C72-47A2-A8BF-1185CBB2B952}" dt="2017-09-02T17:14:39.131" v="1941" actId="404"/>
          <ac:spMkLst>
            <pc:docMk/>
            <pc:sldMk cId="1876328378" sldId="2278"/>
            <ac:spMk id="175" creationId="{00000000-0000-0000-0000-000000000000}"/>
          </ac:spMkLst>
        </pc:spChg>
        <pc:spChg chg="mod">
          <ac:chgData name="Saveen Reddy" userId="1ff099edb1c7ebfa" providerId="LiveId" clId="{03FCAAC5-2C72-47A2-A8BF-1185CBB2B952}" dt="2017-09-02T17:14:39.131" v="1941" actId="404"/>
          <ac:spMkLst>
            <pc:docMk/>
            <pc:sldMk cId="1876328378" sldId="2278"/>
            <ac:spMk id="176" creationId="{00000000-0000-0000-0000-000000000000}"/>
          </ac:spMkLst>
        </pc:spChg>
        <pc:spChg chg="mod">
          <ac:chgData name="Saveen Reddy" userId="1ff099edb1c7ebfa" providerId="LiveId" clId="{03FCAAC5-2C72-47A2-A8BF-1185CBB2B952}" dt="2017-09-02T17:14:39.131" v="1941" actId="404"/>
          <ac:spMkLst>
            <pc:docMk/>
            <pc:sldMk cId="1876328378" sldId="2278"/>
            <ac:spMk id="177" creationId="{00000000-0000-0000-0000-000000000000}"/>
          </ac:spMkLst>
        </pc:spChg>
        <pc:spChg chg="mod">
          <ac:chgData name="Saveen Reddy" userId="1ff099edb1c7ebfa" providerId="LiveId" clId="{03FCAAC5-2C72-47A2-A8BF-1185CBB2B952}" dt="2017-09-02T17:15:20.372" v="1951" actId="404"/>
          <ac:spMkLst>
            <pc:docMk/>
            <pc:sldMk cId="1876328378" sldId="2278"/>
            <ac:spMk id="178" creationId="{00000000-0000-0000-0000-000000000000}"/>
          </ac:spMkLst>
        </pc:spChg>
        <pc:spChg chg="mod">
          <ac:chgData name="Saveen Reddy" userId="1ff099edb1c7ebfa" providerId="LiveId" clId="{03FCAAC5-2C72-47A2-A8BF-1185CBB2B952}" dt="2017-09-02T17:15:20.372" v="1951" actId="404"/>
          <ac:spMkLst>
            <pc:docMk/>
            <pc:sldMk cId="1876328378" sldId="2278"/>
            <ac:spMk id="179" creationId="{00000000-0000-0000-0000-000000000000}"/>
          </ac:spMkLst>
        </pc:spChg>
        <pc:spChg chg="mod">
          <ac:chgData name="Saveen Reddy" userId="1ff099edb1c7ebfa" providerId="LiveId" clId="{03FCAAC5-2C72-47A2-A8BF-1185CBB2B952}" dt="2017-09-02T17:15:34.036" v="1954" actId="208"/>
          <ac:spMkLst>
            <pc:docMk/>
            <pc:sldMk cId="1876328378" sldId="2278"/>
            <ac:spMk id="180" creationId="{00000000-0000-0000-0000-000000000000}"/>
          </ac:spMkLst>
        </pc:spChg>
        <pc:spChg chg="mod">
          <ac:chgData name="Saveen Reddy" userId="1ff099edb1c7ebfa" providerId="LiveId" clId="{03FCAAC5-2C72-47A2-A8BF-1185CBB2B952}" dt="2017-09-02T17:15:06.380" v="1949" actId="404"/>
          <ac:spMkLst>
            <pc:docMk/>
            <pc:sldMk cId="1876328378" sldId="2278"/>
            <ac:spMk id="182" creationId="{00000000-0000-0000-0000-000000000000}"/>
          </ac:spMkLst>
        </pc:spChg>
        <pc:spChg chg="mod">
          <ac:chgData name="Saveen Reddy" userId="1ff099edb1c7ebfa" providerId="LiveId" clId="{03FCAAC5-2C72-47A2-A8BF-1185CBB2B952}" dt="2017-09-02T17:15:02.020" v="1948" actId="404"/>
          <ac:spMkLst>
            <pc:docMk/>
            <pc:sldMk cId="1876328378" sldId="2278"/>
            <ac:spMk id="183" creationId="{00000000-0000-0000-0000-000000000000}"/>
          </ac:spMkLst>
        </pc:spChg>
        <pc:spChg chg="mod topLvl">
          <ac:chgData name="Saveen Reddy" userId="1ff099edb1c7ebfa" providerId="LiveId" clId="{03FCAAC5-2C72-47A2-A8BF-1185CBB2B952}" dt="2017-09-02T17:12:52.929" v="1922" actId="404"/>
          <ac:spMkLst>
            <pc:docMk/>
            <pc:sldMk cId="1876328378" sldId="2278"/>
            <ac:spMk id="184" creationId="{00000000-0000-0000-0000-000000000000}"/>
          </ac:spMkLst>
        </pc:spChg>
        <pc:spChg chg="mod topLvl">
          <ac:chgData name="Saveen Reddy" userId="1ff099edb1c7ebfa" providerId="LiveId" clId="{03FCAAC5-2C72-47A2-A8BF-1185CBB2B952}" dt="2017-09-02T17:14:05.493" v="1931" actId="404"/>
          <ac:spMkLst>
            <pc:docMk/>
            <pc:sldMk cId="1876328378" sldId="2278"/>
            <ac:spMk id="186" creationId="{00000000-0000-0000-0000-000000000000}"/>
          </ac:spMkLst>
        </pc:spChg>
        <pc:spChg chg="mod">
          <ac:chgData name="Saveen Reddy" userId="1ff099edb1c7ebfa" providerId="LiveId" clId="{03FCAAC5-2C72-47A2-A8BF-1185CBB2B952}" dt="2017-09-02T17:12:26.094" v="1919" actId="208"/>
          <ac:spMkLst>
            <pc:docMk/>
            <pc:sldMk cId="1876328378" sldId="2278"/>
            <ac:spMk id="188" creationId="{00000000-0000-0000-0000-000000000000}"/>
          </ac:spMkLst>
        </pc:spChg>
        <pc:spChg chg="mod">
          <ac:chgData name="Saveen Reddy" userId="1ff099edb1c7ebfa" providerId="LiveId" clId="{03FCAAC5-2C72-47A2-A8BF-1185CBB2B952}" dt="2017-09-02T17:12:26.094" v="1919" actId="208"/>
          <ac:spMkLst>
            <pc:docMk/>
            <pc:sldMk cId="1876328378" sldId="2278"/>
            <ac:spMk id="189" creationId="{00000000-0000-0000-0000-000000000000}"/>
          </ac:spMkLst>
        </pc:spChg>
        <pc:spChg chg="mod">
          <ac:chgData name="Saveen Reddy" userId="1ff099edb1c7ebfa" providerId="LiveId" clId="{03FCAAC5-2C72-47A2-A8BF-1185CBB2B952}" dt="2017-09-02T17:12:26.094" v="1919" actId="208"/>
          <ac:spMkLst>
            <pc:docMk/>
            <pc:sldMk cId="1876328378" sldId="2278"/>
            <ac:spMk id="190" creationId="{00000000-0000-0000-0000-000000000000}"/>
          </ac:spMkLst>
        </pc:spChg>
        <pc:spChg chg="mod topLvl">
          <ac:chgData name="Saveen Reddy" userId="1ff099edb1c7ebfa" providerId="LiveId" clId="{03FCAAC5-2C72-47A2-A8BF-1185CBB2B952}" dt="2017-09-02T17:14:05.493" v="1931" actId="404"/>
          <ac:spMkLst>
            <pc:docMk/>
            <pc:sldMk cId="1876328378" sldId="2278"/>
            <ac:spMk id="198" creationId="{00000000-0000-0000-0000-000000000000}"/>
          </ac:spMkLst>
        </pc:spChg>
        <pc:spChg chg="mod topLvl">
          <ac:chgData name="Saveen Reddy" userId="1ff099edb1c7ebfa" providerId="LiveId" clId="{03FCAAC5-2C72-47A2-A8BF-1185CBB2B952}" dt="2017-09-02T17:13:04.324" v="1924" actId="2085"/>
          <ac:spMkLst>
            <pc:docMk/>
            <pc:sldMk cId="1876328378" sldId="2278"/>
            <ac:spMk id="220" creationId="{00000000-0000-0000-0000-000000000000}"/>
          </ac:spMkLst>
        </pc:spChg>
        <pc:spChg chg="mod">
          <ac:chgData name="Saveen Reddy" userId="1ff099edb1c7ebfa" providerId="LiveId" clId="{03FCAAC5-2C72-47A2-A8BF-1185CBB2B952}" dt="2017-09-02T17:13:04.324" v="1924" actId="2085"/>
          <ac:spMkLst>
            <pc:docMk/>
            <pc:sldMk cId="1876328378" sldId="2278"/>
            <ac:spMk id="222" creationId="{00000000-0000-0000-0000-000000000000}"/>
          </ac:spMkLst>
        </pc:spChg>
        <pc:spChg chg="mod">
          <ac:chgData name="Saveen Reddy" userId="1ff099edb1c7ebfa" providerId="LiveId" clId="{03FCAAC5-2C72-47A2-A8BF-1185CBB2B952}" dt="2017-09-02T17:13:04.324" v="1924" actId="2085"/>
          <ac:spMkLst>
            <pc:docMk/>
            <pc:sldMk cId="1876328378" sldId="2278"/>
            <ac:spMk id="223" creationId="{00000000-0000-0000-0000-000000000000}"/>
          </ac:spMkLst>
        </pc:spChg>
        <pc:spChg chg="mod topLvl">
          <ac:chgData name="Saveen Reddy" userId="1ff099edb1c7ebfa" providerId="LiveId" clId="{03FCAAC5-2C72-47A2-A8BF-1185CBB2B952}" dt="2017-09-02T17:13:00.370" v="1923" actId="2085"/>
          <ac:spMkLst>
            <pc:docMk/>
            <pc:sldMk cId="1876328378" sldId="2278"/>
            <ac:spMk id="224" creationId="{00000000-0000-0000-0000-000000000000}"/>
          </ac:spMkLst>
        </pc:spChg>
        <pc:spChg chg="mod">
          <ac:chgData name="Saveen Reddy" userId="1ff099edb1c7ebfa" providerId="LiveId" clId="{03FCAAC5-2C72-47A2-A8BF-1185CBB2B952}" dt="2017-09-02T17:13:00.370" v="1923" actId="2085"/>
          <ac:spMkLst>
            <pc:docMk/>
            <pc:sldMk cId="1876328378" sldId="2278"/>
            <ac:spMk id="226" creationId="{00000000-0000-0000-0000-000000000000}"/>
          </ac:spMkLst>
        </pc:spChg>
        <pc:spChg chg="mod">
          <ac:chgData name="Saveen Reddy" userId="1ff099edb1c7ebfa" providerId="LiveId" clId="{03FCAAC5-2C72-47A2-A8BF-1185CBB2B952}" dt="2017-09-02T17:13:00.370" v="1923" actId="2085"/>
          <ac:spMkLst>
            <pc:docMk/>
            <pc:sldMk cId="1876328378" sldId="2278"/>
            <ac:spMk id="227" creationId="{00000000-0000-0000-0000-000000000000}"/>
          </ac:spMkLst>
        </pc:spChg>
        <pc:spChg chg="mod">
          <ac:chgData name="Saveen Reddy" userId="1ff099edb1c7ebfa" providerId="LiveId" clId="{03FCAAC5-2C72-47A2-A8BF-1185CBB2B952}" dt="2017-09-02T17:13:00.370" v="1923" actId="2085"/>
          <ac:spMkLst>
            <pc:docMk/>
            <pc:sldMk cId="1876328378" sldId="2278"/>
            <ac:spMk id="228" creationId="{00000000-0000-0000-0000-000000000000}"/>
          </ac:spMkLst>
        </pc:spChg>
        <pc:spChg chg="mod">
          <ac:chgData name="Saveen Reddy" userId="1ff099edb1c7ebfa" providerId="LiveId" clId="{03FCAAC5-2C72-47A2-A8BF-1185CBB2B952}" dt="2017-09-02T17:13:00.370" v="1923" actId="2085"/>
          <ac:spMkLst>
            <pc:docMk/>
            <pc:sldMk cId="1876328378" sldId="2278"/>
            <ac:spMk id="229" creationId="{00000000-0000-0000-0000-000000000000}"/>
          </ac:spMkLst>
        </pc:spChg>
        <pc:spChg chg="mod">
          <ac:chgData name="Saveen Reddy" userId="1ff099edb1c7ebfa" providerId="LiveId" clId="{03FCAAC5-2C72-47A2-A8BF-1185CBB2B952}" dt="2017-09-02T17:13:00.370" v="1923" actId="2085"/>
          <ac:spMkLst>
            <pc:docMk/>
            <pc:sldMk cId="1876328378" sldId="2278"/>
            <ac:spMk id="230" creationId="{00000000-0000-0000-0000-000000000000}"/>
          </ac:spMkLst>
        </pc:spChg>
        <pc:spChg chg="mod topLvl">
          <ac:chgData name="Saveen Reddy" userId="1ff099edb1c7ebfa" providerId="LiveId" clId="{03FCAAC5-2C72-47A2-A8BF-1185CBB2B952}" dt="2017-09-02T17:14:05.493" v="1931" actId="404"/>
          <ac:spMkLst>
            <pc:docMk/>
            <pc:sldMk cId="1876328378" sldId="2278"/>
            <ac:spMk id="238" creationId="{00000000-0000-0000-0000-000000000000}"/>
          </ac:spMkLst>
        </pc:spChg>
        <pc:spChg chg="mod topLvl">
          <ac:chgData name="Saveen Reddy" userId="1ff099edb1c7ebfa" providerId="LiveId" clId="{03FCAAC5-2C72-47A2-A8BF-1185CBB2B952}" dt="2017-09-02T17:14:05.493" v="1931" actId="404"/>
          <ac:spMkLst>
            <pc:docMk/>
            <pc:sldMk cId="1876328378" sldId="2278"/>
            <ac:spMk id="239" creationId="{00000000-0000-0000-0000-000000000000}"/>
          </ac:spMkLst>
        </pc:spChg>
        <pc:spChg chg="mod topLvl">
          <ac:chgData name="Saveen Reddy" userId="1ff099edb1c7ebfa" providerId="LiveId" clId="{03FCAAC5-2C72-47A2-A8BF-1185CBB2B952}" dt="2017-09-02T17:14:52.403" v="1944" actId="404"/>
          <ac:spMkLst>
            <pc:docMk/>
            <pc:sldMk cId="1876328378" sldId="2278"/>
            <ac:spMk id="244" creationId="{00000000-0000-0000-0000-000000000000}"/>
          </ac:spMkLst>
        </pc:spChg>
        <pc:spChg chg="mod topLvl">
          <ac:chgData name="Saveen Reddy" userId="1ff099edb1c7ebfa" providerId="LiveId" clId="{03FCAAC5-2C72-47A2-A8BF-1185CBB2B952}" dt="2017-09-02T17:14:44.534" v="1942" actId="404"/>
          <ac:spMkLst>
            <pc:docMk/>
            <pc:sldMk cId="1876328378" sldId="2278"/>
            <ac:spMk id="257" creationId="{00000000-0000-0000-0000-000000000000}"/>
          </ac:spMkLst>
        </pc:spChg>
        <pc:grpChg chg="del">
          <ac:chgData name="Saveen Reddy" userId="1ff099edb1c7ebfa" providerId="LiveId" clId="{03FCAAC5-2C72-47A2-A8BF-1185CBB2B952}" dt="2017-09-02T17:12:08.280" v="1913" actId="404"/>
          <ac:grpSpMkLst>
            <pc:docMk/>
            <pc:sldMk cId="1876328378" sldId="2278"/>
            <ac:grpSpMk id="3" creationId="{00000000-0000-0000-0000-000000000000}"/>
          </ac:grpSpMkLst>
        </pc:grpChg>
        <pc:grpChg chg="del">
          <ac:chgData name="Saveen Reddy" userId="1ff099edb1c7ebfa" providerId="LiveId" clId="{03FCAAC5-2C72-47A2-A8BF-1185CBB2B952}" dt="2017-09-02T17:12:52.929" v="1922" actId="404"/>
          <ac:grpSpMkLst>
            <pc:docMk/>
            <pc:sldMk cId="1876328378" sldId="2278"/>
            <ac:grpSpMk id="6" creationId="{00000000-0000-0000-0000-000000000000}"/>
          </ac:grpSpMkLst>
        </pc:grpChg>
        <pc:grpChg chg="del">
          <ac:chgData name="Saveen Reddy" userId="1ff099edb1c7ebfa" providerId="LiveId" clId="{03FCAAC5-2C72-47A2-A8BF-1185CBB2B952}" dt="2017-09-02T17:12:16.339" v="1916" actId="404"/>
          <ac:grpSpMkLst>
            <pc:docMk/>
            <pc:sldMk cId="1876328378" sldId="2278"/>
            <ac:grpSpMk id="7" creationId="{00000000-0000-0000-0000-000000000000}"/>
          </ac:grpSpMkLst>
        </pc:grpChg>
        <pc:grpChg chg="del">
          <ac:chgData name="Saveen Reddy" userId="1ff099edb1c7ebfa" providerId="LiveId" clId="{03FCAAC5-2C72-47A2-A8BF-1185CBB2B952}" dt="2017-09-02T17:14:05.493" v="1931" actId="404"/>
          <ac:grpSpMkLst>
            <pc:docMk/>
            <pc:sldMk cId="1876328378" sldId="2278"/>
            <ac:grpSpMk id="8" creationId="{00000000-0000-0000-0000-000000000000}"/>
          </ac:grpSpMkLst>
        </pc:grpChg>
        <pc:grpChg chg="mod topLvl">
          <ac:chgData name="Saveen Reddy" userId="1ff099edb1c7ebfa" providerId="LiveId" clId="{03FCAAC5-2C72-47A2-A8BF-1185CBB2B952}" dt="2017-09-02T17:12:52.929" v="1922" actId="404"/>
          <ac:grpSpMkLst>
            <pc:docMk/>
            <pc:sldMk cId="1876328378" sldId="2278"/>
            <ac:grpSpMk id="135" creationId="{00000000-0000-0000-0000-000000000000}"/>
          </ac:grpSpMkLst>
        </pc:grpChg>
        <pc:grpChg chg="mod topLvl">
          <ac:chgData name="Saveen Reddy" userId="1ff099edb1c7ebfa" providerId="LiveId" clId="{03FCAAC5-2C72-47A2-A8BF-1185CBB2B952}" dt="2017-09-02T17:14:05.493" v="1931" actId="404"/>
          <ac:grpSpMkLst>
            <pc:docMk/>
            <pc:sldMk cId="1876328378" sldId="2278"/>
            <ac:grpSpMk id="147" creationId="{00000000-0000-0000-0000-000000000000}"/>
          </ac:grpSpMkLst>
        </pc:grpChg>
        <pc:grpChg chg="mod topLvl">
          <ac:chgData name="Saveen Reddy" userId="1ff099edb1c7ebfa" providerId="LiveId" clId="{03FCAAC5-2C72-47A2-A8BF-1185CBB2B952}" dt="2017-09-02T17:12:52.929" v="1922" actId="404"/>
          <ac:grpSpMkLst>
            <pc:docMk/>
            <pc:sldMk cId="1876328378" sldId="2278"/>
            <ac:grpSpMk id="151" creationId="{00000000-0000-0000-0000-000000000000}"/>
          </ac:grpSpMkLst>
        </pc:grpChg>
        <pc:grpChg chg="del mod topLvl">
          <ac:chgData name="Saveen Reddy" userId="1ff099edb1c7ebfa" providerId="LiveId" clId="{03FCAAC5-2C72-47A2-A8BF-1185CBB2B952}" dt="2017-09-02T17:12:16.339" v="1916" actId="404"/>
          <ac:grpSpMkLst>
            <pc:docMk/>
            <pc:sldMk cId="1876328378" sldId="2278"/>
            <ac:grpSpMk id="155" creationId="{00000000-0000-0000-0000-000000000000}"/>
          </ac:grpSpMkLst>
        </pc:grpChg>
        <pc:grpChg chg="mod topLvl">
          <ac:chgData name="Saveen Reddy" userId="1ff099edb1c7ebfa" providerId="LiveId" clId="{03FCAAC5-2C72-47A2-A8BF-1185CBB2B952}" dt="2017-09-02T17:14:58.821" v="1947" actId="404"/>
          <ac:grpSpMkLst>
            <pc:docMk/>
            <pc:sldMk cId="1876328378" sldId="2278"/>
            <ac:grpSpMk id="162" creationId="{00000000-0000-0000-0000-000000000000}"/>
          </ac:grpSpMkLst>
        </pc:grpChg>
        <pc:grpChg chg="mod topLvl">
          <ac:chgData name="Saveen Reddy" userId="1ff099edb1c7ebfa" providerId="LiveId" clId="{03FCAAC5-2C72-47A2-A8BF-1185CBB2B952}" dt="2017-09-02T17:15:09.395" v="1950" actId="404"/>
          <ac:grpSpMkLst>
            <pc:docMk/>
            <pc:sldMk cId="1876328378" sldId="2278"/>
            <ac:grpSpMk id="167" creationId="{00000000-0000-0000-0000-000000000000}"/>
          </ac:grpSpMkLst>
        </pc:grpChg>
        <pc:grpChg chg="mod topLvl">
          <ac:chgData name="Saveen Reddy" userId="1ff099edb1c7ebfa" providerId="LiveId" clId="{03FCAAC5-2C72-47A2-A8BF-1185CBB2B952}" dt="2017-09-02T17:14:33.890" v="1940" actId="404"/>
          <ac:grpSpMkLst>
            <pc:docMk/>
            <pc:sldMk cId="1876328378" sldId="2278"/>
            <ac:grpSpMk id="170" creationId="{00000000-0000-0000-0000-000000000000}"/>
          </ac:grpSpMkLst>
        </pc:grpChg>
        <pc:grpChg chg="del mod topLvl">
          <ac:chgData name="Saveen Reddy" userId="1ff099edb1c7ebfa" providerId="LiveId" clId="{03FCAAC5-2C72-47A2-A8BF-1185CBB2B952}" dt="2017-09-02T17:14:07.539" v="1932" actId="478"/>
          <ac:grpSpMkLst>
            <pc:docMk/>
            <pc:sldMk cId="1876328378" sldId="2278"/>
            <ac:grpSpMk id="187" creationId="{00000000-0000-0000-0000-000000000000}"/>
          </ac:grpSpMkLst>
        </pc:grpChg>
        <pc:grpChg chg="mod">
          <ac:chgData name="Saveen Reddy" userId="1ff099edb1c7ebfa" providerId="LiveId" clId="{03FCAAC5-2C72-47A2-A8BF-1185CBB2B952}" dt="2017-09-02T17:08:54.492" v="1882" actId="404"/>
          <ac:grpSpMkLst>
            <pc:docMk/>
            <pc:sldMk cId="1876328378" sldId="2278"/>
            <ac:grpSpMk id="193" creationId="{00000000-0000-0000-0000-000000000000}"/>
          </ac:grpSpMkLst>
        </pc:grpChg>
        <pc:grpChg chg="add mod">
          <ac:chgData name="Saveen Reddy" userId="1ff099edb1c7ebfa" providerId="LiveId" clId="{03FCAAC5-2C72-47A2-A8BF-1185CBB2B952}" dt="2017-09-02T17:14:11.878" v="1937" actId="1036"/>
          <ac:grpSpMkLst>
            <pc:docMk/>
            <pc:sldMk cId="1876328378" sldId="2278"/>
            <ac:grpSpMk id="212" creationId="{2A187592-5B1D-485C-9524-78CAD91D10A3}"/>
          </ac:grpSpMkLst>
        </pc:grpChg>
        <pc:grpChg chg="mod topLvl">
          <ac:chgData name="Saveen Reddy" userId="1ff099edb1c7ebfa" providerId="LiveId" clId="{03FCAAC5-2C72-47A2-A8BF-1185CBB2B952}" dt="2017-09-02T17:12:52.929" v="1922" actId="404"/>
          <ac:grpSpMkLst>
            <pc:docMk/>
            <pc:sldMk cId="1876328378" sldId="2278"/>
            <ac:grpSpMk id="221" creationId="{00000000-0000-0000-0000-000000000000}"/>
          </ac:grpSpMkLst>
        </pc:grpChg>
        <pc:grpChg chg="mod topLvl">
          <ac:chgData name="Saveen Reddy" userId="1ff099edb1c7ebfa" providerId="LiveId" clId="{03FCAAC5-2C72-47A2-A8BF-1185CBB2B952}" dt="2017-09-02T17:12:52.929" v="1922" actId="404"/>
          <ac:grpSpMkLst>
            <pc:docMk/>
            <pc:sldMk cId="1876328378" sldId="2278"/>
            <ac:grpSpMk id="225" creationId="{00000000-0000-0000-0000-000000000000}"/>
          </ac:grpSpMkLst>
        </pc:grpChg>
        <pc:grpChg chg="mod topLvl">
          <ac:chgData name="Saveen Reddy" userId="1ff099edb1c7ebfa" providerId="LiveId" clId="{03FCAAC5-2C72-47A2-A8BF-1185CBB2B952}" dt="2017-09-02T17:14:44.534" v="1942" actId="404"/>
          <ac:grpSpMkLst>
            <pc:docMk/>
            <pc:sldMk cId="1876328378" sldId="2278"/>
            <ac:grpSpMk id="245" creationId="{00000000-0000-0000-0000-000000000000}"/>
          </ac:grpSpMkLst>
        </pc:grpChg>
        <pc:cxnChg chg="mod topLvl">
          <ac:chgData name="Saveen Reddy" userId="1ff099edb1c7ebfa" providerId="LiveId" clId="{03FCAAC5-2C72-47A2-A8BF-1185CBB2B952}" dt="2017-09-02T17:14:05.493" v="1931" actId="404"/>
          <ac:cxnSpMkLst>
            <pc:docMk/>
            <pc:sldMk cId="1876328378" sldId="2278"/>
            <ac:cxnSpMk id="146" creationId="{00000000-0000-0000-0000-000000000000}"/>
          </ac:cxnSpMkLst>
        </pc:cxnChg>
        <pc:cxnChg chg="mod">
          <ac:chgData name="Saveen Reddy" userId="1ff099edb1c7ebfa" providerId="LiveId" clId="{03FCAAC5-2C72-47A2-A8BF-1185CBB2B952}" dt="2017-09-02T17:12:26.094" v="1919" actId="208"/>
          <ac:cxnSpMkLst>
            <pc:docMk/>
            <pc:sldMk cId="1876328378" sldId="2278"/>
            <ac:cxnSpMk id="148" creationId="{00000000-0000-0000-0000-000000000000}"/>
          </ac:cxnSpMkLst>
        </pc:cxnChg>
        <pc:cxnChg chg="mod">
          <ac:chgData name="Saveen Reddy" userId="1ff099edb1c7ebfa" providerId="LiveId" clId="{03FCAAC5-2C72-47A2-A8BF-1185CBB2B952}" dt="2017-09-02T17:12:26.094" v="1919" actId="208"/>
          <ac:cxnSpMkLst>
            <pc:docMk/>
            <pc:sldMk cId="1876328378" sldId="2278"/>
            <ac:cxnSpMk id="149" creationId="{00000000-0000-0000-0000-000000000000}"/>
          </ac:cxnSpMkLst>
        </pc:cxnChg>
        <pc:cxnChg chg="mod topLvl">
          <ac:chgData name="Saveen Reddy" userId="1ff099edb1c7ebfa" providerId="LiveId" clId="{03FCAAC5-2C72-47A2-A8BF-1185CBB2B952}" dt="2017-09-02T17:12:52.929" v="1922" actId="404"/>
          <ac:cxnSpMkLst>
            <pc:docMk/>
            <pc:sldMk cId="1876328378" sldId="2278"/>
            <ac:cxnSpMk id="150" creationId="{00000000-0000-0000-0000-000000000000}"/>
          </ac:cxnSpMkLst>
        </pc:cxnChg>
        <pc:cxnChg chg="mod">
          <ac:chgData name="Saveen Reddy" userId="1ff099edb1c7ebfa" providerId="LiveId" clId="{03FCAAC5-2C72-47A2-A8BF-1185CBB2B952}" dt="2017-09-02T17:12:21.276" v="1918" actId="208"/>
          <ac:cxnSpMkLst>
            <pc:docMk/>
            <pc:sldMk cId="1876328378" sldId="2278"/>
            <ac:cxnSpMk id="152" creationId="{00000000-0000-0000-0000-000000000000}"/>
          </ac:cxnSpMkLst>
        </pc:cxnChg>
        <pc:cxnChg chg="mod">
          <ac:chgData name="Saveen Reddy" userId="1ff099edb1c7ebfa" providerId="LiveId" clId="{03FCAAC5-2C72-47A2-A8BF-1185CBB2B952}" dt="2017-09-02T17:12:21.276" v="1918" actId="208"/>
          <ac:cxnSpMkLst>
            <pc:docMk/>
            <pc:sldMk cId="1876328378" sldId="2278"/>
            <ac:cxnSpMk id="153" creationId="{00000000-0000-0000-0000-000000000000}"/>
          </ac:cxnSpMkLst>
        </pc:cxnChg>
        <pc:cxnChg chg="mod topLvl">
          <ac:chgData name="Saveen Reddy" userId="1ff099edb1c7ebfa" providerId="LiveId" clId="{03FCAAC5-2C72-47A2-A8BF-1185CBB2B952}" dt="2017-09-02T17:12:26.094" v="1919" actId="208"/>
          <ac:cxnSpMkLst>
            <pc:docMk/>
            <pc:sldMk cId="1876328378" sldId="2278"/>
            <ac:cxnSpMk id="157" creationId="{00000000-0000-0000-0000-000000000000}"/>
          </ac:cxnSpMkLst>
        </pc:cxnChg>
        <pc:cxnChg chg="mod topLvl">
          <ac:chgData name="Saveen Reddy" userId="1ff099edb1c7ebfa" providerId="LiveId" clId="{03FCAAC5-2C72-47A2-A8BF-1185CBB2B952}" dt="2017-09-02T17:13:08.219" v="1925" actId="2085"/>
          <ac:cxnSpMkLst>
            <pc:docMk/>
            <pc:sldMk cId="1876328378" sldId="2278"/>
            <ac:cxnSpMk id="159" creationId="{00000000-0000-0000-0000-000000000000}"/>
          </ac:cxnSpMkLst>
        </pc:cxnChg>
        <pc:cxnChg chg="mod">
          <ac:chgData name="Saveen Reddy" userId="1ff099edb1c7ebfa" providerId="LiveId" clId="{03FCAAC5-2C72-47A2-A8BF-1185CBB2B952}" dt="2017-09-02T17:12:13.925" v="1915" actId="208"/>
          <ac:cxnSpMkLst>
            <pc:docMk/>
            <pc:sldMk cId="1876328378" sldId="2278"/>
            <ac:cxnSpMk id="181" creationId="{00000000-0000-0000-0000-000000000000}"/>
          </ac:cxnSpMkLst>
        </pc:cxnChg>
        <pc:cxnChg chg="mod">
          <ac:chgData name="Saveen Reddy" userId="1ff099edb1c7ebfa" providerId="LiveId" clId="{03FCAAC5-2C72-47A2-A8BF-1185CBB2B952}" dt="2017-09-02T17:19:28.749" v="1998" actId="208"/>
          <ac:cxnSpMkLst>
            <pc:docMk/>
            <pc:sldMk cId="1876328378" sldId="2278"/>
            <ac:cxnSpMk id="195" creationId="{00000000-0000-0000-0000-000000000000}"/>
          </ac:cxnSpMkLst>
        </pc:cxnChg>
        <pc:cxnChg chg="mod">
          <ac:chgData name="Saveen Reddy" userId="1ff099edb1c7ebfa" providerId="LiveId" clId="{03FCAAC5-2C72-47A2-A8BF-1185CBB2B952}" dt="2017-09-02T17:19:28.749" v="1998" actId="208"/>
          <ac:cxnSpMkLst>
            <pc:docMk/>
            <pc:sldMk cId="1876328378" sldId="2278"/>
            <ac:cxnSpMk id="197" creationId="{00000000-0000-0000-0000-000000000000}"/>
          </ac:cxnSpMkLst>
        </pc:cxnChg>
        <pc:cxnChg chg="mod">
          <ac:chgData name="Saveen Reddy" userId="1ff099edb1c7ebfa" providerId="LiveId" clId="{03FCAAC5-2C72-47A2-A8BF-1185CBB2B952}" dt="2017-09-02T17:19:34.278" v="1999" actId="208"/>
          <ac:cxnSpMkLst>
            <pc:docMk/>
            <pc:sldMk cId="1876328378" sldId="2278"/>
            <ac:cxnSpMk id="201" creationId="{00000000-0000-0000-0000-000000000000}"/>
          </ac:cxnSpMkLst>
        </pc:cxnChg>
      </pc:sldChg>
      <pc:sldMasterChg chg="add del addSldLayout delSldLayout">
        <pc:chgData name="Saveen Reddy" userId="1ff099edb1c7ebfa" providerId="LiveId" clId="{03FCAAC5-2C72-47A2-A8BF-1185CBB2B952}" dt="2017-09-02T17:09:20.011" v="1885" actId="2696"/>
        <pc:sldMasterMkLst>
          <pc:docMk/>
          <pc:sldMasterMk cId="3077171696" sldId="2147483686"/>
        </pc:sldMasterMkLst>
        <pc:sldLayoutChg chg="add del">
          <pc:chgData name="Saveen Reddy" userId="1ff099edb1c7ebfa" providerId="LiveId" clId="{03FCAAC5-2C72-47A2-A8BF-1185CBB2B952}" dt="2017-08-24T23:53:31.865" v="34" actId="2696"/>
          <pc:sldLayoutMkLst>
            <pc:docMk/>
            <pc:sldMasterMk cId="3077171696" sldId="2147483686"/>
            <pc:sldLayoutMk cId="2436142448" sldId="2147483779"/>
          </pc:sldLayoutMkLst>
        </pc:sldLayoutChg>
      </pc:sldMasterChg>
      <pc:sldMasterChg chg="delSldLayout">
        <pc:chgData name="Saveen Reddy" userId="1ff099edb1c7ebfa" providerId="LiveId" clId="{03FCAAC5-2C72-47A2-A8BF-1185CBB2B952}" dt="2017-09-02T17:09:16.512" v="1884" actId="2696"/>
        <pc:sldMasterMkLst>
          <pc:docMk/>
          <pc:sldMasterMk cId="3080979559" sldId="2147484277"/>
        </pc:sldMasterMkLst>
        <pc:sldLayoutChg chg="del">
          <pc:chgData name="Saveen Reddy" userId="1ff099edb1c7ebfa" providerId="LiveId" clId="{03FCAAC5-2C72-47A2-A8BF-1185CBB2B952}" dt="2017-09-02T17:09:14.500" v="1883" actId="2696"/>
          <pc:sldLayoutMkLst>
            <pc:docMk/>
            <pc:sldMasterMk cId="3080979559" sldId="2147484277"/>
            <pc:sldLayoutMk cId="105385808" sldId="2147484287"/>
          </pc:sldLayoutMkLst>
        </pc:sldLayoutChg>
        <pc:sldLayoutChg chg="del">
          <pc:chgData name="Saveen Reddy" userId="1ff099edb1c7ebfa" providerId="LiveId" clId="{03FCAAC5-2C72-47A2-A8BF-1185CBB2B952}" dt="2017-09-02T17:09:16.512" v="1884" actId="2696"/>
          <pc:sldLayoutMkLst>
            <pc:docMk/>
            <pc:sldMasterMk cId="3080979559" sldId="2147484277"/>
            <pc:sldLayoutMk cId="2228398375" sldId="2147484288"/>
          </pc:sldLayoutMkLst>
        </pc:sldLayoutChg>
      </pc:sldMasterChg>
    </pc:docChg>
  </pc:docChgLst>
  <pc:docChgLst>
    <pc:chgData name="Saveen Reddy" userId="1ff099edb1c7ebfa" providerId="LiveId" clId="{F4DB1045-BD7A-422F-8F05-E6EA71C6CD1B}"/>
    <pc:docChg chg="addSld modSld sldOrd">
      <pc:chgData name="Saveen Reddy" userId="1ff099edb1c7ebfa" providerId="LiveId" clId="{F4DB1045-BD7A-422F-8F05-E6EA71C6CD1B}" dt="2017-08-29T11:49:57.033" v="15"/>
      <pc:docMkLst>
        <pc:docMk/>
      </pc:docMkLst>
      <pc:sldChg chg="modSp">
        <pc:chgData name="Saveen Reddy" userId="1ff099edb1c7ebfa" providerId="LiveId" clId="{F4DB1045-BD7A-422F-8F05-E6EA71C6CD1B}" dt="2017-08-29T11:49:26.850" v="12" actId="20577"/>
        <pc:sldMkLst>
          <pc:docMk/>
          <pc:sldMk cId="4102301955" sldId="2166"/>
        </pc:sldMkLst>
        <pc:spChg chg="mod">
          <ac:chgData name="Saveen Reddy" userId="1ff099edb1c7ebfa" providerId="LiveId" clId="{F4DB1045-BD7A-422F-8F05-E6EA71C6CD1B}" dt="2017-08-29T11:49:21.410" v="6" actId="20577"/>
          <ac:spMkLst>
            <pc:docMk/>
            <pc:sldMk cId="4102301955" sldId="2166"/>
            <ac:spMk id="2" creationId="{00000000-0000-0000-0000-000000000000}"/>
          </ac:spMkLst>
        </pc:spChg>
        <pc:spChg chg="mod">
          <ac:chgData name="Saveen Reddy" userId="1ff099edb1c7ebfa" providerId="LiveId" clId="{F4DB1045-BD7A-422F-8F05-E6EA71C6CD1B}" dt="2017-08-29T11:49:26.850" v="12" actId="20577"/>
          <ac:spMkLst>
            <pc:docMk/>
            <pc:sldMk cId="4102301955" sldId="2166"/>
            <ac:spMk id="5" creationId="{00000000-0000-0000-0000-000000000000}"/>
          </ac:spMkLst>
        </pc:spChg>
      </pc:sldChg>
      <pc:sldChg chg="add ord setBg">
        <pc:chgData name="Saveen Reddy" userId="1ff099edb1c7ebfa" providerId="LiveId" clId="{F4DB1045-BD7A-422F-8F05-E6EA71C6CD1B}" dt="2017-08-29T11:49:57.033" v="15"/>
        <pc:sldMkLst>
          <pc:docMk/>
          <pc:sldMk cId="1943360112" sldId="2275"/>
        </pc:sldMkLst>
      </pc:sldChg>
    </pc:docChg>
  </pc:docChgLst>
  <pc:docChgLst>
    <pc:chgData name="Saveen Reddy" userId="1ff099edb1c7ebfa" providerId="LiveId" clId="{382FE14A-4EE2-4F81-92B5-9FE4EE9F1D7E}"/>
    <pc:docChg chg="custSel modSld">
      <pc:chgData name="Saveen Reddy" userId="1ff099edb1c7ebfa" providerId="LiveId" clId="{382FE14A-4EE2-4F81-92B5-9FE4EE9F1D7E}" dt="2017-09-26T19:24:15.303" v="9" actId="165"/>
      <pc:docMkLst>
        <pc:docMk/>
      </pc:docMkLst>
      <pc:sldChg chg="addSp delSp modSp">
        <pc:chgData name="Saveen Reddy" userId="1ff099edb1c7ebfa" providerId="LiveId" clId="{382FE14A-4EE2-4F81-92B5-9FE4EE9F1D7E}" dt="2017-09-26T19:24:15.303" v="9" actId="165"/>
        <pc:sldMkLst>
          <pc:docMk/>
          <pc:sldMk cId="2109059976" sldId="2250"/>
        </pc:sldMkLst>
        <pc:spChg chg="add del">
          <ac:chgData name="Saveen Reddy" userId="1ff099edb1c7ebfa" providerId="LiveId" clId="{382FE14A-4EE2-4F81-92B5-9FE4EE9F1D7E}" dt="2017-09-26T19:23:23.757" v="1" actId="165"/>
          <ac:spMkLst>
            <pc:docMk/>
            <pc:sldMk cId="2109059976" sldId="2250"/>
            <ac:spMk id="176" creationId="{82595F52-13F4-4718-8BD1-770D82B5C2CE}"/>
          </ac:spMkLst>
        </pc:spChg>
        <pc:spChg chg="add del mod">
          <ac:chgData name="Saveen Reddy" userId="1ff099edb1c7ebfa" providerId="LiveId" clId="{382FE14A-4EE2-4F81-92B5-9FE4EE9F1D7E}" dt="2017-09-26T19:23:29.295" v="8" actId="478"/>
          <ac:spMkLst>
            <pc:docMk/>
            <pc:sldMk cId="2109059976" sldId="2250"/>
            <ac:spMk id="177" creationId="{518B4958-9D96-402E-8DA7-AC4B59F4CD38}"/>
          </ac:spMkLst>
        </pc:spChg>
        <pc:spChg chg="mod topLvl">
          <ac:chgData name="Saveen Reddy" userId="1ff099edb1c7ebfa" providerId="LiveId" clId="{382FE14A-4EE2-4F81-92B5-9FE4EE9F1D7E}" dt="2017-09-26T19:24:15.303" v="9" actId="165"/>
          <ac:spMkLst>
            <pc:docMk/>
            <pc:sldMk cId="2109059976" sldId="2250"/>
            <ac:spMk id="299" creationId="{00000000-0000-0000-0000-000000000000}"/>
          </ac:spMkLst>
        </pc:spChg>
        <pc:spChg chg="mod topLvl">
          <ac:chgData name="Saveen Reddy" userId="1ff099edb1c7ebfa" providerId="LiveId" clId="{382FE14A-4EE2-4F81-92B5-9FE4EE9F1D7E}" dt="2017-09-26T19:24:15.303" v="9" actId="165"/>
          <ac:spMkLst>
            <pc:docMk/>
            <pc:sldMk cId="2109059976" sldId="2250"/>
            <ac:spMk id="303" creationId="{00000000-0000-0000-0000-000000000000}"/>
          </ac:spMkLst>
        </pc:spChg>
        <pc:spChg chg="mod topLvl">
          <ac:chgData name="Saveen Reddy" userId="1ff099edb1c7ebfa" providerId="LiveId" clId="{382FE14A-4EE2-4F81-92B5-9FE4EE9F1D7E}" dt="2017-09-26T19:24:15.303" v="9" actId="165"/>
          <ac:spMkLst>
            <pc:docMk/>
            <pc:sldMk cId="2109059976" sldId="2250"/>
            <ac:spMk id="304" creationId="{00000000-0000-0000-0000-000000000000}"/>
          </ac:spMkLst>
        </pc:spChg>
        <pc:grpChg chg="del">
          <ac:chgData name="Saveen Reddy" userId="1ff099edb1c7ebfa" providerId="LiveId" clId="{382FE14A-4EE2-4F81-92B5-9FE4EE9F1D7E}" dt="2017-09-26T19:24:15.303" v="9" actId="165"/>
          <ac:grpSpMkLst>
            <pc:docMk/>
            <pc:sldMk cId="2109059976" sldId="2250"/>
            <ac:grpSpMk id="2" creationId="{37D4A82B-0604-4869-8751-4B5F73A5E37A}"/>
          </ac:grpSpMkLst>
        </pc:grpChg>
        <pc:grpChg chg="mod topLvl">
          <ac:chgData name="Saveen Reddy" userId="1ff099edb1c7ebfa" providerId="LiveId" clId="{382FE14A-4EE2-4F81-92B5-9FE4EE9F1D7E}" dt="2017-09-26T19:24:15.303" v="9" actId="165"/>
          <ac:grpSpMkLst>
            <pc:docMk/>
            <pc:sldMk cId="2109059976" sldId="2250"/>
            <ac:grpSpMk id="305" creationId="{00000000-0000-0000-0000-000000000000}"/>
          </ac:grpSpMkLst>
        </pc:grpChg>
        <pc:grpChg chg="mod topLvl">
          <ac:chgData name="Saveen Reddy" userId="1ff099edb1c7ebfa" providerId="LiveId" clId="{382FE14A-4EE2-4F81-92B5-9FE4EE9F1D7E}" dt="2017-09-26T19:24:15.303" v="9" actId="165"/>
          <ac:grpSpMkLst>
            <pc:docMk/>
            <pc:sldMk cId="2109059976" sldId="2250"/>
            <ac:grpSpMk id="359" creationId="{00000000-0000-0000-0000-000000000000}"/>
          </ac:grpSpMkLst>
        </pc:grpChg>
        <pc:grpChg chg="mod topLvl">
          <ac:chgData name="Saveen Reddy" userId="1ff099edb1c7ebfa" providerId="LiveId" clId="{382FE14A-4EE2-4F81-92B5-9FE4EE9F1D7E}" dt="2017-09-26T19:24:15.303" v="9" actId="165"/>
          <ac:grpSpMkLst>
            <pc:docMk/>
            <pc:sldMk cId="2109059976" sldId="2250"/>
            <ac:grpSpMk id="396" creationId="{00000000-0000-0000-0000-000000000000}"/>
          </ac:grpSpMkLst>
        </pc:gr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27AAADD-8F94-4863-AB67-1D448E3F1BC3}" type="datetime1">
              <a:rPr lang="en-US" smtClean="0">
                <a:latin typeface="Segoe UI" pitchFamily="34" charset="0"/>
              </a:rPr>
              <a:t>10/19/2017</a:t>
            </a:fld>
            <a:endParaRPr lang="en-US" dirty="0">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dirty="0"/>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TechReady 22</a:t>
            </a: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TechReady 22</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E74353ED-ACB2-44BF-A903-985B0AF962B7}" type="datetime1">
              <a:rPr lang="en-US" smtClean="0"/>
              <a:t>10/19/2017</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5AFD610-1DA2-4DE2-BEB7-46AD4E3C54F9}"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7142906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AFD610-1DA2-4DE2-BEB7-46AD4E3C54F9}"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849723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3D6935C-AF9A-4D9D-9A33-C087949C20AF}" type="slidenum">
              <a:rPr kumimoji="0" lang="en-US" sz="1800" b="0" i="0" u="none" strike="noStrike" kern="0" cap="none" spc="0" normalizeH="0" baseline="0" noProof="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4425498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543D87-E5E6-4341-82FC-1977810270C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962399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543D87-E5E6-4341-82FC-1977810270C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003347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624BEDA-B169-4A4E-9FC2-165D418DBC39}" type="slidenum">
              <a:rPr lang="en-US" smtClean="0"/>
              <a:t>14</a:t>
            </a:fld>
            <a:endParaRPr lang="en-US"/>
          </a:p>
        </p:txBody>
      </p:sp>
    </p:spTree>
    <p:extLst>
      <p:ext uri="{BB962C8B-B14F-4D97-AF65-F5344CB8AC3E}">
        <p14:creationId xmlns:p14="http://schemas.microsoft.com/office/powerpoint/2010/main" val="41027314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21874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24BEDA-B169-4A4E-9FC2-165D418DBC3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07561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79660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42777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86372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AFD610-1DA2-4DE2-BEB7-46AD4E3C54F9}"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466304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42555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25449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4166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90538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10803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61408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3525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5AFD610-1DA2-4DE2-BEB7-46AD4E3C54F9}"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165394358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AFD610-1DA2-4DE2-BEB7-46AD4E3C54F9}"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063431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D14510-B60F-42D8-BED8-A5A475A0A6C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75722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D6935C-AF9A-4D9D-9A33-C087949C20A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65537336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D14510-B60F-42D8-BED8-A5A475A0A6C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272722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D14510-B60F-42D8-BED8-A5A475A0A6C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75968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D14510-B60F-42D8-BED8-A5A475A0A6C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966787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D14510-B60F-42D8-BED8-A5A475A0A6C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223263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D14510-B60F-42D8-BED8-A5A475A0A6C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013928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D14510-B60F-42D8-BED8-A5A475A0A6C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162904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9/2017</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604850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9/2017</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89331580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9/2017</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82449920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AFD610-1DA2-4DE2-BEB7-46AD4E3C54F9}"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57456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802336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AFD610-1DA2-4DE2-BEB7-46AD4E3C54F9}"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348442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9/2017</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60817477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543D87-E5E6-4341-82FC-1977810270C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177342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543D87-E5E6-4341-82FC-1977810270C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1215245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543D87-E5E6-4341-82FC-1977810270C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804858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543D87-E5E6-4341-82FC-1977810270C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6574649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7177988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9/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2864894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7785306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9/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390560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AFD610-1DA2-4DE2-BEB7-46AD4E3C54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006939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5AFD610-1DA2-4DE2-BEB7-46AD4E3C54F9}"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103733512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10/19/2017</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51</a:t>
            </a:fld>
            <a:endParaRPr lang="en-US" dirty="0"/>
          </a:p>
        </p:txBody>
      </p:sp>
    </p:spTree>
    <p:extLst>
      <p:ext uri="{BB962C8B-B14F-4D97-AF65-F5344CB8AC3E}">
        <p14:creationId xmlns:p14="http://schemas.microsoft.com/office/powerpoint/2010/main" val="45931328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9/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1564201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10/19/2017</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53</a:t>
            </a:fld>
            <a:endParaRPr lang="en-US" dirty="0"/>
          </a:p>
        </p:txBody>
      </p:sp>
    </p:spTree>
    <p:extLst>
      <p:ext uri="{BB962C8B-B14F-4D97-AF65-F5344CB8AC3E}">
        <p14:creationId xmlns:p14="http://schemas.microsoft.com/office/powerpoint/2010/main" val="135529860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10/19/2017</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54</a:t>
            </a:fld>
            <a:endParaRPr lang="en-US" dirty="0"/>
          </a:p>
        </p:txBody>
      </p:sp>
    </p:spTree>
    <p:extLst>
      <p:ext uri="{BB962C8B-B14F-4D97-AF65-F5344CB8AC3E}">
        <p14:creationId xmlns:p14="http://schemas.microsoft.com/office/powerpoint/2010/main" val="5815369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3D6935C-AF9A-4D9D-9A33-C087949C20AF}" type="slidenum">
              <a:rPr kumimoji="0" lang="en-US" sz="1800" b="0" i="0" u="none" strike="noStrike" kern="0" cap="none" spc="0" normalizeH="0" baseline="0" noProof="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21182769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10/19/2017</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315195325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81162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ther points to make here,</a:t>
            </a:r>
            <a:r>
              <a:rPr lang="en-US" baseline="0" dirty="0"/>
              <a:t> but not called out above</a:t>
            </a:r>
            <a:endParaRPr lang="en-US" dirty="0"/>
          </a:p>
          <a:p>
            <a:pPr marL="282575" indent="-282575">
              <a:lnSpc>
                <a:spcPct val="90000"/>
              </a:lnSpc>
              <a:spcBef>
                <a:spcPts val="1200"/>
              </a:spcBef>
              <a:spcAft>
                <a:spcPts val="1200"/>
              </a:spcAft>
              <a:buClr>
                <a:schemeClr val="accent2"/>
              </a:buClr>
              <a:buSzPct val="100000"/>
              <a:buBlip>
                <a:blip r:embed="rId3"/>
              </a:buBlip>
            </a:pPr>
            <a:r>
              <a:rPr lang="en-US" sz="1200" dirty="0">
                <a:solidFill>
                  <a:schemeClr val="tx2"/>
                </a:solidFill>
              </a:rPr>
              <a:t>Built on </a:t>
            </a:r>
            <a:r>
              <a:rPr lang="en-US" sz="120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Apache YARN</a:t>
            </a:r>
          </a:p>
          <a:p>
            <a:pPr marL="282575" indent="-282575">
              <a:lnSpc>
                <a:spcPct val="90000"/>
              </a:lnSpc>
              <a:spcBef>
                <a:spcPts val="1200"/>
              </a:spcBef>
              <a:spcAft>
                <a:spcPts val="1200"/>
              </a:spcAft>
              <a:buClr>
                <a:schemeClr val="accent2"/>
              </a:buClr>
              <a:buSzPct val="100000"/>
              <a:buBlip>
                <a:blip r:embed="rId3"/>
              </a:buBlip>
            </a:pPr>
            <a:r>
              <a:rPr lang="en-US" sz="120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Scales dynamically </a:t>
            </a:r>
            <a:r>
              <a:rPr lang="en-US" sz="1200" dirty="0">
                <a:solidFill>
                  <a:schemeClr val="tx2"/>
                </a:solidFill>
              </a:rPr>
              <a:t>with the turn of a dial</a:t>
            </a:r>
            <a:endParaRPr lang="en-US" sz="120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endParaRPr>
          </a:p>
          <a:p>
            <a:pPr marL="282575" indent="-282575">
              <a:lnSpc>
                <a:spcPct val="90000"/>
              </a:lnSpc>
              <a:spcBef>
                <a:spcPts val="1200"/>
              </a:spcBef>
              <a:spcAft>
                <a:spcPts val="1200"/>
              </a:spcAft>
              <a:buClr>
                <a:schemeClr val="accent2"/>
              </a:buClr>
              <a:buSzPct val="100000"/>
              <a:buBlip>
                <a:blip r:embed="rId3"/>
              </a:buBlip>
            </a:pPr>
            <a:r>
              <a:rPr lang="en-US" sz="1200" dirty="0">
                <a:solidFill>
                  <a:schemeClr val="tx2"/>
                </a:solidFill>
              </a:rPr>
              <a:t>Supports</a:t>
            </a:r>
            <a:r>
              <a:rPr lang="en-US" sz="1200"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 Azure AD </a:t>
            </a:r>
            <a:r>
              <a:rPr lang="en-US" sz="1200" dirty="0">
                <a:solidFill>
                  <a:schemeClr val="tx2"/>
                </a:solidFill>
              </a:rPr>
              <a:t>for access control, roles, and </a:t>
            </a:r>
            <a:r>
              <a:rPr lang="en-US" sz="1200" u="sng" dirty="0">
                <a:solidFill>
                  <a:schemeClr val="tx2"/>
                </a:solidFill>
              </a:rPr>
              <a:t>integration with on-</a:t>
            </a:r>
            <a:r>
              <a:rPr lang="en-US" sz="1200" u="sng" dirty="0" err="1">
                <a:solidFill>
                  <a:schemeClr val="tx2"/>
                </a:solidFill>
              </a:rPr>
              <a:t>prem</a:t>
            </a:r>
            <a:r>
              <a:rPr lang="en-US" sz="1200" u="sng" dirty="0">
                <a:solidFill>
                  <a:schemeClr val="tx2"/>
                </a:solidFill>
              </a:rPr>
              <a:t> identity systems</a:t>
            </a:r>
          </a:p>
          <a:p>
            <a:pPr marL="282575" indent="-282575">
              <a:lnSpc>
                <a:spcPct val="90000"/>
              </a:lnSpc>
              <a:spcBef>
                <a:spcPts val="1200"/>
              </a:spcBef>
              <a:spcAft>
                <a:spcPts val="1200"/>
              </a:spcAft>
              <a:buClr>
                <a:schemeClr val="accent2"/>
              </a:buClr>
              <a:buSzPct val="100000"/>
              <a:buBlip>
                <a:blip r:embed="rId3"/>
              </a:buBlip>
            </a:pPr>
            <a:r>
              <a:rPr lang="en-US" sz="1200" dirty="0">
                <a:solidFill>
                  <a:schemeClr val="tx2"/>
                </a:solidFill>
              </a:rPr>
              <a:t>U-SQL’s scalable runtime processes data across multiple Azure data sourc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45AFD610-1DA2-4DE2-BEB7-46AD4E3C54F9}" type="slidenum">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68545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 data</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Unstructured, Semi structured, Structured </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Domain-specific user defined types using C# </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Queries over Data Lake and Azure Blobs </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Federated Queries over Operational and DW SQL stores removing the complexity of ETL</a:t>
            </a:r>
          </a:p>
          <a:p>
            <a:endParaRPr lang="en-US" dirty="0"/>
          </a:p>
          <a:p>
            <a:r>
              <a:rPr lang="en-US" dirty="0"/>
              <a:t>Productive</a:t>
            </a:r>
            <a:r>
              <a:rPr lang="en-US" baseline="0" dirty="0"/>
              <a:t> from day one</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Effortless scale and performance without need to manually tune/configure</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Best developer experience throughout development lifecycle for both novices and experts </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Leverage your existing skills with SQL and .NET</a:t>
            </a:r>
          </a:p>
          <a:p>
            <a:endParaRPr lang="en-US" baseline="0" dirty="0"/>
          </a:p>
          <a:p>
            <a:r>
              <a:rPr lang="en-US" baseline="0" dirty="0"/>
              <a:t>Easy and powerful data preparation</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Easy to use built-in connectors for common data formats</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Simple and rich extensibility model for adding customer – specific data transformation – both existing and new</a:t>
            </a:r>
          </a:p>
          <a:p>
            <a:endParaRPr lang="en-US" baseline="0" dirty="0"/>
          </a:p>
          <a:p>
            <a:r>
              <a:rPr lang="en-US" baseline="0" dirty="0"/>
              <a:t>No limits scale</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Scales on demand with no change to code</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Automatically parallelizes SQL and custom code </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Designed to process petabytes of data</a:t>
            </a:r>
          </a:p>
          <a:p>
            <a:endParaRPr lang="en-US" baseline="0" dirty="0"/>
          </a:p>
          <a:p>
            <a:r>
              <a:rPr lang="en-US" baseline="0" dirty="0"/>
              <a:t>Enterprise grade</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Managing, securing, sharing, and discovery of familiar data and code objects (tables, functions etc.)  </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Role based authorization of Catalogs and storage accounts using AAD security</a:t>
            </a:r>
          </a:p>
          <a:p>
            <a:pPr marL="174625" indent="-174625">
              <a:spcBef>
                <a:spcPts val="600"/>
              </a:spcBef>
              <a:buFont typeface="Arial" panose="020B0604020202020204" pitchFamily="34" charset="0"/>
              <a:buChar char="•"/>
            </a:pPr>
            <a:r>
              <a:rPr lang="en-US" sz="1200" dirty="0">
                <a:solidFill>
                  <a:schemeClr val="tx2"/>
                </a:solidFill>
                <a:cs typeface="Segoe UI Light" panose="020B0502040204020203" pitchFamily="34" charset="0"/>
              </a:rPr>
              <a:t>Auditing of catalog objects (databases,</a:t>
            </a:r>
            <a:br>
              <a:rPr lang="en-US" sz="1200" dirty="0">
                <a:solidFill>
                  <a:schemeClr val="tx2"/>
                </a:solidFill>
                <a:cs typeface="Segoe UI Light" panose="020B0502040204020203" pitchFamily="34" charset="0"/>
              </a:rPr>
            </a:br>
            <a:r>
              <a:rPr lang="en-US" sz="1200" dirty="0">
                <a:solidFill>
                  <a:schemeClr val="tx2"/>
                </a:solidFill>
                <a:cs typeface="Segoe UI Light" panose="020B0502040204020203" pitchFamily="34" charset="0"/>
              </a:rPr>
              <a:t>tables etc.)</a:t>
            </a:r>
          </a:p>
          <a:p>
            <a:endParaRPr lang="en-US" dirty="0">
              <a:latin typeface="Segoe UI Semibold" panose="020B0702040204020203" pitchFamily="34" charset="0"/>
              <a:cs typeface="Segoe UI Semibold" panose="020B0702040204020203"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1127270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53329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en-US" sz="1200" dirty="0">
                <a:solidFill>
                  <a:schemeClr val="tx1">
                    <a:lumMod val="75000"/>
                    <a:lumOff val="25000"/>
                  </a:schemeClr>
                </a:solidFill>
              </a:rPr>
              <a:t>Every ADL Analytics account must be associated with at least one default ADL store account where the metadata catalog is stored.</a:t>
            </a:r>
          </a:p>
          <a:p>
            <a:r>
              <a:rPr lang="en-US" sz="1200" dirty="0">
                <a:solidFill>
                  <a:schemeClr val="tx1">
                    <a:lumMod val="75000"/>
                    <a:lumOff val="25000"/>
                  </a:schemeClr>
                </a:solidFill>
              </a:rPr>
              <a:t>At account creation time, you can either:</a:t>
            </a:r>
          </a:p>
          <a:p>
            <a:pPr marL="171450" indent="-114300">
              <a:spcAft>
                <a:spcPts val="200"/>
              </a:spcAft>
              <a:buClr>
                <a:schemeClr val="accent2"/>
              </a:buClr>
              <a:buFont typeface="Arial" panose="020B0604020202020204" pitchFamily="34" charset="0"/>
              <a:buChar char="•"/>
            </a:pPr>
            <a:r>
              <a:rPr lang="en-US" sz="1100" dirty="0">
                <a:solidFill>
                  <a:schemeClr val="tx1">
                    <a:lumMod val="75000"/>
                    <a:lumOff val="25000"/>
                  </a:schemeClr>
                </a:solidFill>
              </a:rPr>
              <a:t>Create a new ADL store default account, or</a:t>
            </a:r>
          </a:p>
          <a:p>
            <a:pPr marL="171450" indent="-114300">
              <a:spcAft>
                <a:spcPts val="200"/>
              </a:spcAft>
              <a:buClr>
                <a:schemeClr val="accent2"/>
              </a:buClr>
              <a:buFont typeface="Arial" panose="020B0604020202020204" pitchFamily="34" charset="0"/>
              <a:buChar char="•"/>
            </a:pPr>
            <a:r>
              <a:rPr lang="en-US" sz="1100" dirty="0">
                <a:solidFill>
                  <a:schemeClr val="tx1">
                    <a:lumMod val="75000"/>
                    <a:lumOff val="25000"/>
                  </a:schemeClr>
                </a:solidFill>
              </a:rPr>
              <a:t>Associate with an existing ADL store account (with the right permissions)</a:t>
            </a:r>
          </a:p>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05278E-5E87-46DA-836C-231A3458D21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2873370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emf"/><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388640" y="6622131"/>
            <a:ext cx="2798207" cy="372394"/>
          </a:xfrm>
          <a:prstGeom prst="rect">
            <a:avLst/>
          </a:prstGeom>
        </p:spPr>
        <p:txBody>
          <a:bodyPr/>
          <a:lstStyle/>
          <a:p>
            <a:fld id="{F53AE9E0-A031-482F-8964-CDA6FF26DD61}" type="datetimeFigureOut">
              <a:rPr lang="en-US" smtClean="0">
                <a:solidFill>
                  <a:prstClr val="black"/>
                </a:solidFill>
              </a:rPr>
              <a:pPr/>
              <a:t>10/19/2017</a:t>
            </a:fld>
            <a:endParaRPr lang="en-US">
              <a:solidFill>
                <a:prstClr val="black"/>
              </a:solidFill>
            </a:endParaRPr>
          </a:p>
        </p:txBody>
      </p:sp>
      <p:sp>
        <p:nvSpPr>
          <p:cNvPr id="5" name="Footer Placeholder 4"/>
          <p:cNvSpPr>
            <a:spLocks noGrp="1"/>
          </p:cNvSpPr>
          <p:nvPr>
            <p:ph type="ftr" sz="quarter" idx="11"/>
          </p:nvPr>
        </p:nvSpPr>
        <p:spPr>
          <a:xfrm>
            <a:off x="4119583" y="6614036"/>
            <a:ext cx="4197310" cy="372394"/>
          </a:xfrm>
          <a:prstGeom prst="rect">
            <a:avLst/>
          </a:prstGeom>
        </p:spPr>
        <p:txBody>
          <a:bodyPr/>
          <a:lstStyle/>
          <a:p>
            <a:endParaRPr lang="en-US">
              <a:solidFill>
                <a:prstClr val="black"/>
              </a:solidFill>
            </a:endParaRPr>
          </a:p>
        </p:txBody>
      </p:sp>
      <p:sp>
        <p:nvSpPr>
          <p:cNvPr id="6" name="Slide Number Placeholder 5"/>
          <p:cNvSpPr>
            <a:spLocks noGrp="1"/>
          </p:cNvSpPr>
          <p:nvPr>
            <p:ph type="sldNum" sz="quarter" idx="12"/>
          </p:nvPr>
        </p:nvSpPr>
        <p:spPr/>
        <p:txBody>
          <a:bodyPr/>
          <a:lstStyle/>
          <a:p>
            <a:fld id="{74A4D22A-FBB2-4BFF-B227-90CB6661907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109225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CD02ED-262B-421E-BF33-FF9E02DE6566}"/>
              </a:ext>
            </a:extLst>
          </p:cNvPr>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a:extLst>
              <a:ext uri="{FF2B5EF4-FFF2-40B4-BE49-F238E27FC236}">
                <a16:creationId xmlns:a16="http://schemas.microsoft.com/office/drawing/2014/main" id="{58600B69-E07E-463A-A1C5-7803D537E832}"/>
              </a:ext>
            </a:extLst>
          </p:cNvPr>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3E3E9F90-CA93-4EB3-A22D-2C2A7D72A97A}"/>
              </a:ext>
            </a:extLst>
          </p:cNvPr>
          <p:cNvSpPr>
            <a:spLocks noGrp="1"/>
          </p:cNvSpPr>
          <p:nvPr>
            <p:ph type="dt" sz="half" idx="10"/>
          </p:nvPr>
        </p:nvSpPr>
        <p:spPr/>
        <p:txBody>
          <a:bodyPr/>
          <a:lstStyle/>
          <a:p>
            <a:fld id="{C006C19A-BE50-4934-B0C0-00A9881A5D9A}" type="datetimeFigureOut">
              <a:rPr lang="en-US" smtClean="0"/>
              <a:t>10/19/2017</a:t>
            </a:fld>
            <a:endParaRPr lang="en-US"/>
          </a:p>
        </p:txBody>
      </p:sp>
      <p:sp>
        <p:nvSpPr>
          <p:cNvPr id="5" name="Footer Placeholder 4">
            <a:extLst>
              <a:ext uri="{FF2B5EF4-FFF2-40B4-BE49-F238E27FC236}">
                <a16:creationId xmlns:a16="http://schemas.microsoft.com/office/drawing/2014/main" id="{97B81CB7-80E7-4A80-BB0C-38BA8996AE4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100C0C-6D48-40B9-B87C-8B8CD87631FF}"/>
              </a:ext>
            </a:extLst>
          </p:cNvPr>
          <p:cNvSpPr>
            <a:spLocks noGrp="1"/>
          </p:cNvSpPr>
          <p:nvPr>
            <p:ph type="sldNum" sz="quarter" idx="12"/>
          </p:nvPr>
        </p:nvSpPr>
        <p:spPr/>
        <p:txBody>
          <a:bodyPr/>
          <a:lstStyle/>
          <a:p>
            <a:fld id="{5B54658E-5917-4421-949F-E123BC79337C}" type="slidenum">
              <a:rPr lang="en-US" smtClean="0"/>
              <a:t>‹#›</a:t>
            </a:fld>
            <a:endParaRPr lang="en-US"/>
          </a:p>
        </p:txBody>
      </p:sp>
    </p:spTree>
    <p:extLst>
      <p:ext uri="{BB962C8B-B14F-4D97-AF65-F5344CB8AC3E}">
        <p14:creationId xmlns:p14="http://schemas.microsoft.com/office/powerpoint/2010/main" val="29109910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42FF77-56F6-4F03-B1F2-7F7E4187341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81B46AD-C47B-453C-813C-E6498957B4C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2FD2DD7-502D-4371-A595-9D8C96D5360B}"/>
              </a:ext>
            </a:extLst>
          </p:cNvPr>
          <p:cNvSpPr>
            <a:spLocks noGrp="1"/>
          </p:cNvSpPr>
          <p:nvPr>
            <p:ph type="dt" sz="half" idx="10"/>
          </p:nvPr>
        </p:nvSpPr>
        <p:spPr/>
        <p:txBody>
          <a:bodyPr/>
          <a:lstStyle/>
          <a:p>
            <a:fld id="{C006C19A-BE50-4934-B0C0-00A9881A5D9A}" type="datetimeFigureOut">
              <a:rPr lang="en-US" smtClean="0"/>
              <a:t>10/19/2017</a:t>
            </a:fld>
            <a:endParaRPr lang="en-US"/>
          </a:p>
        </p:txBody>
      </p:sp>
      <p:sp>
        <p:nvSpPr>
          <p:cNvPr id="5" name="Footer Placeholder 4">
            <a:extLst>
              <a:ext uri="{FF2B5EF4-FFF2-40B4-BE49-F238E27FC236}">
                <a16:creationId xmlns:a16="http://schemas.microsoft.com/office/drawing/2014/main" id="{BB9B07CE-1E84-4092-88A3-479FA42209D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E137A04-A9E0-47FF-9A1C-BA8D026499DD}"/>
              </a:ext>
            </a:extLst>
          </p:cNvPr>
          <p:cNvSpPr>
            <a:spLocks noGrp="1"/>
          </p:cNvSpPr>
          <p:nvPr>
            <p:ph type="sldNum" sz="quarter" idx="12"/>
          </p:nvPr>
        </p:nvSpPr>
        <p:spPr/>
        <p:txBody>
          <a:bodyPr/>
          <a:lstStyle/>
          <a:p>
            <a:fld id="{5B54658E-5917-4421-949F-E123BC79337C}" type="slidenum">
              <a:rPr lang="en-US" smtClean="0"/>
              <a:t>‹#›</a:t>
            </a:fld>
            <a:endParaRPr lang="en-US"/>
          </a:p>
        </p:txBody>
      </p:sp>
    </p:spTree>
    <p:extLst>
      <p:ext uri="{BB962C8B-B14F-4D97-AF65-F5344CB8AC3E}">
        <p14:creationId xmlns:p14="http://schemas.microsoft.com/office/powerpoint/2010/main" val="33308454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661B0F-9AF6-488C-A6D5-631AE382919A}"/>
              </a:ext>
            </a:extLst>
          </p:cNvPr>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a:extLst>
              <a:ext uri="{FF2B5EF4-FFF2-40B4-BE49-F238E27FC236}">
                <a16:creationId xmlns:a16="http://schemas.microsoft.com/office/drawing/2014/main" id="{11ED7AF1-5080-4310-B110-46D5FC65535E}"/>
              </a:ext>
            </a:extLst>
          </p:cNvPr>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C06355FC-0A1F-45B4-A772-3C0D44EE2762}"/>
              </a:ext>
            </a:extLst>
          </p:cNvPr>
          <p:cNvSpPr>
            <a:spLocks noGrp="1"/>
          </p:cNvSpPr>
          <p:nvPr>
            <p:ph type="dt" sz="half" idx="10"/>
          </p:nvPr>
        </p:nvSpPr>
        <p:spPr/>
        <p:txBody>
          <a:bodyPr/>
          <a:lstStyle/>
          <a:p>
            <a:fld id="{C006C19A-BE50-4934-B0C0-00A9881A5D9A}" type="datetimeFigureOut">
              <a:rPr lang="en-US" smtClean="0"/>
              <a:t>10/19/2017</a:t>
            </a:fld>
            <a:endParaRPr lang="en-US"/>
          </a:p>
        </p:txBody>
      </p:sp>
      <p:sp>
        <p:nvSpPr>
          <p:cNvPr id="5" name="Footer Placeholder 4">
            <a:extLst>
              <a:ext uri="{FF2B5EF4-FFF2-40B4-BE49-F238E27FC236}">
                <a16:creationId xmlns:a16="http://schemas.microsoft.com/office/drawing/2014/main" id="{FCF1598E-F20E-47E8-81C8-06E1299F220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3182AAE-5E2A-43CA-841C-E37D393B5F79}"/>
              </a:ext>
            </a:extLst>
          </p:cNvPr>
          <p:cNvSpPr>
            <a:spLocks noGrp="1"/>
          </p:cNvSpPr>
          <p:nvPr>
            <p:ph type="sldNum" sz="quarter" idx="12"/>
          </p:nvPr>
        </p:nvSpPr>
        <p:spPr/>
        <p:txBody>
          <a:bodyPr/>
          <a:lstStyle/>
          <a:p>
            <a:fld id="{5B54658E-5917-4421-949F-E123BC79337C}" type="slidenum">
              <a:rPr lang="en-US" smtClean="0"/>
              <a:t>‹#›</a:t>
            </a:fld>
            <a:endParaRPr lang="en-US"/>
          </a:p>
        </p:txBody>
      </p:sp>
    </p:spTree>
    <p:extLst>
      <p:ext uri="{BB962C8B-B14F-4D97-AF65-F5344CB8AC3E}">
        <p14:creationId xmlns:p14="http://schemas.microsoft.com/office/powerpoint/2010/main" val="7709708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2F84E4-B129-4DC4-B3FA-F1D632DCE4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62BE8C5-8852-4A06-AA03-923897646D20}"/>
              </a:ext>
            </a:extLst>
          </p:cNvPr>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0257D94-A52E-40B7-B4A6-9D461685074E}"/>
              </a:ext>
            </a:extLst>
          </p:cNvPr>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AF68C2F-2E49-495F-A3A1-6DEC7BE5DF9C}"/>
              </a:ext>
            </a:extLst>
          </p:cNvPr>
          <p:cNvSpPr>
            <a:spLocks noGrp="1"/>
          </p:cNvSpPr>
          <p:nvPr>
            <p:ph type="dt" sz="half" idx="10"/>
          </p:nvPr>
        </p:nvSpPr>
        <p:spPr/>
        <p:txBody>
          <a:bodyPr/>
          <a:lstStyle/>
          <a:p>
            <a:fld id="{C006C19A-BE50-4934-B0C0-00A9881A5D9A}" type="datetimeFigureOut">
              <a:rPr lang="en-US" smtClean="0"/>
              <a:t>10/19/2017</a:t>
            </a:fld>
            <a:endParaRPr lang="en-US"/>
          </a:p>
        </p:txBody>
      </p:sp>
      <p:sp>
        <p:nvSpPr>
          <p:cNvPr id="6" name="Footer Placeholder 5">
            <a:extLst>
              <a:ext uri="{FF2B5EF4-FFF2-40B4-BE49-F238E27FC236}">
                <a16:creationId xmlns:a16="http://schemas.microsoft.com/office/drawing/2014/main" id="{64DC58EA-CFF2-4C78-8C29-EB7910CE276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2D0194F-D7BB-41D7-AE65-90A7A122AD37}"/>
              </a:ext>
            </a:extLst>
          </p:cNvPr>
          <p:cNvSpPr>
            <a:spLocks noGrp="1"/>
          </p:cNvSpPr>
          <p:nvPr>
            <p:ph type="sldNum" sz="quarter" idx="12"/>
          </p:nvPr>
        </p:nvSpPr>
        <p:spPr/>
        <p:txBody>
          <a:bodyPr/>
          <a:lstStyle/>
          <a:p>
            <a:fld id="{5B54658E-5917-4421-949F-E123BC79337C}" type="slidenum">
              <a:rPr lang="en-US" smtClean="0"/>
              <a:t>‹#›</a:t>
            </a:fld>
            <a:endParaRPr lang="en-US"/>
          </a:p>
        </p:txBody>
      </p:sp>
    </p:spTree>
    <p:extLst>
      <p:ext uri="{BB962C8B-B14F-4D97-AF65-F5344CB8AC3E}">
        <p14:creationId xmlns:p14="http://schemas.microsoft.com/office/powerpoint/2010/main" val="7755638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31FCDD-C958-4A2B-9986-EFA9CD69BBA1}"/>
              </a:ext>
            </a:extLst>
          </p:cNvPr>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a:extLst>
              <a:ext uri="{FF2B5EF4-FFF2-40B4-BE49-F238E27FC236}">
                <a16:creationId xmlns:a16="http://schemas.microsoft.com/office/drawing/2014/main" id="{7F7A802E-BBC7-40BC-B7E5-B9BD90BBA691}"/>
              </a:ext>
            </a:extLst>
          </p:cNvPr>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a:extLst>
              <a:ext uri="{FF2B5EF4-FFF2-40B4-BE49-F238E27FC236}">
                <a16:creationId xmlns:a16="http://schemas.microsoft.com/office/drawing/2014/main" id="{3AAAEB8F-9D0B-4227-9DAB-858DB7810541}"/>
              </a:ext>
            </a:extLst>
          </p:cNvPr>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42B9883-2536-4C11-9D8A-0BDEFE4AE30D}"/>
              </a:ext>
            </a:extLst>
          </p:cNvPr>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a:extLst>
              <a:ext uri="{FF2B5EF4-FFF2-40B4-BE49-F238E27FC236}">
                <a16:creationId xmlns:a16="http://schemas.microsoft.com/office/drawing/2014/main" id="{466F7E4D-C17F-452B-9E2E-7BC70D8E89D3}"/>
              </a:ext>
            </a:extLst>
          </p:cNvPr>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2DBE1CB-05C5-4D87-8461-673DD7438D2C}"/>
              </a:ext>
            </a:extLst>
          </p:cNvPr>
          <p:cNvSpPr>
            <a:spLocks noGrp="1"/>
          </p:cNvSpPr>
          <p:nvPr>
            <p:ph type="dt" sz="half" idx="10"/>
          </p:nvPr>
        </p:nvSpPr>
        <p:spPr/>
        <p:txBody>
          <a:bodyPr/>
          <a:lstStyle/>
          <a:p>
            <a:fld id="{C006C19A-BE50-4934-B0C0-00A9881A5D9A}" type="datetimeFigureOut">
              <a:rPr lang="en-US" smtClean="0"/>
              <a:t>10/19/2017</a:t>
            </a:fld>
            <a:endParaRPr lang="en-US"/>
          </a:p>
        </p:txBody>
      </p:sp>
      <p:sp>
        <p:nvSpPr>
          <p:cNvPr id="8" name="Footer Placeholder 7">
            <a:extLst>
              <a:ext uri="{FF2B5EF4-FFF2-40B4-BE49-F238E27FC236}">
                <a16:creationId xmlns:a16="http://schemas.microsoft.com/office/drawing/2014/main" id="{9314F97A-7386-4723-A428-CAB877E82C3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0624F44-6FB7-4B50-A0B4-E304686B90CF}"/>
              </a:ext>
            </a:extLst>
          </p:cNvPr>
          <p:cNvSpPr>
            <a:spLocks noGrp="1"/>
          </p:cNvSpPr>
          <p:nvPr>
            <p:ph type="sldNum" sz="quarter" idx="12"/>
          </p:nvPr>
        </p:nvSpPr>
        <p:spPr/>
        <p:txBody>
          <a:bodyPr/>
          <a:lstStyle/>
          <a:p>
            <a:fld id="{5B54658E-5917-4421-949F-E123BC79337C}" type="slidenum">
              <a:rPr lang="en-US" smtClean="0"/>
              <a:t>‹#›</a:t>
            </a:fld>
            <a:endParaRPr lang="en-US"/>
          </a:p>
        </p:txBody>
      </p:sp>
    </p:spTree>
    <p:extLst>
      <p:ext uri="{BB962C8B-B14F-4D97-AF65-F5344CB8AC3E}">
        <p14:creationId xmlns:p14="http://schemas.microsoft.com/office/powerpoint/2010/main" val="10116579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12BDC1-54CC-4418-BA3C-835335D2E5C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B8FE866-D433-4DF1-B67B-ED00CE255BFF}"/>
              </a:ext>
            </a:extLst>
          </p:cNvPr>
          <p:cNvSpPr>
            <a:spLocks noGrp="1"/>
          </p:cNvSpPr>
          <p:nvPr>
            <p:ph type="dt" sz="half" idx="10"/>
          </p:nvPr>
        </p:nvSpPr>
        <p:spPr/>
        <p:txBody>
          <a:bodyPr/>
          <a:lstStyle/>
          <a:p>
            <a:fld id="{C006C19A-BE50-4934-B0C0-00A9881A5D9A}" type="datetimeFigureOut">
              <a:rPr lang="en-US" smtClean="0"/>
              <a:t>10/19/2017</a:t>
            </a:fld>
            <a:endParaRPr lang="en-US"/>
          </a:p>
        </p:txBody>
      </p:sp>
      <p:sp>
        <p:nvSpPr>
          <p:cNvPr id="4" name="Footer Placeholder 3">
            <a:extLst>
              <a:ext uri="{FF2B5EF4-FFF2-40B4-BE49-F238E27FC236}">
                <a16:creationId xmlns:a16="http://schemas.microsoft.com/office/drawing/2014/main" id="{2D49D97F-EE30-4C52-97FC-8087517088F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F160D97-BAC8-4323-ABE9-AFFE1A37A2BA}"/>
              </a:ext>
            </a:extLst>
          </p:cNvPr>
          <p:cNvSpPr>
            <a:spLocks noGrp="1"/>
          </p:cNvSpPr>
          <p:nvPr>
            <p:ph type="sldNum" sz="quarter" idx="12"/>
          </p:nvPr>
        </p:nvSpPr>
        <p:spPr/>
        <p:txBody>
          <a:bodyPr/>
          <a:lstStyle/>
          <a:p>
            <a:fld id="{5B54658E-5917-4421-949F-E123BC79337C}" type="slidenum">
              <a:rPr lang="en-US" smtClean="0"/>
              <a:t>‹#›</a:t>
            </a:fld>
            <a:endParaRPr lang="en-US"/>
          </a:p>
        </p:txBody>
      </p:sp>
    </p:spTree>
    <p:extLst>
      <p:ext uri="{BB962C8B-B14F-4D97-AF65-F5344CB8AC3E}">
        <p14:creationId xmlns:p14="http://schemas.microsoft.com/office/powerpoint/2010/main" val="9153247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9EDF9A3-7464-480D-BEB3-E57A23C9BC21}"/>
              </a:ext>
            </a:extLst>
          </p:cNvPr>
          <p:cNvSpPr>
            <a:spLocks noGrp="1"/>
          </p:cNvSpPr>
          <p:nvPr>
            <p:ph type="dt" sz="half" idx="10"/>
          </p:nvPr>
        </p:nvSpPr>
        <p:spPr/>
        <p:txBody>
          <a:bodyPr/>
          <a:lstStyle/>
          <a:p>
            <a:fld id="{C006C19A-BE50-4934-B0C0-00A9881A5D9A}" type="datetimeFigureOut">
              <a:rPr lang="en-US" smtClean="0"/>
              <a:t>10/19/2017</a:t>
            </a:fld>
            <a:endParaRPr lang="en-US"/>
          </a:p>
        </p:txBody>
      </p:sp>
      <p:sp>
        <p:nvSpPr>
          <p:cNvPr id="3" name="Footer Placeholder 2">
            <a:extLst>
              <a:ext uri="{FF2B5EF4-FFF2-40B4-BE49-F238E27FC236}">
                <a16:creationId xmlns:a16="http://schemas.microsoft.com/office/drawing/2014/main" id="{11C97B50-0F3B-4DA3-8583-C37DF4F5332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8BDF09D-9017-4594-97E7-480F8FA947AD}"/>
              </a:ext>
            </a:extLst>
          </p:cNvPr>
          <p:cNvSpPr>
            <a:spLocks noGrp="1"/>
          </p:cNvSpPr>
          <p:nvPr>
            <p:ph type="sldNum" sz="quarter" idx="12"/>
          </p:nvPr>
        </p:nvSpPr>
        <p:spPr/>
        <p:txBody>
          <a:bodyPr/>
          <a:lstStyle/>
          <a:p>
            <a:fld id="{5B54658E-5917-4421-949F-E123BC79337C}" type="slidenum">
              <a:rPr lang="en-US" smtClean="0"/>
              <a:t>‹#›</a:t>
            </a:fld>
            <a:endParaRPr lang="en-US"/>
          </a:p>
        </p:txBody>
      </p:sp>
    </p:spTree>
    <p:extLst>
      <p:ext uri="{BB962C8B-B14F-4D97-AF65-F5344CB8AC3E}">
        <p14:creationId xmlns:p14="http://schemas.microsoft.com/office/powerpoint/2010/main" val="29722892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F98F42-46F0-4C62-A593-1A29B55AFEF4}"/>
              </a:ext>
            </a:extLst>
          </p:cNvPr>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a:extLst>
              <a:ext uri="{FF2B5EF4-FFF2-40B4-BE49-F238E27FC236}">
                <a16:creationId xmlns:a16="http://schemas.microsoft.com/office/drawing/2014/main" id="{68469CD9-A16D-4C67-A4A3-ACB469AE9D83}"/>
              </a:ext>
            </a:extLst>
          </p:cNvPr>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70AF17A-2311-483E-97B8-6383AFB7FCD4}"/>
              </a:ext>
            </a:extLst>
          </p:cNvPr>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a:extLst>
              <a:ext uri="{FF2B5EF4-FFF2-40B4-BE49-F238E27FC236}">
                <a16:creationId xmlns:a16="http://schemas.microsoft.com/office/drawing/2014/main" id="{D55292D1-960E-4D87-85C2-8CF58231F0D1}"/>
              </a:ext>
            </a:extLst>
          </p:cNvPr>
          <p:cNvSpPr>
            <a:spLocks noGrp="1"/>
          </p:cNvSpPr>
          <p:nvPr>
            <p:ph type="dt" sz="half" idx="10"/>
          </p:nvPr>
        </p:nvSpPr>
        <p:spPr/>
        <p:txBody>
          <a:bodyPr/>
          <a:lstStyle/>
          <a:p>
            <a:fld id="{C006C19A-BE50-4934-B0C0-00A9881A5D9A}" type="datetimeFigureOut">
              <a:rPr lang="en-US" smtClean="0"/>
              <a:t>10/19/2017</a:t>
            </a:fld>
            <a:endParaRPr lang="en-US"/>
          </a:p>
        </p:txBody>
      </p:sp>
      <p:sp>
        <p:nvSpPr>
          <p:cNvPr id="6" name="Footer Placeholder 5">
            <a:extLst>
              <a:ext uri="{FF2B5EF4-FFF2-40B4-BE49-F238E27FC236}">
                <a16:creationId xmlns:a16="http://schemas.microsoft.com/office/drawing/2014/main" id="{FBD21760-2DB7-4307-81F2-6F87470B040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7AE54A6-2F68-4ADB-B9E2-458795C1A3C1}"/>
              </a:ext>
            </a:extLst>
          </p:cNvPr>
          <p:cNvSpPr>
            <a:spLocks noGrp="1"/>
          </p:cNvSpPr>
          <p:nvPr>
            <p:ph type="sldNum" sz="quarter" idx="12"/>
          </p:nvPr>
        </p:nvSpPr>
        <p:spPr/>
        <p:txBody>
          <a:bodyPr/>
          <a:lstStyle/>
          <a:p>
            <a:fld id="{5B54658E-5917-4421-949F-E123BC79337C}" type="slidenum">
              <a:rPr lang="en-US" smtClean="0"/>
              <a:t>‹#›</a:t>
            </a:fld>
            <a:endParaRPr lang="en-US"/>
          </a:p>
        </p:txBody>
      </p:sp>
    </p:spTree>
    <p:extLst>
      <p:ext uri="{BB962C8B-B14F-4D97-AF65-F5344CB8AC3E}">
        <p14:creationId xmlns:p14="http://schemas.microsoft.com/office/powerpoint/2010/main" val="15897613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2E599F-BB8A-423F-A6CD-A5A71F04CBBB}"/>
              </a:ext>
            </a:extLst>
          </p:cNvPr>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a:extLst>
              <a:ext uri="{FF2B5EF4-FFF2-40B4-BE49-F238E27FC236}">
                <a16:creationId xmlns:a16="http://schemas.microsoft.com/office/drawing/2014/main" id="{16BC572E-D5F4-41F5-9A01-482371D143D1}"/>
              </a:ext>
            </a:extLst>
          </p:cNvPr>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a:extLst>
              <a:ext uri="{FF2B5EF4-FFF2-40B4-BE49-F238E27FC236}">
                <a16:creationId xmlns:a16="http://schemas.microsoft.com/office/drawing/2014/main" id="{11640BCF-7DE7-4F59-BCE8-0237B009E013}"/>
              </a:ext>
            </a:extLst>
          </p:cNvPr>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a:extLst>
              <a:ext uri="{FF2B5EF4-FFF2-40B4-BE49-F238E27FC236}">
                <a16:creationId xmlns:a16="http://schemas.microsoft.com/office/drawing/2014/main" id="{80FC9512-9681-4469-8CBE-0603117FAD06}"/>
              </a:ext>
            </a:extLst>
          </p:cNvPr>
          <p:cNvSpPr>
            <a:spLocks noGrp="1"/>
          </p:cNvSpPr>
          <p:nvPr>
            <p:ph type="dt" sz="half" idx="10"/>
          </p:nvPr>
        </p:nvSpPr>
        <p:spPr/>
        <p:txBody>
          <a:bodyPr/>
          <a:lstStyle/>
          <a:p>
            <a:fld id="{C006C19A-BE50-4934-B0C0-00A9881A5D9A}" type="datetimeFigureOut">
              <a:rPr lang="en-US" smtClean="0"/>
              <a:t>10/19/2017</a:t>
            </a:fld>
            <a:endParaRPr lang="en-US"/>
          </a:p>
        </p:txBody>
      </p:sp>
      <p:sp>
        <p:nvSpPr>
          <p:cNvPr id="6" name="Footer Placeholder 5">
            <a:extLst>
              <a:ext uri="{FF2B5EF4-FFF2-40B4-BE49-F238E27FC236}">
                <a16:creationId xmlns:a16="http://schemas.microsoft.com/office/drawing/2014/main" id="{50597078-C88B-4EAA-8732-BEA5EF7687E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465802A-5B72-4B0F-942A-0EDD30B38D56}"/>
              </a:ext>
            </a:extLst>
          </p:cNvPr>
          <p:cNvSpPr>
            <a:spLocks noGrp="1"/>
          </p:cNvSpPr>
          <p:nvPr>
            <p:ph type="sldNum" sz="quarter" idx="12"/>
          </p:nvPr>
        </p:nvSpPr>
        <p:spPr/>
        <p:txBody>
          <a:bodyPr/>
          <a:lstStyle/>
          <a:p>
            <a:fld id="{5B54658E-5917-4421-949F-E123BC79337C}" type="slidenum">
              <a:rPr lang="en-US" smtClean="0"/>
              <a:t>‹#›</a:t>
            </a:fld>
            <a:endParaRPr lang="en-US"/>
          </a:p>
        </p:txBody>
      </p:sp>
    </p:spTree>
    <p:extLst>
      <p:ext uri="{BB962C8B-B14F-4D97-AF65-F5344CB8AC3E}">
        <p14:creationId xmlns:p14="http://schemas.microsoft.com/office/powerpoint/2010/main" val="334248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1004D8-EB9D-4F07-B496-CE5353A2952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040C6B0-9F6C-4835-A78B-E02705997149}"/>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E3CA49-906A-4B20-A044-9F79C3937B94}"/>
              </a:ext>
            </a:extLst>
          </p:cNvPr>
          <p:cNvSpPr>
            <a:spLocks noGrp="1"/>
          </p:cNvSpPr>
          <p:nvPr>
            <p:ph type="dt" sz="half" idx="10"/>
          </p:nvPr>
        </p:nvSpPr>
        <p:spPr/>
        <p:txBody>
          <a:bodyPr/>
          <a:lstStyle/>
          <a:p>
            <a:fld id="{C006C19A-BE50-4934-B0C0-00A9881A5D9A}" type="datetimeFigureOut">
              <a:rPr lang="en-US" smtClean="0"/>
              <a:t>10/19/2017</a:t>
            </a:fld>
            <a:endParaRPr lang="en-US"/>
          </a:p>
        </p:txBody>
      </p:sp>
      <p:sp>
        <p:nvSpPr>
          <p:cNvPr id="5" name="Footer Placeholder 4">
            <a:extLst>
              <a:ext uri="{FF2B5EF4-FFF2-40B4-BE49-F238E27FC236}">
                <a16:creationId xmlns:a16="http://schemas.microsoft.com/office/drawing/2014/main" id="{05E9D9C1-6F34-49AA-9BE3-2FE55B8664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D2F78CF-71CB-4E08-AED0-7DE689BB5E5A}"/>
              </a:ext>
            </a:extLst>
          </p:cNvPr>
          <p:cNvSpPr>
            <a:spLocks noGrp="1"/>
          </p:cNvSpPr>
          <p:nvPr>
            <p:ph type="sldNum" sz="quarter" idx="12"/>
          </p:nvPr>
        </p:nvSpPr>
        <p:spPr/>
        <p:txBody>
          <a:bodyPr/>
          <a:lstStyle/>
          <a:p>
            <a:fld id="{5B54658E-5917-4421-949F-E123BC79337C}" type="slidenum">
              <a:rPr lang="en-US" smtClean="0"/>
              <a:t>‹#›</a:t>
            </a:fld>
            <a:endParaRPr lang="en-US"/>
          </a:p>
        </p:txBody>
      </p:sp>
    </p:spTree>
    <p:extLst>
      <p:ext uri="{BB962C8B-B14F-4D97-AF65-F5344CB8AC3E}">
        <p14:creationId xmlns:p14="http://schemas.microsoft.com/office/powerpoint/2010/main" val="32736123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388640" y="6622131"/>
            <a:ext cx="2798207" cy="372394"/>
          </a:xfrm>
          <a:prstGeom prst="rect">
            <a:avLst/>
          </a:prstGeom>
        </p:spPr>
        <p:txBody>
          <a:bodyPr/>
          <a:lstStyle/>
          <a:p>
            <a:fld id="{F53AE9E0-A031-482F-8964-CDA6FF26DD61}" type="datetimeFigureOut">
              <a:rPr lang="en-US" smtClean="0">
                <a:solidFill>
                  <a:prstClr val="black"/>
                </a:solidFill>
              </a:rPr>
              <a:pPr/>
              <a:t>10/19/2017</a:t>
            </a:fld>
            <a:endParaRPr lang="en-US">
              <a:solidFill>
                <a:prstClr val="black"/>
              </a:solidFill>
            </a:endParaRPr>
          </a:p>
        </p:txBody>
      </p:sp>
      <p:sp>
        <p:nvSpPr>
          <p:cNvPr id="4" name="Footer Placeholder 3"/>
          <p:cNvSpPr>
            <a:spLocks noGrp="1"/>
          </p:cNvSpPr>
          <p:nvPr>
            <p:ph type="ftr" sz="quarter" idx="11"/>
          </p:nvPr>
        </p:nvSpPr>
        <p:spPr>
          <a:xfrm>
            <a:off x="4119583" y="6614036"/>
            <a:ext cx="4197310" cy="372394"/>
          </a:xfrm>
          <a:prstGeom prst="rect">
            <a:avLst/>
          </a:prstGeom>
        </p:spPr>
        <p:txBody>
          <a:bodyPr/>
          <a:lstStyle/>
          <a:p>
            <a:endParaRPr lang="en-US">
              <a:solidFill>
                <a:prstClr val="black"/>
              </a:solidFill>
            </a:endParaRPr>
          </a:p>
        </p:txBody>
      </p:sp>
      <p:sp>
        <p:nvSpPr>
          <p:cNvPr id="5" name="Slide Number Placeholder 4"/>
          <p:cNvSpPr>
            <a:spLocks noGrp="1"/>
          </p:cNvSpPr>
          <p:nvPr>
            <p:ph type="sldNum" sz="quarter" idx="12"/>
          </p:nvPr>
        </p:nvSpPr>
        <p:spPr/>
        <p:txBody>
          <a:bodyPr/>
          <a:lstStyle/>
          <a:p>
            <a:fld id="{74A4D22A-FBB2-4BFF-B227-90CB6661907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519982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1915F66-7EC1-452D-9A67-0433629F924E}"/>
              </a:ext>
            </a:extLst>
          </p:cNvPr>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825A91A-B597-4444-8407-31C6288E3DFC}"/>
              </a:ext>
            </a:extLst>
          </p:cNvPr>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63F7999-490A-4577-8952-BDE887727D80}"/>
              </a:ext>
            </a:extLst>
          </p:cNvPr>
          <p:cNvSpPr>
            <a:spLocks noGrp="1"/>
          </p:cNvSpPr>
          <p:nvPr>
            <p:ph type="dt" sz="half" idx="10"/>
          </p:nvPr>
        </p:nvSpPr>
        <p:spPr/>
        <p:txBody>
          <a:bodyPr/>
          <a:lstStyle/>
          <a:p>
            <a:fld id="{C006C19A-BE50-4934-B0C0-00A9881A5D9A}" type="datetimeFigureOut">
              <a:rPr lang="en-US" smtClean="0"/>
              <a:t>10/19/2017</a:t>
            </a:fld>
            <a:endParaRPr lang="en-US"/>
          </a:p>
        </p:txBody>
      </p:sp>
      <p:sp>
        <p:nvSpPr>
          <p:cNvPr id="5" name="Footer Placeholder 4">
            <a:extLst>
              <a:ext uri="{FF2B5EF4-FFF2-40B4-BE49-F238E27FC236}">
                <a16:creationId xmlns:a16="http://schemas.microsoft.com/office/drawing/2014/main" id="{EBB18C3B-E0E6-445B-BD8F-1A6FB261D7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74BC85-04B1-48F8-8397-94FF9A0D5258}"/>
              </a:ext>
            </a:extLst>
          </p:cNvPr>
          <p:cNvSpPr>
            <a:spLocks noGrp="1"/>
          </p:cNvSpPr>
          <p:nvPr>
            <p:ph type="sldNum" sz="quarter" idx="12"/>
          </p:nvPr>
        </p:nvSpPr>
        <p:spPr/>
        <p:txBody>
          <a:bodyPr/>
          <a:lstStyle/>
          <a:p>
            <a:fld id="{5B54658E-5917-4421-949F-E123BC79337C}" type="slidenum">
              <a:rPr lang="en-US" smtClean="0"/>
              <a:t>‹#›</a:t>
            </a:fld>
            <a:endParaRPr lang="en-US"/>
          </a:p>
        </p:txBody>
      </p:sp>
    </p:spTree>
    <p:extLst>
      <p:ext uri="{BB962C8B-B14F-4D97-AF65-F5344CB8AC3E}">
        <p14:creationId xmlns:p14="http://schemas.microsoft.com/office/powerpoint/2010/main" val="9962499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388640" y="6622131"/>
            <a:ext cx="2798207" cy="372394"/>
          </a:xfrm>
          <a:prstGeom prst="rect">
            <a:avLst/>
          </a:prstGeom>
        </p:spPr>
        <p:txBody>
          <a:bodyPr/>
          <a:lstStyle/>
          <a:p>
            <a:fld id="{F53AE9E0-A031-482F-8964-CDA6FF26DD61}" type="datetimeFigureOut">
              <a:rPr lang="en-US" smtClean="0">
                <a:solidFill>
                  <a:prstClr val="black"/>
                </a:solidFill>
              </a:rPr>
              <a:pPr/>
              <a:t>10/19/2017</a:t>
            </a:fld>
            <a:endParaRPr lang="en-US">
              <a:solidFill>
                <a:prstClr val="black"/>
              </a:solidFill>
            </a:endParaRPr>
          </a:p>
        </p:txBody>
      </p:sp>
      <p:sp>
        <p:nvSpPr>
          <p:cNvPr id="5" name="Footer Placeholder 4"/>
          <p:cNvSpPr>
            <a:spLocks noGrp="1"/>
          </p:cNvSpPr>
          <p:nvPr>
            <p:ph type="ftr" sz="quarter" idx="11"/>
          </p:nvPr>
        </p:nvSpPr>
        <p:spPr>
          <a:xfrm>
            <a:off x="4119583" y="6614036"/>
            <a:ext cx="4197310" cy="372394"/>
          </a:xfrm>
          <a:prstGeom prst="rect">
            <a:avLst/>
          </a:prstGeom>
        </p:spPr>
        <p:txBody>
          <a:bodyPr/>
          <a:lstStyle/>
          <a:p>
            <a:endParaRPr lang="en-US">
              <a:solidFill>
                <a:prstClr val="black"/>
              </a:solidFill>
            </a:endParaRPr>
          </a:p>
        </p:txBody>
      </p:sp>
      <p:sp>
        <p:nvSpPr>
          <p:cNvPr id="6" name="Slide Number Placeholder 5"/>
          <p:cNvSpPr>
            <a:spLocks noGrp="1"/>
          </p:cNvSpPr>
          <p:nvPr>
            <p:ph type="sldNum" sz="quarter" idx="12"/>
          </p:nvPr>
        </p:nvSpPr>
        <p:spPr/>
        <p:txBody>
          <a:bodyPr/>
          <a:lstStyle/>
          <a:p>
            <a:fld id="{74A4D22A-FBB2-4BFF-B227-90CB6661907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037892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388640" y="6622131"/>
            <a:ext cx="2798207" cy="372394"/>
          </a:xfrm>
          <a:prstGeom prst="rect">
            <a:avLst/>
          </a:prstGeom>
        </p:spPr>
        <p:txBody>
          <a:bodyPr/>
          <a:lstStyle/>
          <a:p>
            <a:fld id="{F53AE9E0-A031-482F-8964-CDA6FF26DD61}" type="datetimeFigureOut">
              <a:rPr lang="en-US" smtClean="0">
                <a:solidFill>
                  <a:prstClr val="black"/>
                </a:solidFill>
              </a:rPr>
              <a:pPr/>
              <a:t>10/19/2017</a:t>
            </a:fld>
            <a:endParaRPr lang="en-US">
              <a:solidFill>
                <a:prstClr val="black"/>
              </a:solidFill>
            </a:endParaRPr>
          </a:p>
        </p:txBody>
      </p:sp>
      <p:sp>
        <p:nvSpPr>
          <p:cNvPr id="4" name="Footer Placeholder 3"/>
          <p:cNvSpPr>
            <a:spLocks noGrp="1"/>
          </p:cNvSpPr>
          <p:nvPr>
            <p:ph type="ftr" sz="quarter" idx="11"/>
          </p:nvPr>
        </p:nvSpPr>
        <p:spPr>
          <a:xfrm>
            <a:off x="4119583" y="6614036"/>
            <a:ext cx="4197310" cy="372394"/>
          </a:xfrm>
          <a:prstGeom prst="rect">
            <a:avLst/>
          </a:prstGeom>
        </p:spPr>
        <p:txBody>
          <a:bodyPr/>
          <a:lstStyle/>
          <a:p>
            <a:endParaRPr lang="en-US">
              <a:solidFill>
                <a:prstClr val="black"/>
              </a:solidFill>
            </a:endParaRPr>
          </a:p>
        </p:txBody>
      </p:sp>
      <p:sp>
        <p:nvSpPr>
          <p:cNvPr id="5" name="Slide Number Placeholder 4"/>
          <p:cNvSpPr>
            <a:spLocks noGrp="1"/>
          </p:cNvSpPr>
          <p:nvPr>
            <p:ph type="sldNum" sz="quarter" idx="12"/>
          </p:nvPr>
        </p:nvSpPr>
        <p:spPr/>
        <p:txBody>
          <a:bodyPr/>
          <a:lstStyle/>
          <a:p>
            <a:fld id="{74A4D22A-FBB2-4BFF-B227-90CB6661907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254240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bg1"/>
                </a:solidFill>
              </a:defRPr>
            </a:lvl1pPr>
          </a:lstStyle>
          <a:p>
            <a:fld id="{B55D4DEC-2A5A-4BC1-8355-E326628895F0}"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6724390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DarkHoriz75">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bg1"/>
                </a:solidFill>
              </a:defRPr>
            </a:lvl1pPr>
          </a:lstStyle>
          <a:p>
            <a:fld id="{B55D4DEC-2A5A-4BC1-8355-E326628895F0}" type="slidenum">
              <a:rPr lang="en-US" smtClean="0">
                <a:solidFill>
                  <a:prstClr val="white"/>
                </a:solidFill>
              </a:rPr>
              <a:pPr/>
              <a:t>‹#›</a:t>
            </a:fld>
            <a:endParaRPr lang="en-US">
              <a:solidFill>
                <a:prstClr val="white"/>
              </a:solidFill>
            </a:endParaRPr>
          </a:p>
        </p:txBody>
      </p:sp>
      <p:sp>
        <p:nvSpPr>
          <p:cNvPr id="3" name="Rectangle 2"/>
          <p:cNvSpPr/>
          <p:nvPr userDrawn="1"/>
        </p:nvSpPr>
        <p:spPr>
          <a:xfrm>
            <a:off x="0" y="1748631"/>
            <a:ext cx="12436475" cy="5245894"/>
          </a:xfrm>
          <a:prstGeom prst="rect">
            <a:avLst/>
          </a:prstGeom>
          <a:solidFill>
            <a:srgbClr val="35223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Tree>
    <p:extLst>
      <p:ext uri="{BB962C8B-B14F-4D97-AF65-F5344CB8AC3E}">
        <p14:creationId xmlns:p14="http://schemas.microsoft.com/office/powerpoint/2010/main" val="234725196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DarHoriz50">
    <p:bg>
      <p:bgPr>
        <a:solidFill>
          <a:schemeClr val="bg1">
            <a:alpha val="92000"/>
          </a:schemeClr>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bg1"/>
                </a:solidFill>
              </a:defRPr>
            </a:lvl1pPr>
          </a:lstStyle>
          <a:p>
            <a:fld id="{B55D4DEC-2A5A-4BC1-8355-E326628895F0}" type="slidenum">
              <a:rPr lang="en-US" smtClean="0">
                <a:solidFill>
                  <a:prstClr val="white"/>
                </a:solidFill>
              </a:rPr>
              <a:pPr/>
              <a:t>‹#›</a:t>
            </a:fld>
            <a:endParaRPr lang="en-US">
              <a:solidFill>
                <a:prstClr val="white"/>
              </a:solidFill>
            </a:endParaRPr>
          </a:p>
        </p:txBody>
      </p:sp>
      <p:sp>
        <p:nvSpPr>
          <p:cNvPr id="3" name="Rectangle 2"/>
          <p:cNvSpPr/>
          <p:nvPr userDrawn="1"/>
        </p:nvSpPr>
        <p:spPr>
          <a:xfrm>
            <a:off x="0" y="3497262"/>
            <a:ext cx="12436475" cy="3497263"/>
          </a:xfrm>
          <a:prstGeom prst="rect">
            <a:avLst/>
          </a:prstGeom>
          <a:solidFill>
            <a:srgbClr val="35223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Tree>
    <p:extLst>
      <p:ext uri="{BB962C8B-B14F-4D97-AF65-F5344CB8AC3E}">
        <p14:creationId xmlns:p14="http://schemas.microsoft.com/office/powerpoint/2010/main" val="13243738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DarkHoriz25">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bg1"/>
                </a:solidFill>
              </a:defRPr>
            </a:lvl1pPr>
          </a:lstStyle>
          <a:p>
            <a:fld id="{B55D4DEC-2A5A-4BC1-8355-E326628895F0}" type="slidenum">
              <a:rPr lang="en-US" smtClean="0">
                <a:solidFill>
                  <a:prstClr val="white"/>
                </a:solidFill>
              </a:rPr>
              <a:pPr/>
              <a:t>‹#›</a:t>
            </a:fld>
            <a:endParaRPr lang="en-US">
              <a:solidFill>
                <a:prstClr val="white"/>
              </a:solidFill>
            </a:endParaRPr>
          </a:p>
        </p:txBody>
      </p:sp>
      <p:sp>
        <p:nvSpPr>
          <p:cNvPr id="3" name="Rectangle 2"/>
          <p:cNvSpPr/>
          <p:nvPr userDrawn="1"/>
        </p:nvSpPr>
        <p:spPr>
          <a:xfrm>
            <a:off x="0" y="5245894"/>
            <a:ext cx="12436475" cy="1748631"/>
          </a:xfrm>
          <a:prstGeom prst="rect">
            <a:avLst/>
          </a:prstGeom>
          <a:solidFill>
            <a:srgbClr val="35223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Tree>
    <p:extLst>
      <p:ext uri="{BB962C8B-B14F-4D97-AF65-F5344CB8AC3E}">
        <p14:creationId xmlns:p14="http://schemas.microsoft.com/office/powerpoint/2010/main" val="195156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DarkVert75">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bg1"/>
                </a:solidFill>
              </a:defRPr>
            </a:lvl1pPr>
          </a:lstStyle>
          <a:p>
            <a:fld id="{B55D4DEC-2A5A-4BC1-8355-E326628895F0}" type="slidenum">
              <a:rPr lang="en-US" smtClean="0">
                <a:solidFill>
                  <a:prstClr val="white"/>
                </a:solidFill>
              </a:rPr>
              <a:pPr/>
              <a:t>‹#›</a:t>
            </a:fld>
            <a:endParaRPr lang="en-US">
              <a:solidFill>
                <a:prstClr val="white"/>
              </a:solidFill>
            </a:endParaRPr>
          </a:p>
        </p:txBody>
      </p:sp>
      <p:sp>
        <p:nvSpPr>
          <p:cNvPr id="3" name="Rectangle 2"/>
          <p:cNvSpPr/>
          <p:nvPr userDrawn="1"/>
        </p:nvSpPr>
        <p:spPr>
          <a:xfrm>
            <a:off x="2969208" y="0"/>
            <a:ext cx="9467267" cy="6994525"/>
          </a:xfrm>
          <a:prstGeom prst="rect">
            <a:avLst/>
          </a:prstGeom>
          <a:solidFill>
            <a:srgbClr val="35223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Tree>
    <p:extLst>
      <p:ext uri="{BB962C8B-B14F-4D97-AF65-F5344CB8AC3E}">
        <p14:creationId xmlns:p14="http://schemas.microsoft.com/office/powerpoint/2010/main" val="8740069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DarkVert50">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bg1"/>
                </a:solidFill>
              </a:defRPr>
            </a:lvl1pPr>
          </a:lstStyle>
          <a:p>
            <a:fld id="{B55D4DEC-2A5A-4BC1-8355-E326628895F0}" type="slidenum">
              <a:rPr lang="en-US" smtClean="0">
                <a:solidFill>
                  <a:prstClr val="white"/>
                </a:solidFill>
              </a:rPr>
              <a:pPr/>
              <a:t>‹#›</a:t>
            </a:fld>
            <a:endParaRPr lang="en-US">
              <a:solidFill>
                <a:prstClr val="white"/>
              </a:solidFill>
            </a:endParaRPr>
          </a:p>
        </p:txBody>
      </p:sp>
      <p:sp>
        <p:nvSpPr>
          <p:cNvPr id="3" name="Rectangle 2"/>
          <p:cNvSpPr/>
          <p:nvPr userDrawn="1"/>
        </p:nvSpPr>
        <p:spPr>
          <a:xfrm>
            <a:off x="6023918" y="0"/>
            <a:ext cx="6412557" cy="6994525"/>
          </a:xfrm>
          <a:prstGeom prst="rect">
            <a:avLst/>
          </a:prstGeom>
          <a:solidFill>
            <a:srgbClr val="35223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Tree>
    <p:extLst>
      <p:ext uri="{BB962C8B-B14F-4D97-AF65-F5344CB8AC3E}">
        <p14:creationId xmlns:p14="http://schemas.microsoft.com/office/powerpoint/2010/main" val="215826138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DarkVert25">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bg1"/>
                </a:solidFill>
              </a:defRPr>
            </a:lvl1pPr>
          </a:lstStyle>
          <a:p>
            <a:fld id="{B55D4DEC-2A5A-4BC1-8355-E326628895F0}" type="slidenum">
              <a:rPr lang="en-US" smtClean="0">
                <a:solidFill>
                  <a:prstClr val="white"/>
                </a:solidFill>
              </a:rPr>
              <a:pPr/>
              <a:t>‹#›</a:t>
            </a:fld>
            <a:endParaRPr lang="en-US">
              <a:solidFill>
                <a:prstClr val="white"/>
              </a:solidFill>
            </a:endParaRPr>
          </a:p>
        </p:txBody>
      </p:sp>
      <p:sp>
        <p:nvSpPr>
          <p:cNvPr id="3" name="Rectangle 2"/>
          <p:cNvSpPr/>
          <p:nvPr userDrawn="1"/>
        </p:nvSpPr>
        <p:spPr>
          <a:xfrm>
            <a:off x="9226310" y="0"/>
            <a:ext cx="3210165" cy="6994525"/>
          </a:xfrm>
          <a:prstGeom prst="rect">
            <a:avLst/>
          </a:prstGeom>
          <a:solidFill>
            <a:srgbClr val="35223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Tree>
    <p:extLst>
      <p:ext uri="{BB962C8B-B14F-4D97-AF65-F5344CB8AC3E}">
        <p14:creationId xmlns:p14="http://schemas.microsoft.com/office/powerpoint/2010/main" val="35596780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bg1"/>
                </a:solidFill>
              </a:defRPr>
            </a:lvl1pPr>
          </a:lstStyle>
          <a:p>
            <a:fld id="{B55D4DEC-2A5A-4BC1-8355-E326628895F0}"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6603576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0" y="0"/>
            <a:ext cx="4585951" cy="7003104"/>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sp>
        <p:nvSpPr>
          <p:cNvPr id="4" name="Title 1"/>
          <p:cNvSpPr>
            <a:spLocks noGrp="1"/>
          </p:cNvSpPr>
          <p:nvPr>
            <p:ph type="title"/>
          </p:nvPr>
        </p:nvSpPr>
        <p:spPr>
          <a:xfrm>
            <a:off x="274641" y="295275"/>
            <a:ext cx="4000399" cy="1725365"/>
          </a:xfrm>
        </p:spPr>
        <p:txBody>
          <a:bodyPr/>
          <a:lstStyle/>
          <a:p>
            <a:endParaRPr lang="en-GB" dirty="0"/>
          </a:p>
        </p:txBody>
      </p:sp>
      <p:sp>
        <p:nvSpPr>
          <p:cNvPr id="5" name="Text Placeholder 2"/>
          <p:cNvSpPr>
            <a:spLocks noGrp="1"/>
          </p:cNvSpPr>
          <p:nvPr>
            <p:ph type="body" sz="quarter" idx="14"/>
          </p:nvPr>
        </p:nvSpPr>
        <p:spPr bwMode="ltGray">
          <a:xfrm>
            <a:off x="274640" y="2176074"/>
            <a:ext cx="4000399" cy="4429866"/>
          </a:xfrm>
          <a:noFill/>
        </p:spPr>
        <p:txBody>
          <a:bodyPr tIns="109728" bIns="109728">
            <a:noAutofit/>
          </a:bodyPr>
          <a:lstStyle>
            <a:lvl1pPr marL="0" indent="0">
              <a:spcBef>
                <a:spcPts val="0"/>
              </a:spcBef>
              <a:buNone/>
              <a:defRPr sz="3264">
                <a:solidFill>
                  <a:schemeClr val="tx1"/>
                </a:solidFill>
              </a:defRPr>
            </a:lvl1pPr>
          </a:lstStyle>
          <a:p>
            <a:pPr lvl="0"/>
            <a:endParaRPr lang="en-US" dirty="0"/>
          </a:p>
        </p:txBody>
      </p:sp>
      <p:sp>
        <p:nvSpPr>
          <p:cNvPr id="6" name="Text Placeholder 2"/>
          <p:cNvSpPr>
            <a:spLocks noGrp="1"/>
          </p:cNvSpPr>
          <p:nvPr>
            <p:ph type="body" sz="quarter" idx="15"/>
          </p:nvPr>
        </p:nvSpPr>
        <p:spPr bwMode="ltGray">
          <a:xfrm>
            <a:off x="5052318" y="1508126"/>
            <a:ext cx="6868249" cy="1825625"/>
          </a:xfrm>
          <a:noFill/>
        </p:spPr>
        <p:txBody>
          <a:bodyPr tIns="109728" bIns="109728">
            <a:noAutofit/>
          </a:bodyPr>
          <a:lstStyle>
            <a:lvl1pPr marL="0" indent="0">
              <a:spcBef>
                <a:spcPts val="0"/>
              </a:spcBef>
              <a:buNone/>
              <a:defRPr sz="3264">
                <a:solidFill>
                  <a:schemeClr val="tx1"/>
                </a:solidFill>
              </a:defRPr>
            </a:lvl1pPr>
          </a:lstStyle>
          <a:p>
            <a:pPr lvl="0"/>
            <a:endParaRPr lang="en-US" dirty="0"/>
          </a:p>
        </p:txBody>
      </p:sp>
    </p:spTree>
    <p:extLst>
      <p:ext uri="{BB962C8B-B14F-4D97-AF65-F5344CB8AC3E}">
        <p14:creationId xmlns:p14="http://schemas.microsoft.com/office/powerpoint/2010/main" val="218939678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388640" y="6622131"/>
            <a:ext cx="2798207" cy="372394"/>
          </a:xfrm>
          <a:prstGeom prst="rect">
            <a:avLst/>
          </a:prstGeom>
        </p:spPr>
        <p:txBody>
          <a:bodyPr/>
          <a:lstStyle/>
          <a:p>
            <a:fld id="{F53AE9E0-A031-482F-8964-CDA6FF26DD61}" type="datetimeFigureOut">
              <a:rPr lang="en-US" smtClean="0">
                <a:solidFill>
                  <a:prstClr val="black"/>
                </a:solidFill>
              </a:rPr>
              <a:pPr/>
              <a:t>10/19/2017</a:t>
            </a:fld>
            <a:endParaRPr lang="en-US">
              <a:solidFill>
                <a:prstClr val="black"/>
              </a:solidFill>
            </a:endParaRPr>
          </a:p>
        </p:txBody>
      </p:sp>
      <p:sp>
        <p:nvSpPr>
          <p:cNvPr id="5" name="Footer Placeholder 4"/>
          <p:cNvSpPr>
            <a:spLocks noGrp="1"/>
          </p:cNvSpPr>
          <p:nvPr>
            <p:ph type="ftr" sz="quarter" idx="11"/>
          </p:nvPr>
        </p:nvSpPr>
        <p:spPr>
          <a:xfrm>
            <a:off x="4119583" y="6614036"/>
            <a:ext cx="4197310" cy="372394"/>
          </a:xfrm>
          <a:prstGeom prst="rect">
            <a:avLst/>
          </a:prstGeom>
        </p:spPr>
        <p:txBody>
          <a:bodyPr/>
          <a:lstStyle/>
          <a:p>
            <a:endParaRPr lang="en-US">
              <a:solidFill>
                <a:prstClr val="black"/>
              </a:solidFill>
            </a:endParaRPr>
          </a:p>
        </p:txBody>
      </p:sp>
      <p:sp>
        <p:nvSpPr>
          <p:cNvPr id="6" name="Slide Number Placeholder 5"/>
          <p:cNvSpPr>
            <a:spLocks noGrp="1"/>
          </p:cNvSpPr>
          <p:nvPr>
            <p:ph type="sldNum" sz="quarter" idx="12"/>
          </p:nvPr>
        </p:nvSpPr>
        <p:spPr/>
        <p:txBody>
          <a:bodyPr/>
          <a:lstStyle/>
          <a:p>
            <a:fld id="{74A4D22A-FBB2-4BFF-B227-90CB6661907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5310069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388640" y="6622131"/>
            <a:ext cx="2798207" cy="372394"/>
          </a:xfrm>
          <a:prstGeom prst="rect">
            <a:avLst/>
          </a:prstGeom>
        </p:spPr>
        <p:txBody>
          <a:bodyPr/>
          <a:lstStyle/>
          <a:p>
            <a:fld id="{F53AE9E0-A031-482F-8964-CDA6FF26DD61}" type="datetimeFigureOut">
              <a:rPr lang="en-US" smtClean="0">
                <a:solidFill>
                  <a:prstClr val="black"/>
                </a:solidFill>
              </a:rPr>
              <a:pPr/>
              <a:t>10/19/2017</a:t>
            </a:fld>
            <a:endParaRPr lang="en-US">
              <a:solidFill>
                <a:prstClr val="black"/>
              </a:solidFill>
            </a:endParaRPr>
          </a:p>
        </p:txBody>
      </p:sp>
      <p:sp>
        <p:nvSpPr>
          <p:cNvPr id="4" name="Footer Placeholder 3"/>
          <p:cNvSpPr>
            <a:spLocks noGrp="1"/>
          </p:cNvSpPr>
          <p:nvPr>
            <p:ph type="ftr" sz="quarter" idx="11"/>
          </p:nvPr>
        </p:nvSpPr>
        <p:spPr>
          <a:xfrm>
            <a:off x="4119583" y="6614036"/>
            <a:ext cx="4197310" cy="372394"/>
          </a:xfrm>
          <a:prstGeom prst="rect">
            <a:avLst/>
          </a:prstGeom>
        </p:spPr>
        <p:txBody>
          <a:bodyPr/>
          <a:lstStyle/>
          <a:p>
            <a:endParaRPr lang="en-US">
              <a:solidFill>
                <a:prstClr val="black"/>
              </a:solidFill>
            </a:endParaRPr>
          </a:p>
        </p:txBody>
      </p:sp>
      <p:sp>
        <p:nvSpPr>
          <p:cNvPr id="5" name="Slide Number Placeholder 4"/>
          <p:cNvSpPr>
            <a:spLocks noGrp="1"/>
          </p:cNvSpPr>
          <p:nvPr>
            <p:ph type="sldNum" sz="quarter" idx="12"/>
          </p:nvPr>
        </p:nvSpPr>
        <p:spPr/>
        <p:txBody>
          <a:bodyPr/>
          <a:lstStyle/>
          <a:p>
            <a:fld id="{74A4D22A-FBB2-4BFF-B227-90CB6661907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332901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bg1"/>
                </a:solidFill>
              </a:defRPr>
            </a:lvl1pPr>
          </a:lstStyle>
          <a:p>
            <a:fld id="{B55D4DEC-2A5A-4BC1-8355-E326628895F0}"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59718350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DarkHoriz75">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bg1"/>
                </a:solidFill>
              </a:defRPr>
            </a:lvl1pPr>
          </a:lstStyle>
          <a:p>
            <a:fld id="{B55D4DEC-2A5A-4BC1-8355-E326628895F0}" type="slidenum">
              <a:rPr lang="en-US" smtClean="0">
                <a:solidFill>
                  <a:prstClr val="white"/>
                </a:solidFill>
              </a:rPr>
              <a:pPr/>
              <a:t>‹#›</a:t>
            </a:fld>
            <a:endParaRPr lang="en-US">
              <a:solidFill>
                <a:prstClr val="white"/>
              </a:solidFill>
            </a:endParaRPr>
          </a:p>
        </p:txBody>
      </p:sp>
      <p:sp>
        <p:nvSpPr>
          <p:cNvPr id="3" name="Rectangle 2"/>
          <p:cNvSpPr/>
          <p:nvPr userDrawn="1"/>
        </p:nvSpPr>
        <p:spPr>
          <a:xfrm>
            <a:off x="0" y="1748631"/>
            <a:ext cx="12436475" cy="5245894"/>
          </a:xfrm>
          <a:prstGeom prst="rect">
            <a:avLst/>
          </a:prstGeom>
          <a:solidFill>
            <a:srgbClr val="35223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Tree>
    <p:extLst>
      <p:ext uri="{BB962C8B-B14F-4D97-AF65-F5344CB8AC3E}">
        <p14:creationId xmlns:p14="http://schemas.microsoft.com/office/powerpoint/2010/main" val="21680360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DarHoriz50">
    <p:bg>
      <p:bgPr>
        <a:solidFill>
          <a:schemeClr val="bg1">
            <a:alpha val="92000"/>
          </a:schemeClr>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bg1"/>
                </a:solidFill>
              </a:defRPr>
            </a:lvl1pPr>
          </a:lstStyle>
          <a:p>
            <a:fld id="{B55D4DEC-2A5A-4BC1-8355-E326628895F0}" type="slidenum">
              <a:rPr lang="en-US" smtClean="0">
                <a:solidFill>
                  <a:prstClr val="white"/>
                </a:solidFill>
              </a:rPr>
              <a:pPr/>
              <a:t>‹#›</a:t>
            </a:fld>
            <a:endParaRPr lang="en-US">
              <a:solidFill>
                <a:prstClr val="white"/>
              </a:solidFill>
            </a:endParaRPr>
          </a:p>
        </p:txBody>
      </p:sp>
      <p:sp>
        <p:nvSpPr>
          <p:cNvPr id="3" name="Rectangle 2"/>
          <p:cNvSpPr/>
          <p:nvPr userDrawn="1"/>
        </p:nvSpPr>
        <p:spPr>
          <a:xfrm>
            <a:off x="0" y="3497262"/>
            <a:ext cx="12436475" cy="3497263"/>
          </a:xfrm>
          <a:prstGeom prst="rect">
            <a:avLst/>
          </a:prstGeom>
          <a:solidFill>
            <a:srgbClr val="35223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Tree>
    <p:extLst>
      <p:ext uri="{BB962C8B-B14F-4D97-AF65-F5344CB8AC3E}">
        <p14:creationId xmlns:p14="http://schemas.microsoft.com/office/powerpoint/2010/main" val="34481195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DarkHoriz25">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bg1"/>
                </a:solidFill>
              </a:defRPr>
            </a:lvl1pPr>
          </a:lstStyle>
          <a:p>
            <a:fld id="{B55D4DEC-2A5A-4BC1-8355-E326628895F0}" type="slidenum">
              <a:rPr lang="en-US" smtClean="0">
                <a:solidFill>
                  <a:prstClr val="white"/>
                </a:solidFill>
              </a:rPr>
              <a:pPr/>
              <a:t>‹#›</a:t>
            </a:fld>
            <a:endParaRPr lang="en-US">
              <a:solidFill>
                <a:prstClr val="white"/>
              </a:solidFill>
            </a:endParaRPr>
          </a:p>
        </p:txBody>
      </p:sp>
      <p:sp>
        <p:nvSpPr>
          <p:cNvPr id="3" name="Rectangle 2"/>
          <p:cNvSpPr/>
          <p:nvPr userDrawn="1"/>
        </p:nvSpPr>
        <p:spPr>
          <a:xfrm>
            <a:off x="0" y="5245894"/>
            <a:ext cx="12436475" cy="1748631"/>
          </a:xfrm>
          <a:prstGeom prst="rect">
            <a:avLst/>
          </a:prstGeom>
          <a:solidFill>
            <a:srgbClr val="35223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Tree>
    <p:extLst>
      <p:ext uri="{BB962C8B-B14F-4D97-AF65-F5344CB8AC3E}">
        <p14:creationId xmlns:p14="http://schemas.microsoft.com/office/powerpoint/2010/main" val="42531830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DarkVert75">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bg1"/>
                </a:solidFill>
              </a:defRPr>
            </a:lvl1pPr>
          </a:lstStyle>
          <a:p>
            <a:fld id="{B55D4DEC-2A5A-4BC1-8355-E326628895F0}" type="slidenum">
              <a:rPr lang="en-US" smtClean="0">
                <a:solidFill>
                  <a:prstClr val="white"/>
                </a:solidFill>
              </a:rPr>
              <a:pPr/>
              <a:t>‹#›</a:t>
            </a:fld>
            <a:endParaRPr lang="en-US">
              <a:solidFill>
                <a:prstClr val="white"/>
              </a:solidFill>
            </a:endParaRPr>
          </a:p>
        </p:txBody>
      </p:sp>
      <p:sp>
        <p:nvSpPr>
          <p:cNvPr id="3" name="Rectangle 2"/>
          <p:cNvSpPr/>
          <p:nvPr userDrawn="1"/>
        </p:nvSpPr>
        <p:spPr>
          <a:xfrm>
            <a:off x="2969208" y="0"/>
            <a:ext cx="9467267" cy="6994525"/>
          </a:xfrm>
          <a:prstGeom prst="rect">
            <a:avLst/>
          </a:prstGeom>
          <a:solidFill>
            <a:srgbClr val="35223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Tree>
    <p:extLst>
      <p:ext uri="{BB962C8B-B14F-4D97-AF65-F5344CB8AC3E}">
        <p14:creationId xmlns:p14="http://schemas.microsoft.com/office/powerpoint/2010/main" val="245565359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DarkVert50">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bg1"/>
                </a:solidFill>
              </a:defRPr>
            </a:lvl1pPr>
          </a:lstStyle>
          <a:p>
            <a:fld id="{B55D4DEC-2A5A-4BC1-8355-E326628895F0}" type="slidenum">
              <a:rPr lang="en-US" smtClean="0">
                <a:solidFill>
                  <a:prstClr val="white"/>
                </a:solidFill>
              </a:rPr>
              <a:pPr/>
              <a:t>‹#›</a:t>
            </a:fld>
            <a:endParaRPr lang="en-US">
              <a:solidFill>
                <a:prstClr val="white"/>
              </a:solidFill>
            </a:endParaRPr>
          </a:p>
        </p:txBody>
      </p:sp>
      <p:sp>
        <p:nvSpPr>
          <p:cNvPr id="3" name="Rectangle 2"/>
          <p:cNvSpPr/>
          <p:nvPr userDrawn="1"/>
        </p:nvSpPr>
        <p:spPr>
          <a:xfrm>
            <a:off x="6023918" y="0"/>
            <a:ext cx="6412557" cy="6994525"/>
          </a:xfrm>
          <a:prstGeom prst="rect">
            <a:avLst/>
          </a:prstGeom>
          <a:solidFill>
            <a:srgbClr val="35223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Tree>
    <p:extLst>
      <p:ext uri="{BB962C8B-B14F-4D97-AF65-F5344CB8AC3E}">
        <p14:creationId xmlns:p14="http://schemas.microsoft.com/office/powerpoint/2010/main" val="113654503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DarkVert25">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bg1"/>
                </a:solidFill>
              </a:defRPr>
            </a:lvl1pPr>
          </a:lstStyle>
          <a:p>
            <a:fld id="{B55D4DEC-2A5A-4BC1-8355-E326628895F0}" type="slidenum">
              <a:rPr lang="en-US" smtClean="0">
                <a:solidFill>
                  <a:prstClr val="white"/>
                </a:solidFill>
              </a:rPr>
              <a:pPr/>
              <a:t>‹#›</a:t>
            </a:fld>
            <a:endParaRPr lang="en-US">
              <a:solidFill>
                <a:prstClr val="white"/>
              </a:solidFill>
            </a:endParaRPr>
          </a:p>
        </p:txBody>
      </p:sp>
      <p:sp>
        <p:nvSpPr>
          <p:cNvPr id="3" name="Rectangle 2"/>
          <p:cNvSpPr/>
          <p:nvPr userDrawn="1"/>
        </p:nvSpPr>
        <p:spPr>
          <a:xfrm>
            <a:off x="9226310" y="0"/>
            <a:ext cx="3210165" cy="6994525"/>
          </a:xfrm>
          <a:prstGeom prst="rect">
            <a:avLst/>
          </a:prstGeom>
          <a:solidFill>
            <a:srgbClr val="35223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Tree>
    <p:extLst>
      <p:ext uri="{BB962C8B-B14F-4D97-AF65-F5344CB8AC3E}">
        <p14:creationId xmlns:p14="http://schemas.microsoft.com/office/powerpoint/2010/main" val="30462682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DarkHoriz75">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bg1"/>
                </a:solidFill>
              </a:defRPr>
            </a:lvl1pPr>
          </a:lstStyle>
          <a:p>
            <a:fld id="{B55D4DEC-2A5A-4BC1-8355-E326628895F0}" type="slidenum">
              <a:rPr lang="en-US" smtClean="0">
                <a:solidFill>
                  <a:prstClr val="white"/>
                </a:solidFill>
              </a:rPr>
              <a:pPr/>
              <a:t>‹#›</a:t>
            </a:fld>
            <a:endParaRPr lang="en-US">
              <a:solidFill>
                <a:prstClr val="white"/>
              </a:solidFill>
            </a:endParaRPr>
          </a:p>
        </p:txBody>
      </p:sp>
      <p:sp>
        <p:nvSpPr>
          <p:cNvPr id="3" name="Rectangle 2"/>
          <p:cNvSpPr/>
          <p:nvPr userDrawn="1"/>
        </p:nvSpPr>
        <p:spPr>
          <a:xfrm>
            <a:off x="0" y="1748631"/>
            <a:ext cx="12436475" cy="5245894"/>
          </a:xfrm>
          <a:prstGeom prst="rect">
            <a:avLst/>
          </a:prstGeom>
          <a:solidFill>
            <a:srgbClr val="35223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Tree>
    <p:extLst>
      <p:ext uri="{BB962C8B-B14F-4D97-AF65-F5344CB8AC3E}">
        <p14:creationId xmlns:p14="http://schemas.microsoft.com/office/powerpoint/2010/main" val="139997092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0" y="0"/>
            <a:ext cx="4585951" cy="7003104"/>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sp>
        <p:nvSpPr>
          <p:cNvPr id="4" name="Title 1"/>
          <p:cNvSpPr>
            <a:spLocks noGrp="1"/>
          </p:cNvSpPr>
          <p:nvPr>
            <p:ph type="title"/>
          </p:nvPr>
        </p:nvSpPr>
        <p:spPr>
          <a:xfrm>
            <a:off x="274641" y="295275"/>
            <a:ext cx="4000399" cy="1725365"/>
          </a:xfrm>
        </p:spPr>
        <p:txBody>
          <a:bodyPr/>
          <a:lstStyle/>
          <a:p>
            <a:endParaRPr lang="en-GB" dirty="0"/>
          </a:p>
        </p:txBody>
      </p:sp>
      <p:sp>
        <p:nvSpPr>
          <p:cNvPr id="5" name="Text Placeholder 2"/>
          <p:cNvSpPr>
            <a:spLocks noGrp="1"/>
          </p:cNvSpPr>
          <p:nvPr>
            <p:ph type="body" sz="quarter" idx="14"/>
          </p:nvPr>
        </p:nvSpPr>
        <p:spPr bwMode="ltGray">
          <a:xfrm>
            <a:off x="274640" y="2176074"/>
            <a:ext cx="4000399" cy="4429866"/>
          </a:xfrm>
          <a:noFill/>
        </p:spPr>
        <p:txBody>
          <a:bodyPr tIns="109728" bIns="109728">
            <a:noAutofit/>
          </a:bodyPr>
          <a:lstStyle>
            <a:lvl1pPr marL="0" indent="0">
              <a:spcBef>
                <a:spcPts val="0"/>
              </a:spcBef>
              <a:buNone/>
              <a:defRPr sz="3264">
                <a:solidFill>
                  <a:schemeClr val="tx1"/>
                </a:solidFill>
              </a:defRPr>
            </a:lvl1pPr>
          </a:lstStyle>
          <a:p>
            <a:pPr lvl="0"/>
            <a:endParaRPr lang="en-US" dirty="0"/>
          </a:p>
        </p:txBody>
      </p:sp>
      <p:sp>
        <p:nvSpPr>
          <p:cNvPr id="6" name="Text Placeholder 2"/>
          <p:cNvSpPr>
            <a:spLocks noGrp="1"/>
          </p:cNvSpPr>
          <p:nvPr>
            <p:ph type="body" sz="quarter" idx="15"/>
          </p:nvPr>
        </p:nvSpPr>
        <p:spPr bwMode="ltGray">
          <a:xfrm>
            <a:off x="5052318" y="1508126"/>
            <a:ext cx="6868249" cy="1825625"/>
          </a:xfrm>
          <a:noFill/>
        </p:spPr>
        <p:txBody>
          <a:bodyPr tIns="109728" bIns="109728">
            <a:noAutofit/>
          </a:bodyPr>
          <a:lstStyle>
            <a:lvl1pPr marL="0" indent="0">
              <a:spcBef>
                <a:spcPts val="0"/>
              </a:spcBef>
              <a:buNone/>
              <a:defRPr sz="3264">
                <a:solidFill>
                  <a:schemeClr val="tx1"/>
                </a:solidFill>
              </a:defRPr>
            </a:lvl1pPr>
          </a:lstStyle>
          <a:p>
            <a:pPr lvl="0"/>
            <a:endParaRPr lang="en-US" dirty="0"/>
          </a:p>
        </p:txBody>
      </p:sp>
    </p:spTree>
    <p:extLst>
      <p:ext uri="{BB962C8B-B14F-4D97-AF65-F5344CB8AC3E}">
        <p14:creationId xmlns:p14="http://schemas.microsoft.com/office/powerpoint/2010/main" val="403321350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0" y="-318"/>
            <a:ext cx="12451397" cy="6995160"/>
          </a:xfrm>
          <a:prstGeom prst="rect">
            <a:avLst/>
          </a:prstGeom>
        </p:spPr>
      </p:pic>
    </p:spTree>
    <p:extLst>
      <p:ext uri="{BB962C8B-B14F-4D97-AF65-F5344CB8AC3E}">
        <p14:creationId xmlns:p14="http://schemas.microsoft.com/office/powerpoint/2010/main" val="3499039023"/>
      </p:ext>
    </p:extLst>
  </p:cSld>
  <p:clrMapOvr>
    <a:masterClrMapping/>
  </p:clrMapOvr>
  <p:transition spd="med">
    <p:wipe dir="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39" y="1304926"/>
            <a:ext cx="11033125" cy="574675"/>
          </a:xfrm>
          <a:prstGeom prst="rect">
            <a:avLst/>
          </a:prstGeom>
        </p:spPr>
        <p:txBody>
          <a:bodyPr lIns="192024"/>
          <a:lstStyle>
            <a:lvl1pPr marL="0" indent="0">
              <a:buNone/>
              <a:defRPr lang="en-US" sz="2856"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4896">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31684"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319685203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3168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73967267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96">
                <a:solidFill>
                  <a:schemeClr val="tx2"/>
                </a:solidFill>
              </a:defRPr>
            </a:lvl1pPr>
          </a:lstStyle>
          <a:p>
            <a:r>
              <a:rPr lang="en-US" dirty="0"/>
              <a:t>Click to edit Master title style</a:t>
            </a:r>
          </a:p>
        </p:txBody>
      </p:sp>
      <p:sp>
        <p:nvSpPr>
          <p:cNvPr id="7" name="Slide Number Placeholder 4"/>
          <p:cNvSpPr>
            <a:spLocks noGrp="1"/>
          </p:cNvSpPr>
          <p:nvPr>
            <p:ph type="sldNum" sz="quarter" idx="4"/>
          </p:nvPr>
        </p:nvSpPr>
        <p:spPr>
          <a:xfrm>
            <a:off x="11595101" y="6761308"/>
            <a:ext cx="566738" cy="136525"/>
          </a:xfrm>
          <a:prstGeom prst="rect">
            <a:avLst/>
          </a:prstGeom>
        </p:spPr>
        <p:txBody>
          <a:bodyPr vert="horz" lIns="91440" tIns="0" rIns="0" bIns="0" rtlCol="0" anchor="ctr"/>
          <a:lstStyle>
            <a:lvl1pPr algn="r" defTabSz="932563"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1760925072"/>
      </p:ext>
    </p:extLst>
  </p:cSld>
  <p:clrMapOvr>
    <a:masterClrMapping/>
  </p:clrMapOvr>
  <p:transition spd="med">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96">
                <a:solidFill>
                  <a:schemeClr val="tx2"/>
                </a:solidFill>
              </a:defRPr>
            </a:lvl1pPr>
          </a:lstStyle>
          <a:p>
            <a:r>
              <a:rPr lang="en-US" dirty="0"/>
              <a:t>Click to edit Master title style</a:t>
            </a:r>
          </a:p>
        </p:txBody>
      </p:sp>
      <p:sp>
        <p:nvSpPr>
          <p:cNvPr id="6" name="Slide Number Placeholder 4"/>
          <p:cNvSpPr>
            <a:spLocks noGrp="1"/>
          </p:cNvSpPr>
          <p:nvPr>
            <p:ph type="sldNum" sz="quarter" idx="4"/>
          </p:nvPr>
        </p:nvSpPr>
        <p:spPr>
          <a:xfrm>
            <a:off x="11595101" y="6761308"/>
            <a:ext cx="566738" cy="136525"/>
          </a:xfrm>
          <a:prstGeom prst="rect">
            <a:avLst/>
          </a:prstGeom>
        </p:spPr>
        <p:txBody>
          <a:bodyPr vert="horz" lIns="91440" tIns="0" rIns="0" bIns="0" rtlCol="0" anchor="ctr"/>
          <a:lstStyle>
            <a:lvl1pPr algn="r" defTabSz="932563"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2354572063"/>
      </p:ext>
    </p:extLst>
  </p:cSld>
  <p:clrMapOvr>
    <a:masterClrMapping/>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t="15237"/>
          <a:stretch/>
        </p:blipFill>
        <p:spPr>
          <a:xfrm flipH="1">
            <a:off x="0" y="-36813"/>
            <a:ext cx="12436475" cy="7031339"/>
          </a:xfrm>
          <a:prstGeom prst="rect">
            <a:avLst/>
          </a:prstGeom>
        </p:spPr>
      </p:pic>
    </p:spTree>
    <p:extLst>
      <p:ext uri="{BB962C8B-B14F-4D97-AF65-F5344CB8AC3E}">
        <p14:creationId xmlns:p14="http://schemas.microsoft.com/office/powerpoint/2010/main" val="3589016575"/>
      </p:ext>
    </p:extLst>
  </p:cSld>
  <p:clrMapOvr>
    <a:masterClrMapping/>
  </p:clrMapOvr>
  <p:transition spd="med">
    <p:wipe dir="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1"/>
          </p:nvPr>
        </p:nvSpPr>
        <p:spPr>
          <a:xfrm>
            <a:off x="272274" y="1309818"/>
            <a:ext cx="11889564" cy="2059025"/>
          </a:xfrm>
        </p:spPr>
        <p:txBody>
          <a:bodyPr/>
          <a:lstStyle>
            <a:lvl1pPr marL="0" indent="0">
              <a:buNone/>
              <a:defRPr sz="4080">
                <a:gradFill>
                  <a:gsLst>
                    <a:gs pos="2920">
                      <a:schemeClr val="tx2"/>
                    </a:gs>
                    <a:gs pos="39000">
                      <a:schemeClr val="tx2"/>
                    </a:gs>
                  </a:gsLst>
                  <a:lin ang="5400000" scaled="0"/>
                </a:gradFill>
              </a:defRPr>
            </a:lvl1pPr>
            <a:lvl2pPr marL="28569" indent="0">
              <a:buNone/>
              <a:defRPr sz="2040"/>
            </a:lvl2pPr>
            <a:lvl3pPr marL="223795" indent="0">
              <a:buNone/>
              <a:defRPr sz="2040"/>
            </a:lvl3pPr>
            <a:lvl4pPr marL="476159" indent="0">
              <a:buNone/>
              <a:defRPr sz="1836"/>
            </a:lvl4pPr>
            <a:lvl5pPr marL="739632" indent="0">
              <a:buNone/>
              <a:defRPr sz="183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11595101" y="6761308"/>
            <a:ext cx="566738" cy="136525"/>
          </a:xfrm>
          <a:prstGeom prst="rect">
            <a:avLst/>
          </a:prstGeom>
        </p:spPr>
        <p:txBody>
          <a:bodyPr vert="horz" lIns="91440" tIns="0" rIns="0" bIns="0" rtlCol="0" anchor="ctr"/>
          <a:lstStyle>
            <a:lvl1pPr algn="r" defTabSz="932563"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281119573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90568"/>
            <a:ext cx="11887200" cy="2232727"/>
          </a:xfrm>
        </p:spPr>
        <p:txBody>
          <a:bodyPr>
            <a:sp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
        <p:nvSpPr>
          <p:cNvPr id="8" name="Slide Number Placeholder 4"/>
          <p:cNvSpPr>
            <a:spLocks noGrp="1"/>
          </p:cNvSpPr>
          <p:nvPr>
            <p:ph type="sldNum" sz="quarter" idx="4"/>
          </p:nvPr>
        </p:nvSpPr>
        <p:spPr>
          <a:xfrm>
            <a:off x="11595101" y="6761308"/>
            <a:ext cx="566738" cy="136525"/>
          </a:xfrm>
          <a:prstGeom prst="rect">
            <a:avLst/>
          </a:prstGeom>
        </p:spPr>
        <p:txBody>
          <a:bodyPr vert="horz" lIns="91440" tIns="0" rIns="0" bIns="0" rtlCol="0" anchor="ctr"/>
          <a:lstStyle>
            <a:lvl1pPr algn="r" defTabSz="932563"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162900705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95276"/>
            <a:ext cx="11888787" cy="917575"/>
          </a:xfrm>
        </p:spPr>
        <p:txBody>
          <a:bodyPr/>
          <a:lstStyle>
            <a:lvl1pPr>
              <a:defRPr/>
            </a:lvl1pPr>
          </a:lstStyle>
          <a:p>
            <a:r>
              <a:rPr lang="en-US" dirty="0"/>
              <a:t>Slide for Developer Code</a:t>
            </a:r>
          </a:p>
        </p:txBody>
      </p:sp>
      <p:sp>
        <p:nvSpPr>
          <p:cNvPr id="3" name="Rectangle 2"/>
          <p:cNvSpPr/>
          <p:nvPr/>
        </p:nvSpPr>
        <p:spPr bwMode="hidden">
          <a:xfrm>
            <a:off x="1" y="1178953"/>
            <a:ext cx="12436475" cy="581557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476625"/>
            <a:ext cx="11378776" cy="2131353"/>
          </a:xfrm>
        </p:spPr>
        <p:txBody>
          <a:bodyPr/>
          <a:lstStyle>
            <a:lvl1pPr marL="0" indent="0">
              <a:buNone/>
              <a:defRPr sz="3264">
                <a:gradFill>
                  <a:gsLst>
                    <a:gs pos="1250">
                      <a:srgbClr val="000000"/>
                    </a:gs>
                    <a:gs pos="100000">
                      <a:srgbClr val="000000"/>
                    </a:gs>
                  </a:gsLst>
                  <a:lin ang="5400000" scaled="0"/>
                </a:gradFill>
                <a:latin typeface="Consolas" pitchFamily="49" charset="0"/>
                <a:cs typeface="Consolas" pitchFamily="49" charset="0"/>
              </a:defRPr>
            </a:lvl1pPr>
            <a:lvl2pPr marL="346487" indent="0">
              <a:buNone/>
              <a:defRPr sz="1836">
                <a:gradFill>
                  <a:gsLst>
                    <a:gs pos="1250">
                      <a:srgbClr val="000000"/>
                    </a:gs>
                    <a:gs pos="100000">
                      <a:srgbClr val="000000"/>
                    </a:gs>
                  </a:gsLst>
                  <a:lin ang="5400000" scaled="0"/>
                </a:gradFill>
                <a:latin typeface="Consolas" pitchFamily="49" charset="0"/>
                <a:cs typeface="Consolas" pitchFamily="49" charset="0"/>
              </a:defRPr>
            </a:lvl2pPr>
            <a:lvl3pPr marL="584494" indent="0">
              <a:buNone/>
              <a:defRPr sz="1632">
                <a:gradFill>
                  <a:gsLst>
                    <a:gs pos="1250">
                      <a:srgbClr val="000000"/>
                    </a:gs>
                    <a:gs pos="100000">
                      <a:srgbClr val="000000"/>
                    </a:gs>
                  </a:gsLst>
                  <a:lin ang="5400000" scaled="0"/>
                </a:gradFill>
                <a:latin typeface="Consolas" pitchFamily="49" charset="0"/>
                <a:cs typeface="Consolas" pitchFamily="49" charset="0"/>
              </a:defRPr>
            </a:lvl3pPr>
            <a:lvl4pPr marL="814406" indent="0">
              <a:buNone/>
              <a:defRPr sz="1428">
                <a:gradFill>
                  <a:gsLst>
                    <a:gs pos="1250">
                      <a:srgbClr val="000000"/>
                    </a:gs>
                    <a:gs pos="100000">
                      <a:srgbClr val="000000"/>
                    </a:gs>
                  </a:gsLst>
                  <a:lin ang="5400000" scaled="0"/>
                </a:gradFill>
                <a:latin typeface="Consolas" pitchFamily="49" charset="0"/>
                <a:cs typeface="Consolas" pitchFamily="49" charset="0"/>
              </a:defRPr>
            </a:lvl4pPr>
            <a:lvl5pPr marL="1050795" indent="0">
              <a:buNone/>
              <a:defRPr sz="1428">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4"/>
          <p:cNvSpPr>
            <a:spLocks noGrp="1"/>
          </p:cNvSpPr>
          <p:nvPr>
            <p:ph type="sldNum" sz="quarter" idx="4"/>
          </p:nvPr>
        </p:nvSpPr>
        <p:spPr>
          <a:xfrm>
            <a:off x="11595101" y="6761308"/>
            <a:ext cx="566738" cy="136525"/>
          </a:xfrm>
          <a:prstGeom prst="rect">
            <a:avLst/>
          </a:prstGeom>
        </p:spPr>
        <p:txBody>
          <a:bodyPr vert="horz" lIns="91440" tIns="0" rIns="0" bIns="0" rtlCol="0" anchor="ctr"/>
          <a:lstStyle>
            <a:lvl1pPr algn="r" defTabSz="932563"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211281754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DarHoriz50">
    <p:bg>
      <p:bgPr>
        <a:solidFill>
          <a:schemeClr val="bg1">
            <a:alpha val="92000"/>
          </a:schemeClr>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bg1"/>
                </a:solidFill>
              </a:defRPr>
            </a:lvl1pPr>
          </a:lstStyle>
          <a:p>
            <a:fld id="{B55D4DEC-2A5A-4BC1-8355-E326628895F0}" type="slidenum">
              <a:rPr lang="en-US" smtClean="0">
                <a:solidFill>
                  <a:prstClr val="white"/>
                </a:solidFill>
              </a:rPr>
              <a:pPr/>
              <a:t>‹#›</a:t>
            </a:fld>
            <a:endParaRPr lang="en-US">
              <a:solidFill>
                <a:prstClr val="white"/>
              </a:solidFill>
            </a:endParaRPr>
          </a:p>
        </p:txBody>
      </p:sp>
      <p:sp>
        <p:nvSpPr>
          <p:cNvPr id="3" name="Rectangle 2"/>
          <p:cNvSpPr/>
          <p:nvPr userDrawn="1"/>
        </p:nvSpPr>
        <p:spPr>
          <a:xfrm>
            <a:off x="0" y="3497262"/>
            <a:ext cx="12436475" cy="3497263"/>
          </a:xfrm>
          <a:prstGeom prst="rect">
            <a:avLst/>
          </a:prstGeom>
          <a:solidFill>
            <a:srgbClr val="35223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Tree>
    <p:extLst>
      <p:ext uri="{BB962C8B-B14F-4D97-AF65-F5344CB8AC3E}">
        <p14:creationId xmlns:p14="http://schemas.microsoft.com/office/powerpoint/2010/main" val="122298878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Section Title Accent Color 2">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78" rtl="0" eaLnBrk="1" latinLnBrk="0" hangingPunct="1">
              <a:lnSpc>
                <a:spcPct val="90000"/>
              </a:lnSpc>
              <a:spcBef>
                <a:spcPct val="0"/>
              </a:spcBef>
              <a:buNone/>
              <a:defRPr lang="en-US" sz="6731" b="0" kern="1200" cap="none" spc="-100" baseline="0" dirty="0">
                <a:ln w="3175">
                  <a:noFill/>
                </a:ln>
                <a:solidFill>
                  <a:schemeClr val="bg1"/>
                </a:solidFill>
                <a:effectLst/>
                <a:latin typeface="+mj-lt"/>
                <a:ea typeface="+mn-ea"/>
                <a:cs typeface="Segoe UI" pitchFamily="34" charset="0"/>
              </a:defRPr>
            </a:lvl1pPr>
          </a:lstStyle>
          <a:p>
            <a:r>
              <a:rPr lang="en-US" dirty="0"/>
              <a:t>Section title</a:t>
            </a:r>
          </a:p>
        </p:txBody>
      </p:sp>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l="9512" t="25973" r="10099" b="24345"/>
          <a:stretch/>
        </p:blipFill>
        <p:spPr>
          <a:xfrm>
            <a:off x="10813489" y="595830"/>
            <a:ext cx="1209379" cy="274819"/>
          </a:xfrm>
          <a:prstGeom prst="rect">
            <a:avLst/>
          </a:prstGeom>
        </p:spPr>
      </p:pic>
    </p:spTree>
    <p:extLst>
      <p:ext uri="{BB962C8B-B14F-4D97-AF65-F5344CB8AC3E}">
        <p14:creationId xmlns:p14="http://schemas.microsoft.com/office/powerpoint/2010/main" val="12704586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1_Blank">
    <p:bg>
      <p:bgPr>
        <a:solidFill>
          <a:srgbClr val="00205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2055"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620" y="1620"/>
                        <a:ext cx="1619" cy="1619"/>
                      </a:xfrm>
                      <a:prstGeom prst="rect">
                        <a:avLst/>
                      </a:prstGeom>
                    </p:spPr>
                  </p:pic>
                </p:oleObj>
              </mc:Fallback>
            </mc:AlternateContent>
          </a:graphicData>
        </a:graphic>
      </p:graphicFrame>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74637" y="6605723"/>
            <a:ext cx="916136" cy="199997"/>
          </a:xfrm>
          <a:prstGeom prst="rect">
            <a:avLst/>
          </a:prstGeom>
        </p:spPr>
      </p:pic>
    </p:spTree>
    <p:extLst>
      <p:ext uri="{BB962C8B-B14F-4D97-AF65-F5344CB8AC3E}">
        <p14:creationId xmlns:p14="http://schemas.microsoft.com/office/powerpoint/2010/main" val="158590358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4"/>
            <a:ext cx="7315199"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4868863"/>
            <a:ext cx="7315198"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757448" y="304193"/>
            <a:ext cx="4409440" cy="6400800"/>
          </a:xfrm>
          <a:prstGeom prst="rect">
            <a:avLst/>
          </a:prstGeom>
        </p:spPr>
      </p:pic>
    </p:spTree>
    <p:extLst>
      <p:ext uri="{BB962C8B-B14F-4D97-AF65-F5344CB8AC3E}">
        <p14:creationId xmlns:p14="http://schemas.microsoft.com/office/powerpoint/2010/main" val="36271550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388641" y="6622132"/>
            <a:ext cx="2798207" cy="372394"/>
          </a:xfrm>
          <a:prstGeom prst="rect">
            <a:avLst/>
          </a:prstGeom>
        </p:spPr>
        <p:txBody>
          <a:bodyPr/>
          <a:lstStyle/>
          <a:p>
            <a:fld id="{F53AE9E0-A031-482F-8964-CDA6FF26DD61}" type="datetimeFigureOut">
              <a:rPr lang="en-US" smtClean="0">
                <a:solidFill>
                  <a:prstClr val="black"/>
                </a:solidFill>
              </a:rPr>
              <a:pPr/>
              <a:t>10/19/2017</a:t>
            </a:fld>
            <a:endParaRPr lang="en-US" dirty="0">
              <a:solidFill>
                <a:prstClr val="black"/>
              </a:solidFill>
            </a:endParaRPr>
          </a:p>
        </p:txBody>
      </p:sp>
      <p:sp>
        <p:nvSpPr>
          <p:cNvPr id="5" name="Footer Placeholder 4"/>
          <p:cNvSpPr>
            <a:spLocks noGrp="1"/>
          </p:cNvSpPr>
          <p:nvPr>
            <p:ph type="ftr" sz="quarter" idx="11"/>
          </p:nvPr>
        </p:nvSpPr>
        <p:spPr>
          <a:xfrm>
            <a:off x="4119583" y="6614037"/>
            <a:ext cx="4197310" cy="372394"/>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74A4D22A-FBB2-4BFF-B227-90CB6661907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6795497"/>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388641" y="6622132"/>
            <a:ext cx="2798207" cy="372394"/>
          </a:xfrm>
          <a:prstGeom prst="rect">
            <a:avLst/>
          </a:prstGeom>
        </p:spPr>
        <p:txBody>
          <a:bodyPr/>
          <a:lstStyle/>
          <a:p>
            <a:fld id="{F53AE9E0-A031-482F-8964-CDA6FF26DD61}" type="datetimeFigureOut">
              <a:rPr lang="en-US" smtClean="0">
                <a:solidFill>
                  <a:prstClr val="black"/>
                </a:solidFill>
              </a:rPr>
              <a:pPr/>
              <a:t>10/19/2017</a:t>
            </a:fld>
            <a:endParaRPr lang="en-US" dirty="0">
              <a:solidFill>
                <a:prstClr val="black"/>
              </a:solidFill>
            </a:endParaRPr>
          </a:p>
        </p:txBody>
      </p:sp>
      <p:sp>
        <p:nvSpPr>
          <p:cNvPr id="4" name="Footer Placeholder 3"/>
          <p:cNvSpPr>
            <a:spLocks noGrp="1"/>
          </p:cNvSpPr>
          <p:nvPr>
            <p:ph type="ftr" sz="quarter" idx="11"/>
          </p:nvPr>
        </p:nvSpPr>
        <p:spPr>
          <a:xfrm>
            <a:off x="4119583" y="6614037"/>
            <a:ext cx="4197310" cy="372394"/>
          </a:xfrm>
          <a:prstGeom prst="rect">
            <a:avLst/>
          </a:prstGeom>
        </p:spPr>
        <p:txBody>
          <a:bodyPr/>
          <a:lstStyle/>
          <a:p>
            <a:endParaRPr lang="en-US" dirty="0">
              <a:solidFill>
                <a:prstClr val="black"/>
              </a:solidFill>
            </a:endParaRPr>
          </a:p>
        </p:txBody>
      </p:sp>
      <p:sp>
        <p:nvSpPr>
          <p:cNvPr id="5" name="Slide Number Placeholder 4"/>
          <p:cNvSpPr>
            <a:spLocks noGrp="1"/>
          </p:cNvSpPr>
          <p:nvPr>
            <p:ph type="sldNum" sz="quarter" idx="12"/>
          </p:nvPr>
        </p:nvSpPr>
        <p:spPr/>
        <p:txBody>
          <a:bodyPr/>
          <a:lstStyle/>
          <a:p>
            <a:fld id="{74A4D22A-FBB2-4BFF-B227-90CB6661907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649500294"/>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bg1"/>
                </a:solidFill>
              </a:defRPr>
            </a:lvl1pPr>
          </a:lstStyle>
          <a:p>
            <a:fld id="{B55D4DEC-2A5A-4BC1-8355-E326628895F0}"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436521110"/>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Gray stage center">
    <p:spTree>
      <p:nvGrpSpPr>
        <p:cNvPr id="1" name=""/>
        <p:cNvGrpSpPr/>
        <p:nvPr/>
      </p:nvGrpSpPr>
      <p:grpSpPr>
        <a:xfrm>
          <a:off x="0" y="0"/>
          <a:ext cx="0" cy="0"/>
          <a:chOff x="0" y="0"/>
          <a:chExt cx="0" cy="0"/>
        </a:xfrm>
      </p:grpSpPr>
      <p:sp>
        <p:nvSpPr>
          <p:cNvPr id="3" name="Rectangle 2"/>
          <p:cNvSpPr/>
          <p:nvPr userDrawn="1"/>
        </p:nvSpPr>
        <p:spPr>
          <a:xfrm>
            <a:off x="1" y="1717794"/>
            <a:ext cx="12436474" cy="29216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p>
        </p:txBody>
      </p:sp>
      <p:sp>
        <p:nvSpPr>
          <p:cNvPr id="2" name="Title 1"/>
          <p:cNvSpPr>
            <a:spLocks noGrp="1"/>
          </p:cNvSpPr>
          <p:nvPr>
            <p:ph type="title"/>
          </p:nvPr>
        </p:nvSpPr>
        <p:spPr>
          <a:xfrm>
            <a:off x="282416" y="311319"/>
            <a:ext cx="11871646" cy="880668"/>
          </a:xfrm>
        </p:spPr>
        <p:txBody>
          <a:bodyPr/>
          <a:lstStyle/>
          <a:p>
            <a:r>
              <a:rPr lang="en-US" dirty="0"/>
              <a:t>Click to edit Master title style</a:t>
            </a:r>
          </a:p>
        </p:txBody>
      </p:sp>
    </p:spTree>
    <p:extLst>
      <p:ext uri="{BB962C8B-B14F-4D97-AF65-F5344CB8AC3E}">
        <p14:creationId xmlns:p14="http://schemas.microsoft.com/office/powerpoint/2010/main" val="1313557724"/>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Gray stage side">
    <p:spTree>
      <p:nvGrpSpPr>
        <p:cNvPr id="1" name=""/>
        <p:cNvGrpSpPr/>
        <p:nvPr/>
      </p:nvGrpSpPr>
      <p:grpSpPr>
        <a:xfrm>
          <a:off x="0" y="0"/>
          <a:ext cx="0" cy="0"/>
          <a:chOff x="0" y="0"/>
          <a:chExt cx="0" cy="0"/>
        </a:xfrm>
      </p:grpSpPr>
      <p:sp>
        <p:nvSpPr>
          <p:cNvPr id="3" name="Rectangle 2"/>
          <p:cNvSpPr/>
          <p:nvPr userDrawn="1"/>
        </p:nvSpPr>
        <p:spPr>
          <a:xfrm>
            <a:off x="5517" y="1517331"/>
            <a:ext cx="6018402" cy="54771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p>
        </p:txBody>
      </p:sp>
      <p:sp>
        <p:nvSpPr>
          <p:cNvPr id="2" name="Title 1"/>
          <p:cNvSpPr>
            <a:spLocks noGrp="1"/>
          </p:cNvSpPr>
          <p:nvPr>
            <p:ph type="title"/>
          </p:nvPr>
        </p:nvSpPr>
        <p:spPr>
          <a:xfrm>
            <a:off x="282416" y="311319"/>
            <a:ext cx="11871646" cy="880668"/>
          </a:xfrm>
        </p:spPr>
        <p:txBody>
          <a:bodyPr/>
          <a:lstStyle/>
          <a:p>
            <a:r>
              <a:rPr lang="en-US" dirty="0"/>
              <a:t>Click to edit Master title style</a:t>
            </a:r>
          </a:p>
        </p:txBody>
      </p:sp>
    </p:spTree>
    <p:extLst>
      <p:ext uri="{BB962C8B-B14F-4D97-AF65-F5344CB8AC3E}">
        <p14:creationId xmlns:p14="http://schemas.microsoft.com/office/powerpoint/2010/main" val="1615926646"/>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1_Blank">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3078"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620" y="1620"/>
                        <a:ext cx="1619" cy="1619"/>
                      </a:xfrm>
                      <a:prstGeom prst="rect">
                        <a:avLst/>
                      </a:prstGeom>
                    </p:spPr>
                  </p:pic>
                </p:oleObj>
              </mc:Fallback>
            </mc:AlternateContent>
          </a:graphicData>
        </a:graphic>
      </p:graphicFrame>
      <p:pic>
        <p:nvPicPr>
          <p:cNvPr id="3" name="Picture 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6369185"/>
            <a:ext cx="1395402" cy="625341"/>
          </a:xfrm>
          <a:prstGeom prst="rect">
            <a:avLst/>
          </a:prstGeom>
        </p:spPr>
      </p:pic>
    </p:spTree>
    <p:extLst>
      <p:ext uri="{BB962C8B-B14F-4D97-AF65-F5344CB8AC3E}">
        <p14:creationId xmlns:p14="http://schemas.microsoft.com/office/powerpoint/2010/main" val="293245543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r>
              <a:rPr lang="en-US"/>
              <a:t>1/24/2017</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E4871EC-B911-45AC-A39F-10D8D40D3F06}" type="slidenum">
              <a:rPr lang="en-US" smtClean="0"/>
              <a:t>‹#›</a:t>
            </a:fld>
            <a:endParaRPr lang="en-US"/>
          </a:p>
        </p:txBody>
      </p:sp>
    </p:spTree>
    <p:extLst>
      <p:ext uri="{BB962C8B-B14F-4D97-AF65-F5344CB8AC3E}">
        <p14:creationId xmlns:p14="http://schemas.microsoft.com/office/powerpoint/2010/main" val="41886735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DarkHoriz25">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bg1"/>
                </a:solidFill>
              </a:defRPr>
            </a:lvl1pPr>
          </a:lstStyle>
          <a:p>
            <a:fld id="{B55D4DEC-2A5A-4BC1-8355-E326628895F0}" type="slidenum">
              <a:rPr lang="en-US" smtClean="0">
                <a:solidFill>
                  <a:prstClr val="white"/>
                </a:solidFill>
              </a:rPr>
              <a:pPr/>
              <a:t>‹#›</a:t>
            </a:fld>
            <a:endParaRPr lang="en-US">
              <a:solidFill>
                <a:prstClr val="white"/>
              </a:solidFill>
            </a:endParaRPr>
          </a:p>
        </p:txBody>
      </p:sp>
      <p:sp>
        <p:nvSpPr>
          <p:cNvPr id="3" name="Rectangle 2"/>
          <p:cNvSpPr/>
          <p:nvPr userDrawn="1"/>
        </p:nvSpPr>
        <p:spPr>
          <a:xfrm>
            <a:off x="0" y="5245894"/>
            <a:ext cx="12436475" cy="1748631"/>
          </a:xfrm>
          <a:prstGeom prst="rect">
            <a:avLst/>
          </a:prstGeom>
          <a:solidFill>
            <a:srgbClr val="35223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Tree>
    <p:extLst>
      <p:ext uri="{BB962C8B-B14F-4D97-AF65-F5344CB8AC3E}">
        <p14:creationId xmlns:p14="http://schemas.microsoft.com/office/powerpoint/2010/main" val="377036371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n-US"/>
              <a:t>1/24/2017</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E4871EC-B911-45AC-A39F-10D8D40D3F06}" type="slidenum">
              <a:rPr lang="en-US" smtClean="0"/>
              <a:t>‹#›</a:t>
            </a:fld>
            <a:endParaRPr lang="en-US"/>
          </a:p>
        </p:txBody>
      </p:sp>
    </p:spTree>
    <p:extLst>
      <p:ext uri="{BB962C8B-B14F-4D97-AF65-F5344CB8AC3E}">
        <p14:creationId xmlns:p14="http://schemas.microsoft.com/office/powerpoint/2010/main" val="208966354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r>
              <a:rPr lang="en-US"/>
              <a:t>1/24/2017</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E4871EC-B911-45AC-A39F-10D8D40D3F06}" type="slidenum">
              <a:rPr lang="en-US" smtClean="0"/>
              <a:t>‹#›</a:t>
            </a:fld>
            <a:endParaRPr lang="en-US"/>
          </a:p>
        </p:txBody>
      </p:sp>
    </p:spTree>
    <p:extLst>
      <p:ext uri="{BB962C8B-B14F-4D97-AF65-F5344CB8AC3E}">
        <p14:creationId xmlns:p14="http://schemas.microsoft.com/office/powerpoint/2010/main" val="419174279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r>
              <a:rPr lang="en-US"/>
              <a:t>1/24/2017</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E4871EC-B911-45AC-A39F-10D8D40D3F06}" type="slidenum">
              <a:rPr lang="en-US" smtClean="0"/>
              <a:t>‹#›</a:t>
            </a:fld>
            <a:endParaRPr lang="en-US"/>
          </a:p>
        </p:txBody>
      </p:sp>
    </p:spTree>
    <p:extLst>
      <p:ext uri="{BB962C8B-B14F-4D97-AF65-F5344CB8AC3E}">
        <p14:creationId xmlns:p14="http://schemas.microsoft.com/office/powerpoint/2010/main" val="138283352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r>
              <a:rPr lang="en-US"/>
              <a:t>1/24/2017</a:t>
            </a:r>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E4871EC-B911-45AC-A39F-10D8D40D3F06}" type="slidenum">
              <a:rPr lang="en-US" smtClean="0"/>
              <a:t>‹#›</a:t>
            </a:fld>
            <a:endParaRPr lang="en-US"/>
          </a:p>
        </p:txBody>
      </p:sp>
    </p:spTree>
    <p:extLst>
      <p:ext uri="{BB962C8B-B14F-4D97-AF65-F5344CB8AC3E}">
        <p14:creationId xmlns:p14="http://schemas.microsoft.com/office/powerpoint/2010/main" val="123854113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r>
              <a:rPr lang="en-US"/>
              <a:t>1/24/2017</a:t>
            </a: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E4871EC-B911-45AC-A39F-10D8D40D3F06}" type="slidenum">
              <a:rPr lang="en-US" smtClean="0"/>
              <a:t>‹#›</a:t>
            </a:fld>
            <a:endParaRPr lang="en-US"/>
          </a:p>
        </p:txBody>
      </p:sp>
    </p:spTree>
    <p:extLst>
      <p:ext uri="{BB962C8B-B14F-4D97-AF65-F5344CB8AC3E}">
        <p14:creationId xmlns:p14="http://schemas.microsoft.com/office/powerpoint/2010/main" val="384974719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a:t>1/24/2017</a:t>
            </a:r>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E4871EC-B911-45AC-A39F-10D8D40D3F06}" type="slidenum">
              <a:rPr lang="en-US" smtClean="0"/>
              <a:t>‹#›</a:t>
            </a:fld>
            <a:endParaRPr lang="en-US"/>
          </a:p>
        </p:txBody>
      </p:sp>
    </p:spTree>
    <p:extLst>
      <p:ext uri="{BB962C8B-B14F-4D97-AF65-F5344CB8AC3E}">
        <p14:creationId xmlns:p14="http://schemas.microsoft.com/office/powerpoint/2010/main" val="50727562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r>
              <a:rPr lang="en-US"/>
              <a:t>1/24/2017</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E4871EC-B911-45AC-A39F-10D8D40D3F06}" type="slidenum">
              <a:rPr lang="en-US" smtClean="0"/>
              <a:t>‹#›</a:t>
            </a:fld>
            <a:endParaRPr lang="en-US"/>
          </a:p>
        </p:txBody>
      </p:sp>
    </p:spTree>
    <p:extLst>
      <p:ext uri="{BB962C8B-B14F-4D97-AF65-F5344CB8AC3E}">
        <p14:creationId xmlns:p14="http://schemas.microsoft.com/office/powerpoint/2010/main" val="302909334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r>
              <a:rPr lang="en-US"/>
              <a:t>1/24/2017</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E4871EC-B911-45AC-A39F-10D8D40D3F06}" type="slidenum">
              <a:rPr lang="en-US" smtClean="0"/>
              <a:t>‹#›</a:t>
            </a:fld>
            <a:endParaRPr lang="en-US"/>
          </a:p>
        </p:txBody>
      </p:sp>
    </p:spTree>
    <p:extLst>
      <p:ext uri="{BB962C8B-B14F-4D97-AF65-F5344CB8AC3E}">
        <p14:creationId xmlns:p14="http://schemas.microsoft.com/office/powerpoint/2010/main" val="425960457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n-US"/>
              <a:t>1/24/2017</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E4871EC-B911-45AC-A39F-10D8D40D3F06}" type="slidenum">
              <a:rPr lang="en-US" smtClean="0"/>
              <a:t>‹#›</a:t>
            </a:fld>
            <a:endParaRPr lang="en-US"/>
          </a:p>
        </p:txBody>
      </p:sp>
    </p:spTree>
    <p:extLst>
      <p:ext uri="{BB962C8B-B14F-4D97-AF65-F5344CB8AC3E}">
        <p14:creationId xmlns:p14="http://schemas.microsoft.com/office/powerpoint/2010/main" val="349019476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n-US"/>
              <a:t>1/24/2017</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E4871EC-B911-45AC-A39F-10D8D40D3F06}" type="slidenum">
              <a:rPr lang="en-US" smtClean="0"/>
              <a:t>‹#›</a:t>
            </a:fld>
            <a:endParaRPr lang="en-US"/>
          </a:p>
        </p:txBody>
      </p:sp>
    </p:spTree>
    <p:extLst>
      <p:ext uri="{BB962C8B-B14F-4D97-AF65-F5344CB8AC3E}">
        <p14:creationId xmlns:p14="http://schemas.microsoft.com/office/powerpoint/2010/main" val="25595048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DarkVert75">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bg1"/>
                </a:solidFill>
              </a:defRPr>
            </a:lvl1pPr>
          </a:lstStyle>
          <a:p>
            <a:fld id="{B55D4DEC-2A5A-4BC1-8355-E326628895F0}" type="slidenum">
              <a:rPr lang="en-US" smtClean="0">
                <a:solidFill>
                  <a:prstClr val="white"/>
                </a:solidFill>
              </a:rPr>
              <a:pPr/>
              <a:t>‹#›</a:t>
            </a:fld>
            <a:endParaRPr lang="en-US">
              <a:solidFill>
                <a:prstClr val="white"/>
              </a:solidFill>
            </a:endParaRPr>
          </a:p>
        </p:txBody>
      </p:sp>
      <p:sp>
        <p:nvSpPr>
          <p:cNvPr id="3" name="Rectangle 2"/>
          <p:cNvSpPr/>
          <p:nvPr userDrawn="1"/>
        </p:nvSpPr>
        <p:spPr>
          <a:xfrm>
            <a:off x="2969208" y="0"/>
            <a:ext cx="9467267" cy="6994525"/>
          </a:xfrm>
          <a:prstGeom prst="rect">
            <a:avLst/>
          </a:prstGeom>
          <a:solidFill>
            <a:srgbClr val="35223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Tree>
    <p:extLst>
      <p:ext uri="{BB962C8B-B14F-4D97-AF65-F5344CB8AC3E}">
        <p14:creationId xmlns:p14="http://schemas.microsoft.com/office/powerpoint/2010/main" val="233540308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3379627"/>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653141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0072C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202230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3" name="Text Placeholder 2"/>
          <p:cNvSpPr>
            <a:spLocks noGrp="1"/>
          </p:cNvSpPr>
          <p:nvPr>
            <p:ph type="body" sz="quarter" idx="10" hasCustomPrompt="1"/>
          </p:nvPr>
        </p:nvSpPr>
        <p:spPr>
          <a:xfrm>
            <a:off x="0" y="2491033"/>
            <a:ext cx="10714186" cy="2294695"/>
          </a:xfrm>
        </p:spPr>
        <p:txBody>
          <a:bodyPr lIns="457200">
            <a:normAutofit/>
          </a:bodyPr>
          <a:lstStyle>
            <a:lvl1pPr>
              <a:defRPr sz="4896">
                <a:solidFill>
                  <a:schemeClr val="accent1"/>
                </a:solidFill>
              </a:defRPr>
            </a:lvl1pPr>
          </a:lstStyle>
          <a:p>
            <a:pPr lvl="0"/>
            <a:r>
              <a:rPr lang="en-US" dirty="0"/>
              <a:t>Cover title</a:t>
            </a:r>
          </a:p>
        </p:txBody>
      </p:sp>
      <p:pic>
        <p:nvPicPr>
          <p:cNvPr id="4" name="Picture 3"/>
          <p:cNvPicPr>
            <a:picLocks noChangeAspect="1"/>
          </p:cNvPicPr>
          <p:nvPr userDrawn="1"/>
        </p:nvPicPr>
        <p:blipFill>
          <a:blip r:embed="rId2"/>
          <a:stretch>
            <a:fillRect/>
          </a:stretch>
        </p:blipFill>
        <p:spPr>
          <a:xfrm>
            <a:off x="494320" y="494458"/>
            <a:ext cx="2133131" cy="458258"/>
          </a:xfrm>
          <a:prstGeom prst="rect">
            <a:avLst/>
          </a:prstGeom>
        </p:spPr>
      </p:pic>
      <p:pic>
        <p:nvPicPr>
          <p:cNvPr id="5" name="Picture 4"/>
          <p:cNvPicPr>
            <a:picLocks noChangeAspect="1"/>
          </p:cNvPicPr>
          <p:nvPr userDrawn="1"/>
        </p:nvPicPr>
        <p:blipFill>
          <a:blip r:embed="rId3"/>
          <a:stretch>
            <a:fillRect/>
          </a:stretch>
        </p:blipFill>
        <p:spPr>
          <a:xfrm>
            <a:off x="3606910" y="2110629"/>
            <a:ext cx="8856999" cy="4896168"/>
          </a:xfrm>
          <a:prstGeom prst="rect">
            <a:avLst/>
          </a:prstGeom>
        </p:spPr>
      </p:pic>
    </p:spTree>
    <p:extLst>
      <p:ext uri="{BB962C8B-B14F-4D97-AF65-F5344CB8AC3E}">
        <p14:creationId xmlns:p14="http://schemas.microsoft.com/office/powerpoint/2010/main" val="100171436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6_Title of Presentation">
    <p:bg>
      <p:bgPr>
        <a:gradFill>
          <a:gsLst>
            <a:gs pos="0">
              <a:schemeClr val="accent1">
                <a:lumMod val="50000"/>
              </a:schemeClr>
            </a:gs>
            <a:gs pos="100000">
              <a:schemeClr val="tx2"/>
            </a:gs>
          </a:gsLst>
          <a:path path="circle">
            <a:fillToRect l="100000" t="100000"/>
          </a:path>
        </a:gradFill>
        <a:effectLst/>
      </p:bgPr>
    </p:bg>
    <p:spTree>
      <p:nvGrpSpPr>
        <p:cNvPr id="1" name=""/>
        <p:cNvGrpSpPr/>
        <p:nvPr/>
      </p:nvGrpSpPr>
      <p:grpSpPr>
        <a:xfrm>
          <a:off x="0" y="0"/>
          <a:ext cx="0" cy="0"/>
          <a:chOff x="0" y="0"/>
          <a:chExt cx="0" cy="0"/>
        </a:xfrm>
      </p:grpSpPr>
      <p:pic>
        <p:nvPicPr>
          <p:cNvPr id="21" name="Picture 20"/>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r="3957" b="4063"/>
          <a:stretch/>
        </p:blipFill>
        <p:spPr>
          <a:xfrm>
            <a:off x="22333" y="0"/>
            <a:ext cx="12414142" cy="6993533"/>
          </a:xfrm>
          <a:prstGeom prst="rect">
            <a:avLst/>
          </a:prstGeom>
        </p:spPr>
      </p:pic>
      <p:grpSp>
        <p:nvGrpSpPr>
          <p:cNvPr id="5" name="Group 4"/>
          <p:cNvGrpSpPr/>
          <p:nvPr userDrawn="1"/>
        </p:nvGrpSpPr>
        <p:grpSpPr>
          <a:xfrm>
            <a:off x="495434" y="500696"/>
            <a:ext cx="2127249" cy="455612"/>
            <a:chOff x="9759951" y="481013"/>
            <a:chExt cx="2127249" cy="455612"/>
          </a:xfrm>
        </p:grpSpPr>
        <p:sp>
          <p:nvSpPr>
            <p:cNvPr id="6"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7" name="Group 6"/>
            <p:cNvGrpSpPr/>
            <p:nvPr userDrawn="1"/>
          </p:nvGrpSpPr>
          <p:grpSpPr>
            <a:xfrm>
              <a:off x="10352088" y="552450"/>
              <a:ext cx="1535112" cy="296862"/>
              <a:chOff x="10352088" y="552450"/>
              <a:chExt cx="1535112" cy="296862"/>
            </a:xfrm>
            <a:solidFill>
              <a:schemeClr val="bg1"/>
            </a:solidFill>
          </p:grpSpPr>
          <p:sp>
            <p:nvSpPr>
              <p:cNvPr id="12"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3"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4"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5"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6"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7"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8"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9"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0"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8"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9"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0"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1"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3" name="Text Placeholder 2"/>
          <p:cNvSpPr>
            <a:spLocks noGrp="1"/>
          </p:cNvSpPr>
          <p:nvPr>
            <p:ph type="body" sz="quarter" idx="10" hasCustomPrompt="1"/>
          </p:nvPr>
        </p:nvSpPr>
        <p:spPr>
          <a:xfrm>
            <a:off x="0" y="2491034"/>
            <a:ext cx="10714186" cy="1932854"/>
          </a:xfrm>
        </p:spPr>
        <p:txBody>
          <a:bodyPr lIns="457200">
            <a:normAutofit/>
          </a:bodyPr>
          <a:lstStyle>
            <a:lvl1pPr>
              <a:defRPr sz="6119">
                <a:solidFill>
                  <a:schemeClr val="bg1"/>
                </a:solidFill>
              </a:defRPr>
            </a:lvl1pPr>
          </a:lstStyle>
          <a:p>
            <a:pPr lvl="0"/>
            <a:r>
              <a:rPr lang="en-US" dirty="0"/>
              <a:t>Title of Presentation</a:t>
            </a:r>
          </a:p>
        </p:txBody>
      </p:sp>
      <p:sp>
        <p:nvSpPr>
          <p:cNvPr id="4" name="Text Placeholder 3"/>
          <p:cNvSpPr>
            <a:spLocks noGrp="1"/>
          </p:cNvSpPr>
          <p:nvPr>
            <p:ph type="body" sz="quarter" idx="11" hasCustomPrompt="1"/>
          </p:nvPr>
        </p:nvSpPr>
        <p:spPr>
          <a:xfrm>
            <a:off x="0" y="4435470"/>
            <a:ext cx="10726460" cy="1911837"/>
          </a:xfrm>
        </p:spPr>
        <p:txBody>
          <a:bodyPr lIns="457200">
            <a:normAutofit/>
          </a:bodyPr>
          <a:lstStyle>
            <a:lvl1pPr>
              <a:spcBef>
                <a:spcPts val="1530"/>
              </a:spcBef>
              <a:defRPr sz="2856">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Name</a:t>
            </a:r>
          </a:p>
          <a:p>
            <a:pPr lvl="0"/>
            <a:r>
              <a:rPr lang="en-US" dirty="0"/>
              <a:t>Title</a:t>
            </a:r>
          </a:p>
        </p:txBody>
      </p:sp>
    </p:spTree>
    <p:extLst>
      <p:ext uri="{BB962C8B-B14F-4D97-AF65-F5344CB8AC3E}">
        <p14:creationId xmlns:p14="http://schemas.microsoft.com/office/powerpoint/2010/main" val="363347790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sp>
        <p:nvSpPr>
          <p:cNvPr id="3" name="Rectangle 2"/>
          <p:cNvSpPr/>
          <p:nvPr userDrawn="1"/>
        </p:nvSpPr>
        <p:spPr>
          <a:xfrm>
            <a:off x="0" y="0"/>
            <a:ext cx="6202692" cy="69945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 name="Title 1"/>
          <p:cNvSpPr>
            <a:spLocks noGrp="1"/>
          </p:cNvSpPr>
          <p:nvPr>
            <p:ph type="title" hasCustomPrompt="1"/>
          </p:nvPr>
        </p:nvSpPr>
        <p:spPr>
          <a:xfrm>
            <a:off x="0" y="1"/>
            <a:ext cx="12436475" cy="1020377"/>
          </a:xfrm>
        </p:spPr>
        <p:txBody>
          <a:bodyPr lIns="274320" tIns="228600" anchor="t" anchorCtr="0"/>
          <a:lstStyle>
            <a:lvl1pPr>
              <a:defRPr>
                <a:solidFill>
                  <a:schemeClr val="bg1"/>
                </a:solidFill>
              </a:defRPr>
            </a:lvl1pPr>
          </a:lstStyle>
          <a:p>
            <a:r>
              <a:rPr lang="en-US" dirty="0"/>
              <a:t>Agenda</a:t>
            </a:r>
          </a:p>
        </p:txBody>
      </p:sp>
      <p:grpSp>
        <p:nvGrpSpPr>
          <p:cNvPr id="4" name="Group 4"/>
          <p:cNvGrpSpPr>
            <a:grpSpLocks noChangeAspect="1"/>
          </p:cNvGrpSpPr>
          <p:nvPr userDrawn="1"/>
        </p:nvGrpSpPr>
        <p:grpSpPr bwMode="auto">
          <a:xfrm>
            <a:off x="7497512" y="2276459"/>
            <a:ext cx="3771426" cy="4753686"/>
            <a:chOff x="4630" y="1406"/>
            <a:chExt cx="2329" cy="2936"/>
          </a:xfrm>
        </p:grpSpPr>
        <p:sp>
          <p:nvSpPr>
            <p:cNvPr id="5" name="AutoShape 3"/>
            <p:cNvSpPr>
              <a:spLocks noChangeAspect="1" noChangeArrowheads="1" noTextEdit="1"/>
            </p:cNvSpPr>
            <p:nvPr userDrawn="1"/>
          </p:nvSpPr>
          <p:spPr bwMode="auto">
            <a:xfrm>
              <a:off x="4630" y="1406"/>
              <a:ext cx="2326" cy="2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6" name="Freeform 5"/>
            <p:cNvSpPr>
              <a:spLocks/>
            </p:cNvSpPr>
            <p:nvPr userDrawn="1"/>
          </p:nvSpPr>
          <p:spPr bwMode="auto">
            <a:xfrm>
              <a:off x="5514" y="1798"/>
              <a:ext cx="466" cy="96"/>
            </a:xfrm>
            <a:custGeom>
              <a:avLst/>
              <a:gdLst>
                <a:gd name="T0" fmla="*/ 146 w 146"/>
                <a:gd name="T1" fmla="*/ 23 h 30"/>
                <a:gd name="T2" fmla="*/ 139 w 146"/>
                <a:gd name="T3" fmla="*/ 30 h 30"/>
                <a:gd name="T4" fmla="*/ 8 w 146"/>
                <a:gd name="T5" fmla="*/ 30 h 30"/>
                <a:gd name="T6" fmla="*/ 0 w 146"/>
                <a:gd name="T7" fmla="*/ 23 h 30"/>
                <a:gd name="T8" fmla="*/ 0 w 146"/>
                <a:gd name="T9" fmla="*/ 7 h 30"/>
                <a:gd name="T10" fmla="*/ 8 w 146"/>
                <a:gd name="T11" fmla="*/ 0 h 30"/>
                <a:gd name="T12" fmla="*/ 139 w 146"/>
                <a:gd name="T13" fmla="*/ 0 h 30"/>
                <a:gd name="T14" fmla="*/ 146 w 146"/>
                <a:gd name="T15" fmla="*/ 7 h 30"/>
                <a:gd name="T16" fmla="*/ 146 w 146"/>
                <a:gd name="T17" fmla="*/ 2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 h="30">
                  <a:moveTo>
                    <a:pt x="146" y="23"/>
                  </a:moveTo>
                  <a:cubicBezTo>
                    <a:pt x="146" y="27"/>
                    <a:pt x="143" y="30"/>
                    <a:pt x="139" y="30"/>
                  </a:cubicBezTo>
                  <a:cubicBezTo>
                    <a:pt x="8" y="30"/>
                    <a:pt x="8" y="30"/>
                    <a:pt x="8" y="30"/>
                  </a:cubicBezTo>
                  <a:cubicBezTo>
                    <a:pt x="3" y="30"/>
                    <a:pt x="0" y="27"/>
                    <a:pt x="0" y="23"/>
                  </a:cubicBezTo>
                  <a:cubicBezTo>
                    <a:pt x="0" y="7"/>
                    <a:pt x="0" y="7"/>
                    <a:pt x="0" y="7"/>
                  </a:cubicBezTo>
                  <a:cubicBezTo>
                    <a:pt x="0" y="3"/>
                    <a:pt x="3" y="0"/>
                    <a:pt x="8" y="0"/>
                  </a:cubicBezTo>
                  <a:cubicBezTo>
                    <a:pt x="139" y="0"/>
                    <a:pt x="139" y="0"/>
                    <a:pt x="139" y="0"/>
                  </a:cubicBezTo>
                  <a:cubicBezTo>
                    <a:pt x="143" y="0"/>
                    <a:pt x="146" y="3"/>
                    <a:pt x="146" y="7"/>
                  </a:cubicBezTo>
                  <a:lnTo>
                    <a:pt x="146" y="23"/>
                  </a:lnTo>
                  <a:close/>
                </a:path>
              </a:pathLst>
            </a:custGeom>
            <a:solidFill>
              <a:srgbClr val="C69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7" name="Rectangle 6"/>
            <p:cNvSpPr>
              <a:spLocks noChangeArrowheads="1"/>
            </p:cNvSpPr>
            <p:nvPr userDrawn="1"/>
          </p:nvSpPr>
          <p:spPr bwMode="auto">
            <a:xfrm>
              <a:off x="5492" y="3076"/>
              <a:ext cx="510" cy="169"/>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8" name="Rectangle 7"/>
            <p:cNvSpPr>
              <a:spLocks noChangeArrowheads="1"/>
            </p:cNvSpPr>
            <p:nvPr userDrawn="1"/>
          </p:nvSpPr>
          <p:spPr bwMode="auto">
            <a:xfrm>
              <a:off x="5492" y="3076"/>
              <a:ext cx="130" cy="111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Freeform 8"/>
            <p:cNvSpPr>
              <a:spLocks/>
            </p:cNvSpPr>
            <p:nvPr userDrawn="1"/>
          </p:nvSpPr>
          <p:spPr bwMode="auto">
            <a:xfrm>
              <a:off x="5316" y="4167"/>
              <a:ext cx="306" cy="159"/>
            </a:xfrm>
            <a:custGeom>
              <a:avLst/>
              <a:gdLst>
                <a:gd name="T0" fmla="*/ 55 w 96"/>
                <a:gd name="T1" fmla="*/ 0 h 50"/>
                <a:gd name="T2" fmla="*/ 0 w 96"/>
                <a:gd name="T3" fmla="*/ 50 h 50"/>
                <a:gd name="T4" fmla="*/ 55 w 96"/>
                <a:gd name="T5" fmla="*/ 50 h 50"/>
                <a:gd name="T6" fmla="*/ 96 w 96"/>
                <a:gd name="T7" fmla="*/ 50 h 50"/>
                <a:gd name="T8" fmla="*/ 96 w 96"/>
                <a:gd name="T9" fmla="*/ 0 h 50"/>
                <a:gd name="T10" fmla="*/ 55 w 96"/>
                <a:gd name="T11" fmla="*/ 0 h 50"/>
              </a:gdLst>
              <a:ahLst/>
              <a:cxnLst>
                <a:cxn ang="0">
                  <a:pos x="T0" y="T1"/>
                </a:cxn>
                <a:cxn ang="0">
                  <a:pos x="T2" y="T3"/>
                </a:cxn>
                <a:cxn ang="0">
                  <a:pos x="T4" y="T5"/>
                </a:cxn>
                <a:cxn ang="0">
                  <a:pos x="T6" y="T7"/>
                </a:cxn>
                <a:cxn ang="0">
                  <a:pos x="T8" y="T9"/>
                </a:cxn>
                <a:cxn ang="0">
                  <a:pos x="T10" y="T11"/>
                </a:cxn>
              </a:cxnLst>
              <a:rect l="0" t="0" r="r" b="b"/>
              <a:pathLst>
                <a:path w="96" h="50">
                  <a:moveTo>
                    <a:pt x="55" y="0"/>
                  </a:moveTo>
                  <a:cubicBezTo>
                    <a:pt x="26" y="0"/>
                    <a:pt x="3" y="22"/>
                    <a:pt x="0" y="50"/>
                  </a:cubicBezTo>
                  <a:cubicBezTo>
                    <a:pt x="55" y="50"/>
                    <a:pt x="55" y="50"/>
                    <a:pt x="55" y="50"/>
                  </a:cubicBezTo>
                  <a:cubicBezTo>
                    <a:pt x="96" y="50"/>
                    <a:pt x="96" y="50"/>
                    <a:pt x="96" y="50"/>
                  </a:cubicBezTo>
                  <a:cubicBezTo>
                    <a:pt x="96" y="0"/>
                    <a:pt x="96" y="0"/>
                    <a:pt x="96" y="0"/>
                  </a:cubicBezTo>
                  <a:lnTo>
                    <a:pt x="55" y="0"/>
                  </a:lnTo>
                  <a:close/>
                </a:path>
              </a:pathLst>
            </a:custGeom>
            <a:solidFill>
              <a:srgbClr val="563F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 name="Rectangle 9"/>
            <p:cNvSpPr>
              <a:spLocks noChangeArrowheads="1"/>
            </p:cNvSpPr>
            <p:nvPr userDrawn="1"/>
          </p:nvSpPr>
          <p:spPr bwMode="auto">
            <a:xfrm>
              <a:off x="5871" y="3076"/>
              <a:ext cx="131" cy="111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2" name="Freeform 10"/>
            <p:cNvSpPr>
              <a:spLocks/>
            </p:cNvSpPr>
            <p:nvPr userDrawn="1"/>
          </p:nvSpPr>
          <p:spPr bwMode="auto">
            <a:xfrm>
              <a:off x="5696" y="4167"/>
              <a:ext cx="306" cy="159"/>
            </a:xfrm>
            <a:custGeom>
              <a:avLst/>
              <a:gdLst>
                <a:gd name="T0" fmla="*/ 55 w 96"/>
                <a:gd name="T1" fmla="*/ 0 h 50"/>
                <a:gd name="T2" fmla="*/ 0 w 96"/>
                <a:gd name="T3" fmla="*/ 50 h 50"/>
                <a:gd name="T4" fmla="*/ 55 w 96"/>
                <a:gd name="T5" fmla="*/ 50 h 50"/>
                <a:gd name="T6" fmla="*/ 96 w 96"/>
                <a:gd name="T7" fmla="*/ 50 h 50"/>
                <a:gd name="T8" fmla="*/ 96 w 96"/>
                <a:gd name="T9" fmla="*/ 0 h 50"/>
                <a:gd name="T10" fmla="*/ 55 w 96"/>
                <a:gd name="T11" fmla="*/ 0 h 50"/>
              </a:gdLst>
              <a:ahLst/>
              <a:cxnLst>
                <a:cxn ang="0">
                  <a:pos x="T0" y="T1"/>
                </a:cxn>
                <a:cxn ang="0">
                  <a:pos x="T2" y="T3"/>
                </a:cxn>
                <a:cxn ang="0">
                  <a:pos x="T4" y="T5"/>
                </a:cxn>
                <a:cxn ang="0">
                  <a:pos x="T6" y="T7"/>
                </a:cxn>
                <a:cxn ang="0">
                  <a:pos x="T8" y="T9"/>
                </a:cxn>
                <a:cxn ang="0">
                  <a:pos x="T10" y="T11"/>
                </a:cxn>
              </a:cxnLst>
              <a:rect l="0" t="0" r="r" b="b"/>
              <a:pathLst>
                <a:path w="96" h="50">
                  <a:moveTo>
                    <a:pt x="55" y="0"/>
                  </a:moveTo>
                  <a:cubicBezTo>
                    <a:pt x="26" y="0"/>
                    <a:pt x="3" y="22"/>
                    <a:pt x="0" y="50"/>
                  </a:cubicBezTo>
                  <a:cubicBezTo>
                    <a:pt x="55" y="50"/>
                    <a:pt x="55" y="50"/>
                    <a:pt x="55" y="50"/>
                  </a:cubicBezTo>
                  <a:cubicBezTo>
                    <a:pt x="96" y="50"/>
                    <a:pt x="96" y="50"/>
                    <a:pt x="96" y="50"/>
                  </a:cubicBezTo>
                  <a:cubicBezTo>
                    <a:pt x="96" y="0"/>
                    <a:pt x="96" y="0"/>
                    <a:pt x="96" y="0"/>
                  </a:cubicBezTo>
                  <a:lnTo>
                    <a:pt x="55" y="0"/>
                  </a:lnTo>
                  <a:close/>
                </a:path>
              </a:pathLst>
            </a:custGeom>
            <a:solidFill>
              <a:srgbClr val="563F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3" name="Freeform 11"/>
            <p:cNvSpPr>
              <a:spLocks/>
            </p:cNvSpPr>
            <p:nvPr userDrawn="1"/>
          </p:nvSpPr>
          <p:spPr bwMode="auto">
            <a:xfrm>
              <a:off x="5303" y="2158"/>
              <a:ext cx="887" cy="918"/>
            </a:xfrm>
            <a:custGeom>
              <a:avLst/>
              <a:gdLst>
                <a:gd name="T0" fmla="*/ 219 w 278"/>
                <a:gd name="T1" fmla="*/ 0 h 288"/>
                <a:gd name="T2" fmla="*/ 59 w 278"/>
                <a:gd name="T3" fmla="*/ 0 h 288"/>
                <a:gd name="T4" fmla="*/ 0 w 278"/>
                <a:gd name="T5" fmla="*/ 59 h 288"/>
                <a:gd name="T6" fmla="*/ 0 w 278"/>
                <a:gd name="T7" fmla="*/ 109 h 288"/>
                <a:gd name="T8" fmla="*/ 59 w 278"/>
                <a:gd name="T9" fmla="*/ 109 h 288"/>
                <a:gd name="T10" fmla="*/ 59 w 278"/>
                <a:gd name="T11" fmla="*/ 288 h 288"/>
                <a:gd name="T12" fmla="*/ 219 w 278"/>
                <a:gd name="T13" fmla="*/ 288 h 288"/>
                <a:gd name="T14" fmla="*/ 219 w 278"/>
                <a:gd name="T15" fmla="*/ 109 h 288"/>
                <a:gd name="T16" fmla="*/ 278 w 278"/>
                <a:gd name="T17" fmla="*/ 109 h 288"/>
                <a:gd name="T18" fmla="*/ 278 w 278"/>
                <a:gd name="T19" fmla="*/ 59 h 288"/>
                <a:gd name="T20" fmla="*/ 219 w 278"/>
                <a:gd name="T21"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8" h="288">
                  <a:moveTo>
                    <a:pt x="219" y="0"/>
                  </a:moveTo>
                  <a:cubicBezTo>
                    <a:pt x="59" y="0"/>
                    <a:pt x="59" y="0"/>
                    <a:pt x="59" y="0"/>
                  </a:cubicBezTo>
                  <a:cubicBezTo>
                    <a:pt x="26" y="0"/>
                    <a:pt x="0" y="27"/>
                    <a:pt x="0" y="59"/>
                  </a:cubicBezTo>
                  <a:cubicBezTo>
                    <a:pt x="0" y="109"/>
                    <a:pt x="0" y="109"/>
                    <a:pt x="0" y="109"/>
                  </a:cubicBezTo>
                  <a:cubicBezTo>
                    <a:pt x="59" y="109"/>
                    <a:pt x="59" y="109"/>
                    <a:pt x="59" y="109"/>
                  </a:cubicBezTo>
                  <a:cubicBezTo>
                    <a:pt x="59" y="288"/>
                    <a:pt x="59" y="288"/>
                    <a:pt x="59" y="288"/>
                  </a:cubicBezTo>
                  <a:cubicBezTo>
                    <a:pt x="219" y="288"/>
                    <a:pt x="219" y="288"/>
                    <a:pt x="219" y="288"/>
                  </a:cubicBezTo>
                  <a:cubicBezTo>
                    <a:pt x="219" y="109"/>
                    <a:pt x="219" y="109"/>
                    <a:pt x="219" y="109"/>
                  </a:cubicBezTo>
                  <a:cubicBezTo>
                    <a:pt x="278" y="109"/>
                    <a:pt x="278" y="109"/>
                    <a:pt x="278" y="109"/>
                  </a:cubicBezTo>
                  <a:cubicBezTo>
                    <a:pt x="278" y="59"/>
                    <a:pt x="278" y="59"/>
                    <a:pt x="278" y="59"/>
                  </a:cubicBezTo>
                  <a:cubicBezTo>
                    <a:pt x="278" y="27"/>
                    <a:pt x="252" y="0"/>
                    <a:pt x="2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Freeform 12"/>
            <p:cNvSpPr>
              <a:spLocks/>
            </p:cNvSpPr>
            <p:nvPr userDrawn="1"/>
          </p:nvSpPr>
          <p:spPr bwMode="auto">
            <a:xfrm>
              <a:off x="5150" y="2506"/>
              <a:ext cx="316" cy="472"/>
            </a:xfrm>
            <a:custGeom>
              <a:avLst/>
              <a:gdLst>
                <a:gd name="T0" fmla="*/ 62 w 99"/>
                <a:gd name="T1" fmla="*/ 148 h 148"/>
                <a:gd name="T2" fmla="*/ 0 w 99"/>
                <a:gd name="T3" fmla="*/ 148 h 148"/>
                <a:gd name="T4" fmla="*/ 0 w 99"/>
                <a:gd name="T5" fmla="*/ 105 h 148"/>
                <a:gd name="T6" fmla="*/ 56 w 99"/>
                <a:gd name="T7" fmla="*/ 105 h 148"/>
                <a:gd name="T8" fmla="*/ 56 w 99"/>
                <a:gd name="T9" fmla="*/ 0 h 148"/>
                <a:gd name="T10" fmla="*/ 99 w 99"/>
                <a:gd name="T11" fmla="*/ 0 h 148"/>
                <a:gd name="T12" fmla="*/ 99 w 99"/>
                <a:gd name="T13" fmla="*/ 111 h 148"/>
                <a:gd name="T14" fmla="*/ 62 w 99"/>
                <a:gd name="T15" fmla="*/ 148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 h="148">
                  <a:moveTo>
                    <a:pt x="62" y="148"/>
                  </a:moveTo>
                  <a:cubicBezTo>
                    <a:pt x="0" y="148"/>
                    <a:pt x="0" y="148"/>
                    <a:pt x="0" y="148"/>
                  </a:cubicBezTo>
                  <a:cubicBezTo>
                    <a:pt x="0" y="105"/>
                    <a:pt x="0" y="105"/>
                    <a:pt x="0" y="105"/>
                  </a:cubicBezTo>
                  <a:cubicBezTo>
                    <a:pt x="56" y="105"/>
                    <a:pt x="56" y="105"/>
                    <a:pt x="56" y="105"/>
                  </a:cubicBezTo>
                  <a:cubicBezTo>
                    <a:pt x="56" y="0"/>
                    <a:pt x="56" y="0"/>
                    <a:pt x="56" y="0"/>
                  </a:cubicBezTo>
                  <a:cubicBezTo>
                    <a:pt x="99" y="0"/>
                    <a:pt x="99" y="0"/>
                    <a:pt x="99" y="0"/>
                  </a:cubicBezTo>
                  <a:cubicBezTo>
                    <a:pt x="99" y="111"/>
                    <a:pt x="99" y="111"/>
                    <a:pt x="99" y="111"/>
                  </a:cubicBezTo>
                  <a:cubicBezTo>
                    <a:pt x="99" y="131"/>
                    <a:pt x="82" y="148"/>
                    <a:pt x="62" y="148"/>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Rectangle 13"/>
            <p:cNvSpPr>
              <a:spLocks noChangeArrowheads="1"/>
            </p:cNvSpPr>
            <p:nvPr userDrawn="1"/>
          </p:nvSpPr>
          <p:spPr bwMode="auto">
            <a:xfrm>
              <a:off x="6028" y="2506"/>
              <a:ext cx="137" cy="816"/>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6" name="Freeform 14"/>
            <p:cNvSpPr>
              <a:spLocks/>
            </p:cNvSpPr>
            <p:nvPr userDrawn="1"/>
          </p:nvSpPr>
          <p:spPr bwMode="auto">
            <a:xfrm>
              <a:off x="6028" y="3185"/>
              <a:ext cx="137" cy="274"/>
            </a:xfrm>
            <a:custGeom>
              <a:avLst/>
              <a:gdLst>
                <a:gd name="T0" fmla="*/ 0 w 43"/>
                <a:gd name="T1" fmla="*/ 0 h 86"/>
                <a:gd name="T2" fmla="*/ 0 w 43"/>
                <a:gd name="T3" fmla="*/ 86 h 86"/>
                <a:gd name="T4" fmla="*/ 43 w 43"/>
                <a:gd name="T5" fmla="*/ 43 h 86"/>
                <a:gd name="T6" fmla="*/ 0 w 43"/>
                <a:gd name="T7" fmla="*/ 0 h 86"/>
              </a:gdLst>
              <a:ahLst/>
              <a:cxnLst>
                <a:cxn ang="0">
                  <a:pos x="T0" y="T1"/>
                </a:cxn>
                <a:cxn ang="0">
                  <a:pos x="T2" y="T3"/>
                </a:cxn>
                <a:cxn ang="0">
                  <a:pos x="T4" y="T5"/>
                </a:cxn>
                <a:cxn ang="0">
                  <a:pos x="T6" y="T7"/>
                </a:cxn>
              </a:cxnLst>
              <a:rect l="0" t="0" r="r" b="b"/>
              <a:pathLst>
                <a:path w="43" h="86">
                  <a:moveTo>
                    <a:pt x="0" y="0"/>
                  </a:moveTo>
                  <a:cubicBezTo>
                    <a:pt x="0" y="86"/>
                    <a:pt x="0" y="86"/>
                    <a:pt x="0" y="86"/>
                  </a:cubicBezTo>
                  <a:cubicBezTo>
                    <a:pt x="24" y="86"/>
                    <a:pt x="43" y="67"/>
                    <a:pt x="43" y="43"/>
                  </a:cubicBezTo>
                  <a:cubicBezTo>
                    <a:pt x="43" y="19"/>
                    <a:pt x="24" y="0"/>
                    <a:pt x="0" y="0"/>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7" name="Freeform 15"/>
            <p:cNvSpPr>
              <a:spLocks/>
            </p:cNvSpPr>
            <p:nvPr userDrawn="1"/>
          </p:nvSpPr>
          <p:spPr bwMode="auto">
            <a:xfrm>
              <a:off x="5013" y="2837"/>
              <a:ext cx="278" cy="141"/>
            </a:xfrm>
            <a:custGeom>
              <a:avLst/>
              <a:gdLst>
                <a:gd name="T0" fmla="*/ 87 w 87"/>
                <a:gd name="T1" fmla="*/ 0 h 44"/>
                <a:gd name="T2" fmla="*/ 0 w 87"/>
                <a:gd name="T3" fmla="*/ 0 h 44"/>
                <a:gd name="T4" fmla="*/ 43 w 87"/>
                <a:gd name="T5" fmla="*/ 44 h 44"/>
                <a:gd name="T6" fmla="*/ 87 w 87"/>
                <a:gd name="T7" fmla="*/ 0 h 44"/>
              </a:gdLst>
              <a:ahLst/>
              <a:cxnLst>
                <a:cxn ang="0">
                  <a:pos x="T0" y="T1"/>
                </a:cxn>
                <a:cxn ang="0">
                  <a:pos x="T2" y="T3"/>
                </a:cxn>
                <a:cxn ang="0">
                  <a:pos x="T4" y="T5"/>
                </a:cxn>
                <a:cxn ang="0">
                  <a:pos x="T6" y="T7"/>
                </a:cxn>
              </a:cxnLst>
              <a:rect l="0" t="0" r="r" b="b"/>
              <a:pathLst>
                <a:path w="87" h="44">
                  <a:moveTo>
                    <a:pt x="87" y="0"/>
                  </a:moveTo>
                  <a:cubicBezTo>
                    <a:pt x="0" y="0"/>
                    <a:pt x="0" y="0"/>
                    <a:pt x="0" y="0"/>
                  </a:cubicBezTo>
                  <a:cubicBezTo>
                    <a:pt x="0" y="24"/>
                    <a:pt x="19" y="44"/>
                    <a:pt x="43" y="44"/>
                  </a:cubicBezTo>
                  <a:cubicBezTo>
                    <a:pt x="68" y="44"/>
                    <a:pt x="87" y="24"/>
                    <a:pt x="87" y="0"/>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8" name="Rectangle 16"/>
            <p:cNvSpPr>
              <a:spLocks noChangeArrowheads="1"/>
            </p:cNvSpPr>
            <p:nvPr userDrawn="1"/>
          </p:nvSpPr>
          <p:spPr bwMode="auto">
            <a:xfrm>
              <a:off x="6028" y="3150"/>
              <a:ext cx="140" cy="73"/>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9" name="Rectangle 17"/>
            <p:cNvSpPr>
              <a:spLocks noChangeArrowheads="1"/>
            </p:cNvSpPr>
            <p:nvPr userDrawn="1"/>
          </p:nvSpPr>
          <p:spPr bwMode="auto">
            <a:xfrm>
              <a:off x="4796" y="2774"/>
              <a:ext cx="609" cy="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20" name="Freeform 18"/>
            <p:cNvSpPr>
              <a:spLocks/>
            </p:cNvSpPr>
            <p:nvPr userDrawn="1"/>
          </p:nvSpPr>
          <p:spPr bwMode="auto">
            <a:xfrm>
              <a:off x="4630" y="2467"/>
              <a:ext cx="635" cy="307"/>
            </a:xfrm>
            <a:custGeom>
              <a:avLst/>
              <a:gdLst>
                <a:gd name="T0" fmla="*/ 469 w 635"/>
                <a:gd name="T1" fmla="*/ 0 h 307"/>
                <a:gd name="T2" fmla="*/ 0 w 635"/>
                <a:gd name="T3" fmla="*/ 0 h 307"/>
                <a:gd name="T4" fmla="*/ 166 w 635"/>
                <a:gd name="T5" fmla="*/ 307 h 307"/>
                <a:gd name="T6" fmla="*/ 635 w 635"/>
                <a:gd name="T7" fmla="*/ 307 h 307"/>
                <a:gd name="T8" fmla="*/ 469 w 635"/>
                <a:gd name="T9" fmla="*/ 0 h 307"/>
              </a:gdLst>
              <a:ahLst/>
              <a:cxnLst>
                <a:cxn ang="0">
                  <a:pos x="T0" y="T1"/>
                </a:cxn>
                <a:cxn ang="0">
                  <a:pos x="T2" y="T3"/>
                </a:cxn>
                <a:cxn ang="0">
                  <a:pos x="T4" y="T5"/>
                </a:cxn>
                <a:cxn ang="0">
                  <a:pos x="T6" y="T7"/>
                </a:cxn>
                <a:cxn ang="0">
                  <a:pos x="T8" y="T9"/>
                </a:cxn>
              </a:cxnLst>
              <a:rect l="0" t="0" r="r" b="b"/>
              <a:pathLst>
                <a:path w="635" h="307">
                  <a:moveTo>
                    <a:pt x="469" y="0"/>
                  </a:moveTo>
                  <a:lnTo>
                    <a:pt x="0" y="0"/>
                  </a:lnTo>
                  <a:lnTo>
                    <a:pt x="166" y="307"/>
                  </a:lnTo>
                  <a:lnTo>
                    <a:pt x="635" y="307"/>
                  </a:lnTo>
                  <a:lnTo>
                    <a:pt x="4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21" name="Rectangle 19"/>
            <p:cNvSpPr>
              <a:spLocks noChangeArrowheads="1"/>
            </p:cNvSpPr>
            <p:nvPr userDrawn="1"/>
          </p:nvSpPr>
          <p:spPr bwMode="auto">
            <a:xfrm>
              <a:off x="5265" y="2774"/>
              <a:ext cx="140" cy="6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22" name="Freeform 20"/>
            <p:cNvSpPr>
              <a:spLocks/>
            </p:cNvSpPr>
            <p:nvPr userDrawn="1"/>
          </p:nvSpPr>
          <p:spPr bwMode="auto">
            <a:xfrm>
              <a:off x="5667" y="1970"/>
              <a:ext cx="160" cy="268"/>
            </a:xfrm>
            <a:custGeom>
              <a:avLst/>
              <a:gdLst>
                <a:gd name="T0" fmla="*/ 80 w 160"/>
                <a:gd name="T1" fmla="*/ 268 h 268"/>
                <a:gd name="T2" fmla="*/ 0 w 160"/>
                <a:gd name="T3" fmla="*/ 188 h 268"/>
                <a:gd name="T4" fmla="*/ 0 w 160"/>
                <a:gd name="T5" fmla="*/ 0 h 268"/>
                <a:gd name="T6" fmla="*/ 160 w 160"/>
                <a:gd name="T7" fmla="*/ 0 h 268"/>
                <a:gd name="T8" fmla="*/ 160 w 160"/>
                <a:gd name="T9" fmla="*/ 188 h 268"/>
                <a:gd name="T10" fmla="*/ 80 w 160"/>
                <a:gd name="T11" fmla="*/ 268 h 268"/>
              </a:gdLst>
              <a:ahLst/>
              <a:cxnLst>
                <a:cxn ang="0">
                  <a:pos x="T0" y="T1"/>
                </a:cxn>
                <a:cxn ang="0">
                  <a:pos x="T2" y="T3"/>
                </a:cxn>
                <a:cxn ang="0">
                  <a:pos x="T4" y="T5"/>
                </a:cxn>
                <a:cxn ang="0">
                  <a:pos x="T6" y="T7"/>
                </a:cxn>
                <a:cxn ang="0">
                  <a:pos x="T8" y="T9"/>
                </a:cxn>
                <a:cxn ang="0">
                  <a:pos x="T10" y="T11"/>
                </a:cxn>
              </a:cxnLst>
              <a:rect l="0" t="0" r="r" b="b"/>
              <a:pathLst>
                <a:path w="160" h="268">
                  <a:moveTo>
                    <a:pt x="80" y="268"/>
                  </a:moveTo>
                  <a:lnTo>
                    <a:pt x="0" y="188"/>
                  </a:lnTo>
                  <a:lnTo>
                    <a:pt x="0" y="0"/>
                  </a:lnTo>
                  <a:lnTo>
                    <a:pt x="160" y="0"/>
                  </a:lnTo>
                  <a:lnTo>
                    <a:pt x="160" y="188"/>
                  </a:lnTo>
                  <a:lnTo>
                    <a:pt x="80" y="268"/>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23" name="Freeform 21"/>
            <p:cNvSpPr>
              <a:spLocks/>
            </p:cNvSpPr>
            <p:nvPr userDrawn="1"/>
          </p:nvSpPr>
          <p:spPr bwMode="auto">
            <a:xfrm>
              <a:off x="5667" y="1970"/>
              <a:ext cx="160" cy="144"/>
            </a:xfrm>
            <a:custGeom>
              <a:avLst/>
              <a:gdLst>
                <a:gd name="T0" fmla="*/ 0 w 50"/>
                <a:gd name="T1" fmla="*/ 41 h 45"/>
                <a:gd name="T2" fmla="*/ 25 w 50"/>
                <a:gd name="T3" fmla="*/ 45 h 45"/>
                <a:gd name="T4" fmla="*/ 50 w 50"/>
                <a:gd name="T5" fmla="*/ 41 h 45"/>
                <a:gd name="T6" fmla="*/ 50 w 50"/>
                <a:gd name="T7" fmla="*/ 0 h 45"/>
                <a:gd name="T8" fmla="*/ 0 w 50"/>
                <a:gd name="T9" fmla="*/ 0 h 45"/>
                <a:gd name="T10" fmla="*/ 0 w 50"/>
                <a:gd name="T11" fmla="*/ 41 h 45"/>
              </a:gdLst>
              <a:ahLst/>
              <a:cxnLst>
                <a:cxn ang="0">
                  <a:pos x="T0" y="T1"/>
                </a:cxn>
                <a:cxn ang="0">
                  <a:pos x="T2" y="T3"/>
                </a:cxn>
                <a:cxn ang="0">
                  <a:pos x="T4" y="T5"/>
                </a:cxn>
                <a:cxn ang="0">
                  <a:pos x="T6" y="T7"/>
                </a:cxn>
                <a:cxn ang="0">
                  <a:pos x="T8" y="T9"/>
                </a:cxn>
                <a:cxn ang="0">
                  <a:pos x="T10" y="T11"/>
                </a:cxn>
              </a:cxnLst>
              <a:rect l="0" t="0" r="r" b="b"/>
              <a:pathLst>
                <a:path w="50" h="45">
                  <a:moveTo>
                    <a:pt x="0" y="41"/>
                  </a:moveTo>
                  <a:cubicBezTo>
                    <a:pt x="8" y="43"/>
                    <a:pt x="16" y="45"/>
                    <a:pt x="25" y="45"/>
                  </a:cubicBezTo>
                  <a:cubicBezTo>
                    <a:pt x="34" y="45"/>
                    <a:pt x="42" y="43"/>
                    <a:pt x="50" y="41"/>
                  </a:cubicBezTo>
                  <a:cubicBezTo>
                    <a:pt x="50" y="0"/>
                    <a:pt x="50" y="0"/>
                    <a:pt x="50" y="0"/>
                  </a:cubicBezTo>
                  <a:cubicBezTo>
                    <a:pt x="0" y="0"/>
                    <a:pt x="0" y="0"/>
                    <a:pt x="0" y="0"/>
                  </a:cubicBezTo>
                  <a:lnTo>
                    <a:pt x="0" y="41"/>
                  </a:lnTo>
                  <a:close/>
                </a:path>
              </a:pathLst>
            </a:custGeom>
            <a:solidFill>
              <a:srgbClr val="C69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24" name="Freeform 22"/>
            <p:cNvSpPr>
              <a:spLocks/>
            </p:cNvSpPr>
            <p:nvPr userDrawn="1"/>
          </p:nvSpPr>
          <p:spPr bwMode="auto">
            <a:xfrm>
              <a:off x="5504" y="1671"/>
              <a:ext cx="485" cy="51"/>
            </a:xfrm>
            <a:custGeom>
              <a:avLst/>
              <a:gdLst>
                <a:gd name="T0" fmla="*/ 152 w 152"/>
                <a:gd name="T1" fmla="*/ 8 h 16"/>
                <a:gd name="T2" fmla="*/ 144 w 152"/>
                <a:gd name="T3" fmla="*/ 16 h 16"/>
                <a:gd name="T4" fmla="*/ 8 w 152"/>
                <a:gd name="T5" fmla="*/ 16 h 16"/>
                <a:gd name="T6" fmla="*/ 0 w 152"/>
                <a:gd name="T7" fmla="*/ 8 h 16"/>
                <a:gd name="T8" fmla="*/ 0 w 152"/>
                <a:gd name="T9" fmla="*/ 8 h 16"/>
                <a:gd name="T10" fmla="*/ 8 w 152"/>
                <a:gd name="T11" fmla="*/ 0 h 16"/>
                <a:gd name="T12" fmla="*/ 144 w 152"/>
                <a:gd name="T13" fmla="*/ 0 h 16"/>
                <a:gd name="T14" fmla="*/ 152 w 152"/>
                <a:gd name="T15" fmla="*/ 8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16">
                  <a:moveTo>
                    <a:pt x="152" y="8"/>
                  </a:moveTo>
                  <a:cubicBezTo>
                    <a:pt x="152" y="12"/>
                    <a:pt x="148" y="16"/>
                    <a:pt x="144" y="16"/>
                  </a:cubicBezTo>
                  <a:cubicBezTo>
                    <a:pt x="8" y="16"/>
                    <a:pt x="8" y="16"/>
                    <a:pt x="8" y="16"/>
                  </a:cubicBezTo>
                  <a:cubicBezTo>
                    <a:pt x="4" y="16"/>
                    <a:pt x="0" y="12"/>
                    <a:pt x="0" y="8"/>
                  </a:cubicBezTo>
                  <a:cubicBezTo>
                    <a:pt x="0" y="8"/>
                    <a:pt x="0" y="8"/>
                    <a:pt x="0" y="8"/>
                  </a:cubicBezTo>
                  <a:cubicBezTo>
                    <a:pt x="0" y="3"/>
                    <a:pt x="4" y="0"/>
                    <a:pt x="8" y="0"/>
                  </a:cubicBezTo>
                  <a:cubicBezTo>
                    <a:pt x="144" y="0"/>
                    <a:pt x="144" y="0"/>
                    <a:pt x="144" y="0"/>
                  </a:cubicBezTo>
                  <a:cubicBezTo>
                    <a:pt x="148" y="0"/>
                    <a:pt x="152" y="3"/>
                    <a:pt x="152"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25" name="Freeform 23"/>
            <p:cNvSpPr>
              <a:spLocks/>
            </p:cNvSpPr>
            <p:nvPr userDrawn="1"/>
          </p:nvSpPr>
          <p:spPr bwMode="auto">
            <a:xfrm>
              <a:off x="5555" y="1409"/>
              <a:ext cx="383" cy="265"/>
            </a:xfrm>
            <a:custGeom>
              <a:avLst/>
              <a:gdLst>
                <a:gd name="T0" fmla="*/ 60 w 120"/>
                <a:gd name="T1" fmla="*/ 0 h 83"/>
                <a:gd name="T2" fmla="*/ 0 w 120"/>
                <a:gd name="T3" fmla="*/ 61 h 83"/>
                <a:gd name="T4" fmla="*/ 0 w 120"/>
                <a:gd name="T5" fmla="*/ 83 h 83"/>
                <a:gd name="T6" fmla="*/ 120 w 120"/>
                <a:gd name="T7" fmla="*/ 83 h 83"/>
                <a:gd name="T8" fmla="*/ 120 w 120"/>
                <a:gd name="T9" fmla="*/ 61 h 83"/>
                <a:gd name="T10" fmla="*/ 60 w 120"/>
                <a:gd name="T11" fmla="*/ 0 h 83"/>
              </a:gdLst>
              <a:ahLst/>
              <a:cxnLst>
                <a:cxn ang="0">
                  <a:pos x="T0" y="T1"/>
                </a:cxn>
                <a:cxn ang="0">
                  <a:pos x="T2" y="T3"/>
                </a:cxn>
                <a:cxn ang="0">
                  <a:pos x="T4" y="T5"/>
                </a:cxn>
                <a:cxn ang="0">
                  <a:pos x="T6" y="T7"/>
                </a:cxn>
                <a:cxn ang="0">
                  <a:pos x="T8" y="T9"/>
                </a:cxn>
                <a:cxn ang="0">
                  <a:pos x="T10" y="T11"/>
                </a:cxn>
              </a:cxnLst>
              <a:rect l="0" t="0" r="r" b="b"/>
              <a:pathLst>
                <a:path w="120" h="83">
                  <a:moveTo>
                    <a:pt x="60" y="0"/>
                  </a:moveTo>
                  <a:cubicBezTo>
                    <a:pt x="27" y="0"/>
                    <a:pt x="0" y="27"/>
                    <a:pt x="0" y="61"/>
                  </a:cubicBezTo>
                  <a:cubicBezTo>
                    <a:pt x="0" y="83"/>
                    <a:pt x="0" y="83"/>
                    <a:pt x="0" y="83"/>
                  </a:cubicBezTo>
                  <a:cubicBezTo>
                    <a:pt x="120" y="83"/>
                    <a:pt x="120" y="83"/>
                    <a:pt x="120" y="83"/>
                  </a:cubicBezTo>
                  <a:cubicBezTo>
                    <a:pt x="120" y="61"/>
                    <a:pt x="120" y="61"/>
                    <a:pt x="120" y="61"/>
                  </a:cubicBezTo>
                  <a:cubicBezTo>
                    <a:pt x="120" y="27"/>
                    <a:pt x="93" y="0"/>
                    <a:pt x="6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26" name="Rectangle 24"/>
            <p:cNvSpPr>
              <a:spLocks noChangeArrowheads="1"/>
            </p:cNvSpPr>
            <p:nvPr userDrawn="1"/>
          </p:nvSpPr>
          <p:spPr bwMode="auto">
            <a:xfrm>
              <a:off x="5555" y="1604"/>
              <a:ext cx="383" cy="67"/>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27" name="Freeform 25"/>
            <p:cNvSpPr>
              <a:spLocks/>
            </p:cNvSpPr>
            <p:nvPr userDrawn="1"/>
          </p:nvSpPr>
          <p:spPr bwMode="auto">
            <a:xfrm>
              <a:off x="5555" y="1722"/>
              <a:ext cx="383" cy="360"/>
            </a:xfrm>
            <a:custGeom>
              <a:avLst/>
              <a:gdLst>
                <a:gd name="T0" fmla="*/ 0 w 120"/>
                <a:gd name="T1" fmla="*/ 0 h 113"/>
                <a:gd name="T2" fmla="*/ 0 w 120"/>
                <a:gd name="T3" fmla="*/ 93 h 113"/>
                <a:gd name="T4" fmla="*/ 1 w 120"/>
                <a:gd name="T5" fmla="*/ 93 h 113"/>
                <a:gd name="T6" fmla="*/ 60 w 120"/>
                <a:gd name="T7" fmla="*/ 113 h 113"/>
                <a:gd name="T8" fmla="*/ 119 w 120"/>
                <a:gd name="T9" fmla="*/ 93 h 113"/>
                <a:gd name="T10" fmla="*/ 120 w 120"/>
                <a:gd name="T11" fmla="*/ 93 h 113"/>
                <a:gd name="T12" fmla="*/ 120 w 120"/>
                <a:gd name="T13" fmla="*/ 0 h 113"/>
                <a:gd name="T14" fmla="*/ 0 w 120"/>
                <a:gd name="T15" fmla="*/ 0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113">
                  <a:moveTo>
                    <a:pt x="0" y="0"/>
                  </a:moveTo>
                  <a:cubicBezTo>
                    <a:pt x="0" y="93"/>
                    <a:pt x="0" y="93"/>
                    <a:pt x="0" y="93"/>
                  </a:cubicBezTo>
                  <a:cubicBezTo>
                    <a:pt x="1" y="93"/>
                    <a:pt x="1" y="93"/>
                    <a:pt x="1" y="93"/>
                  </a:cubicBezTo>
                  <a:cubicBezTo>
                    <a:pt x="17" y="105"/>
                    <a:pt x="38" y="113"/>
                    <a:pt x="60" y="113"/>
                  </a:cubicBezTo>
                  <a:cubicBezTo>
                    <a:pt x="82" y="113"/>
                    <a:pt x="103" y="105"/>
                    <a:pt x="119" y="93"/>
                  </a:cubicBezTo>
                  <a:cubicBezTo>
                    <a:pt x="120" y="93"/>
                    <a:pt x="120" y="93"/>
                    <a:pt x="120" y="93"/>
                  </a:cubicBezTo>
                  <a:cubicBezTo>
                    <a:pt x="120" y="0"/>
                    <a:pt x="120" y="0"/>
                    <a:pt x="120" y="0"/>
                  </a:cubicBezTo>
                  <a:lnTo>
                    <a:pt x="0" y="0"/>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28" name="Rectangle 26"/>
            <p:cNvSpPr>
              <a:spLocks noChangeArrowheads="1"/>
            </p:cNvSpPr>
            <p:nvPr userDrawn="1"/>
          </p:nvSpPr>
          <p:spPr bwMode="auto">
            <a:xfrm>
              <a:off x="6028" y="2506"/>
              <a:ext cx="137" cy="38"/>
            </a:xfrm>
            <a:prstGeom prst="rect">
              <a:avLst/>
            </a:prstGeom>
            <a:solidFill>
              <a:srgbClr val="C69B7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29" name="Rectangle 27"/>
            <p:cNvSpPr>
              <a:spLocks noChangeArrowheads="1"/>
            </p:cNvSpPr>
            <p:nvPr userDrawn="1"/>
          </p:nvSpPr>
          <p:spPr bwMode="auto">
            <a:xfrm>
              <a:off x="5329" y="2506"/>
              <a:ext cx="137" cy="38"/>
            </a:xfrm>
            <a:prstGeom prst="rect">
              <a:avLst/>
            </a:prstGeom>
            <a:solidFill>
              <a:srgbClr val="C69B7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0" name="Freeform 28"/>
            <p:cNvSpPr>
              <a:spLocks/>
            </p:cNvSpPr>
            <p:nvPr userDrawn="1"/>
          </p:nvSpPr>
          <p:spPr bwMode="auto">
            <a:xfrm>
              <a:off x="5613" y="1903"/>
              <a:ext cx="268" cy="61"/>
            </a:xfrm>
            <a:custGeom>
              <a:avLst/>
              <a:gdLst>
                <a:gd name="T0" fmla="*/ 75 w 84"/>
                <a:gd name="T1" fmla="*/ 0 h 19"/>
                <a:gd name="T2" fmla="*/ 74 w 84"/>
                <a:gd name="T3" fmla="*/ 0 h 19"/>
                <a:gd name="T4" fmla="*/ 80 w 84"/>
                <a:gd name="T5" fmla="*/ 7 h 19"/>
                <a:gd name="T6" fmla="*/ 76 w 84"/>
                <a:gd name="T7" fmla="*/ 14 h 19"/>
                <a:gd name="T8" fmla="*/ 54 w 84"/>
                <a:gd name="T9" fmla="*/ 6 h 19"/>
                <a:gd name="T10" fmla="*/ 42 w 84"/>
                <a:gd name="T11" fmla="*/ 13 h 19"/>
                <a:gd name="T12" fmla="*/ 30 w 84"/>
                <a:gd name="T13" fmla="*/ 6 h 19"/>
                <a:gd name="T14" fmla="*/ 8 w 84"/>
                <a:gd name="T15" fmla="*/ 14 h 19"/>
                <a:gd name="T16" fmla="*/ 4 w 84"/>
                <a:gd name="T17" fmla="*/ 7 h 19"/>
                <a:gd name="T18" fmla="*/ 10 w 84"/>
                <a:gd name="T19" fmla="*/ 0 h 19"/>
                <a:gd name="T20" fmla="*/ 9 w 84"/>
                <a:gd name="T21" fmla="*/ 0 h 19"/>
                <a:gd name="T22" fmla="*/ 0 w 84"/>
                <a:gd name="T23" fmla="*/ 9 h 19"/>
                <a:gd name="T24" fmla="*/ 8 w 84"/>
                <a:gd name="T25" fmla="*/ 19 h 19"/>
                <a:gd name="T26" fmla="*/ 40 w 84"/>
                <a:gd name="T27" fmla="*/ 19 h 19"/>
                <a:gd name="T28" fmla="*/ 44 w 84"/>
                <a:gd name="T29" fmla="*/ 19 h 19"/>
                <a:gd name="T30" fmla="*/ 76 w 84"/>
                <a:gd name="T31" fmla="*/ 19 h 19"/>
                <a:gd name="T32" fmla="*/ 84 w 84"/>
                <a:gd name="T33" fmla="*/ 9 h 19"/>
                <a:gd name="T34" fmla="*/ 75 w 84"/>
                <a:gd name="T3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4" h="19">
                  <a:moveTo>
                    <a:pt x="75" y="0"/>
                  </a:moveTo>
                  <a:cubicBezTo>
                    <a:pt x="75" y="0"/>
                    <a:pt x="75" y="0"/>
                    <a:pt x="74" y="0"/>
                  </a:cubicBezTo>
                  <a:cubicBezTo>
                    <a:pt x="78" y="0"/>
                    <a:pt x="80" y="3"/>
                    <a:pt x="80" y="7"/>
                  </a:cubicBezTo>
                  <a:cubicBezTo>
                    <a:pt x="80" y="10"/>
                    <a:pt x="79" y="14"/>
                    <a:pt x="76" y="14"/>
                  </a:cubicBezTo>
                  <a:cubicBezTo>
                    <a:pt x="65" y="14"/>
                    <a:pt x="63" y="6"/>
                    <a:pt x="54" y="6"/>
                  </a:cubicBezTo>
                  <a:cubicBezTo>
                    <a:pt x="47" y="6"/>
                    <a:pt x="44" y="9"/>
                    <a:pt x="42" y="13"/>
                  </a:cubicBezTo>
                  <a:cubicBezTo>
                    <a:pt x="40" y="9"/>
                    <a:pt x="37" y="6"/>
                    <a:pt x="30" y="6"/>
                  </a:cubicBezTo>
                  <a:cubicBezTo>
                    <a:pt x="21" y="6"/>
                    <a:pt x="19" y="14"/>
                    <a:pt x="8" y="14"/>
                  </a:cubicBezTo>
                  <a:cubicBezTo>
                    <a:pt x="5" y="14"/>
                    <a:pt x="4" y="10"/>
                    <a:pt x="4" y="7"/>
                  </a:cubicBezTo>
                  <a:cubicBezTo>
                    <a:pt x="4" y="3"/>
                    <a:pt x="7" y="0"/>
                    <a:pt x="10" y="0"/>
                  </a:cubicBezTo>
                  <a:cubicBezTo>
                    <a:pt x="9" y="0"/>
                    <a:pt x="9" y="0"/>
                    <a:pt x="9" y="0"/>
                  </a:cubicBezTo>
                  <a:cubicBezTo>
                    <a:pt x="4" y="0"/>
                    <a:pt x="0" y="4"/>
                    <a:pt x="0" y="9"/>
                  </a:cubicBezTo>
                  <a:cubicBezTo>
                    <a:pt x="0" y="14"/>
                    <a:pt x="4" y="18"/>
                    <a:pt x="8" y="19"/>
                  </a:cubicBezTo>
                  <a:cubicBezTo>
                    <a:pt x="14" y="19"/>
                    <a:pt x="33" y="19"/>
                    <a:pt x="40" y="19"/>
                  </a:cubicBezTo>
                  <a:cubicBezTo>
                    <a:pt x="42" y="19"/>
                    <a:pt x="44" y="19"/>
                    <a:pt x="44" y="19"/>
                  </a:cubicBezTo>
                  <a:cubicBezTo>
                    <a:pt x="51" y="19"/>
                    <a:pt x="70" y="19"/>
                    <a:pt x="76" y="19"/>
                  </a:cubicBezTo>
                  <a:cubicBezTo>
                    <a:pt x="80" y="18"/>
                    <a:pt x="84" y="14"/>
                    <a:pt x="84" y="9"/>
                  </a:cubicBezTo>
                  <a:cubicBezTo>
                    <a:pt x="84" y="4"/>
                    <a:pt x="80" y="0"/>
                    <a:pt x="7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1" name="Freeform 29"/>
            <p:cNvSpPr>
              <a:spLocks noEditPoints="1"/>
            </p:cNvSpPr>
            <p:nvPr userDrawn="1"/>
          </p:nvSpPr>
          <p:spPr bwMode="auto">
            <a:xfrm>
              <a:off x="5597" y="1776"/>
              <a:ext cx="297" cy="105"/>
            </a:xfrm>
            <a:custGeom>
              <a:avLst/>
              <a:gdLst>
                <a:gd name="T0" fmla="*/ 52 w 93"/>
                <a:gd name="T1" fmla="*/ 3 h 33"/>
                <a:gd name="T2" fmla="*/ 47 w 93"/>
                <a:gd name="T3" fmla="*/ 3 h 33"/>
                <a:gd name="T4" fmla="*/ 42 w 93"/>
                <a:gd name="T5" fmla="*/ 3 h 33"/>
                <a:gd name="T6" fmla="*/ 0 w 93"/>
                <a:gd name="T7" fmla="*/ 4 h 33"/>
                <a:gd name="T8" fmla="*/ 5 w 93"/>
                <a:gd name="T9" fmla="*/ 23 h 33"/>
                <a:gd name="T10" fmla="*/ 8 w 93"/>
                <a:gd name="T11" fmla="*/ 29 h 33"/>
                <a:gd name="T12" fmla="*/ 47 w 93"/>
                <a:gd name="T13" fmla="*/ 10 h 33"/>
                <a:gd name="T14" fmla="*/ 88 w 93"/>
                <a:gd name="T15" fmla="*/ 23 h 33"/>
                <a:gd name="T16" fmla="*/ 93 w 93"/>
                <a:gd name="T17" fmla="*/ 4 h 33"/>
                <a:gd name="T18" fmla="*/ 34 w 93"/>
                <a:gd name="T19" fmla="*/ 4 h 33"/>
                <a:gd name="T20" fmla="*/ 8 w 93"/>
                <a:gd name="T21" fmla="*/ 5 h 33"/>
                <a:gd name="T22" fmla="*/ 6 w 93"/>
                <a:gd name="T23" fmla="*/ 7 h 33"/>
                <a:gd name="T24" fmla="*/ 2 w 93"/>
                <a:gd name="T25" fmla="*/ 6 h 33"/>
                <a:gd name="T26" fmla="*/ 4 w 93"/>
                <a:gd name="T27" fmla="*/ 6 h 33"/>
                <a:gd name="T28" fmla="*/ 30 w 93"/>
                <a:gd name="T29" fmla="*/ 29 h 33"/>
                <a:gd name="T30" fmla="*/ 10 w 93"/>
                <a:gd name="T31" fmla="*/ 27 h 33"/>
                <a:gd name="T32" fmla="*/ 34 w 93"/>
                <a:gd name="T33" fmla="*/ 25 h 33"/>
                <a:gd name="T34" fmla="*/ 8 w 93"/>
                <a:gd name="T35" fmla="*/ 24 h 33"/>
                <a:gd name="T36" fmla="*/ 36 w 93"/>
                <a:gd name="T37" fmla="*/ 24 h 33"/>
                <a:gd name="T38" fmla="*/ 6 w 93"/>
                <a:gd name="T39" fmla="*/ 19 h 33"/>
                <a:gd name="T40" fmla="*/ 39 w 93"/>
                <a:gd name="T41" fmla="*/ 17 h 33"/>
                <a:gd name="T42" fmla="*/ 40 w 93"/>
                <a:gd name="T43" fmla="*/ 15 h 33"/>
                <a:gd name="T44" fmla="*/ 6 w 93"/>
                <a:gd name="T45" fmla="*/ 14 h 33"/>
                <a:gd name="T46" fmla="*/ 40 w 93"/>
                <a:gd name="T47" fmla="*/ 12 h 33"/>
                <a:gd name="T48" fmla="*/ 6 w 93"/>
                <a:gd name="T49" fmla="*/ 10 h 33"/>
                <a:gd name="T50" fmla="*/ 40 w 93"/>
                <a:gd name="T51" fmla="*/ 10 h 33"/>
                <a:gd name="T52" fmla="*/ 84 w 93"/>
                <a:gd name="T53" fmla="*/ 4 h 33"/>
                <a:gd name="T54" fmla="*/ 57 w 93"/>
                <a:gd name="T55" fmla="*/ 5 h 33"/>
                <a:gd name="T56" fmla="*/ 55 w 93"/>
                <a:gd name="T57" fmla="*/ 7 h 33"/>
                <a:gd name="T58" fmla="*/ 54 w 93"/>
                <a:gd name="T59" fmla="*/ 8 h 33"/>
                <a:gd name="T60" fmla="*/ 54 w 93"/>
                <a:gd name="T61" fmla="*/ 10 h 33"/>
                <a:gd name="T62" fmla="*/ 64 w 93"/>
                <a:gd name="T63" fmla="*/ 29 h 33"/>
                <a:gd name="T64" fmla="*/ 85 w 93"/>
                <a:gd name="T65" fmla="*/ 26 h 33"/>
                <a:gd name="T66" fmla="*/ 59 w 93"/>
                <a:gd name="T67" fmla="*/ 25 h 33"/>
                <a:gd name="T68" fmla="*/ 86 w 93"/>
                <a:gd name="T69" fmla="*/ 24 h 33"/>
                <a:gd name="T70" fmla="*/ 87 w 93"/>
                <a:gd name="T71" fmla="*/ 22 h 33"/>
                <a:gd name="T72" fmla="*/ 56 w 93"/>
                <a:gd name="T73" fmla="*/ 21 h 33"/>
                <a:gd name="T74" fmla="*/ 87 w 93"/>
                <a:gd name="T75" fmla="*/ 21 h 33"/>
                <a:gd name="T76" fmla="*/ 54 w 93"/>
                <a:gd name="T77" fmla="*/ 15 h 33"/>
                <a:gd name="T78" fmla="*/ 88 w 93"/>
                <a:gd name="T79" fmla="*/ 14 h 33"/>
                <a:gd name="T80" fmla="*/ 88 w 93"/>
                <a:gd name="T81" fmla="*/ 12 h 33"/>
                <a:gd name="T82" fmla="*/ 90 w 93"/>
                <a:gd name="T83" fmla="*/ 6 h 33"/>
                <a:gd name="T84" fmla="*/ 92 w 93"/>
                <a:gd name="T85"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3" h="33">
                  <a:moveTo>
                    <a:pt x="92" y="2"/>
                  </a:moveTo>
                  <a:cubicBezTo>
                    <a:pt x="92" y="2"/>
                    <a:pt x="82" y="0"/>
                    <a:pt x="73" y="0"/>
                  </a:cubicBezTo>
                  <a:cubicBezTo>
                    <a:pt x="65" y="0"/>
                    <a:pt x="52" y="3"/>
                    <a:pt x="52" y="3"/>
                  </a:cubicBezTo>
                  <a:cubicBezTo>
                    <a:pt x="47" y="3"/>
                    <a:pt x="47" y="3"/>
                    <a:pt x="47" y="3"/>
                  </a:cubicBezTo>
                  <a:cubicBezTo>
                    <a:pt x="47" y="3"/>
                    <a:pt x="47" y="3"/>
                    <a:pt x="47" y="3"/>
                  </a:cubicBezTo>
                  <a:cubicBezTo>
                    <a:pt x="47" y="3"/>
                    <a:pt x="47" y="3"/>
                    <a:pt x="47" y="3"/>
                  </a:cubicBezTo>
                  <a:cubicBezTo>
                    <a:pt x="47" y="3"/>
                    <a:pt x="47" y="3"/>
                    <a:pt x="47" y="3"/>
                  </a:cubicBezTo>
                  <a:cubicBezTo>
                    <a:pt x="47" y="3"/>
                    <a:pt x="47" y="3"/>
                    <a:pt x="47" y="3"/>
                  </a:cubicBezTo>
                  <a:cubicBezTo>
                    <a:pt x="42" y="3"/>
                    <a:pt x="42" y="3"/>
                    <a:pt x="42" y="3"/>
                  </a:cubicBezTo>
                  <a:cubicBezTo>
                    <a:pt x="42" y="3"/>
                    <a:pt x="29" y="0"/>
                    <a:pt x="20" y="0"/>
                  </a:cubicBezTo>
                  <a:cubicBezTo>
                    <a:pt x="12" y="0"/>
                    <a:pt x="2" y="2"/>
                    <a:pt x="2" y="2"/>
                  </a:cubicBezTo>
                  <a:cubicBezTo>
                    <a:pt x="2" y="2"/>
                    <a:pt x="0" y="2"/>
                    <a:pt x="0" y="4"/>
                  </a:cubicBezTo>
                  <a:cubicBezTo>
                    <a:pt x="0" y="4"/>
                    <a:pt x="0" y="7"/>
                    <a:pt x="0" y="8"/>
                  </a:cubicBezTo>
                  <a:cubicBezTo>
                    <a:pt x="0" y="9"/>
                    <a:pt x="2" y="9"/>
                    <a:pt x="3" y="10"/>
                  </a:cubicBezTo>
                  <a:cubicBezTo>
                    <a:pt x="4" y="11"/>
                    <a:pt x="5" y="18"/>
                    <a:pt x="5" y="23"/>
                  </a:cubicBezTo>
                  <a:cubicBezTo>
                    <a:pt x="6" y="25"/>
                    <a:pt x="7" y="27"/>
                    <a:pt x="8" y="29"/>
                  </a:cubicBezTo>
                  <a:cubicBezTo>
                    <a:pt x="8" y="29"/>
                    <a:pt x="8" y="29"/>
                    <a:pt x="8" y="29"/>
                  </a:cubicBezTo>
                  <a:cubicBezTo>
                    <a:pt x="8" y="29"/>
                    <a:pt x="8" y="29"/>
                    <a:pt x="8" y="29"/>
                  </a:cubicBezTo>
                  <a:cubicBezTo>
                    <a:pt x="11" y="31"/>
                    <a:pt x="15" y="33"/>
                    <a:pt x="21" y="33"/>
                  </a:cubicBezTo>
                  <a:cubicBezTo>
                    <a:pt x="30" y="33"/>
                    <a:pt x="34" y="31"/>
                    <a:pt x="38" y="24"/>
                  </a:cubicBezTo>
                  <a:cubicBezTo>
                    <a:pt x="42" y="18"/>
                    <a:pt x="43" y="10"/>
                    <a:pt x="47" y="10"/>
                  </a:cubicBezTo>
                  <a:cubicBezTo>
                    <a:pt x="51" y="10"/>
                    <a:pt x="52" y="18"/>
                    <a:pt x="56" y="24"/>
                  </a:cubicBezTo>
                  <a:cubicBezTo>
                    <a:pt x="60" y="31"/>
                    <a:pt x="64" y="33"/>
                    <a:pt x="73" y="33"/>
                  </a:cubicBezTo>
                  <a:cubicBezTo>
                    <a:pt x="83" y="33"/>
                    <a:pt x="88" y="28"/>
                    <a:pt x="88" y="23"/>
                  </a:cubicBezTo>
                  <a:cubicBezTo>
                    <a:pt x="89" y="18"/>
                    <a:pt x="90" y="11"/>
                    <a:pt x="91" y="10"/>
                  </a:cubicBezTo>
                  <a:cubicBezTo>
                    <a:pt x="92" y="9"/>
                    <a:pt x="93" y="9"/>
                    <a:pt x="93" y="8"/>
                  </a:cubicBezTo>
                  <a:cubicBezTo>
                    <a:pt x="93" y="7"/>
                    <a:pt x="93" y="4"/>
                    <a:pt x="93" y="4"/>
                  </a:cubicBezTo>
                  <a:cubicBezTo>
                    <a:pt x="93" y="2"/>
                    <a:pt x="92" y="2"/>
                    <a:pt x="92" y="2"/>
                  </a:cubicBezTo>
                  <a:close/>
                  <a:moveTo>
                    <a:pt x="20" y="2"/>
                  </a:moveTo>
                  <a:cubicBezTo>
                    <a:pt x="25" y="2"/>
                    <a:pt x="30" y="2"/>
                    <a:pt x="34" y="4"/>
                  </a:cubicBezTo>
                  <a:cubicBezTo>
                    <a:pt x="9" y="4"/>
                    <a:pt x="9" y="4"/>
                    <a:pt x="9" y="4"/>
                  </a:cubicBezTo>
                  <a:cubicBezTo>
                    <a:pt x="12" y="2"/>
                    <a:pt x="15" y="2"/>
                    <a:pt x="20" y="2"/>
                  </a:cubicBezTo>
                  <a:close/>
                  <a:moveTo>
                    <a:pt x="8" y="5"/>
                  </a:moveTo>
                  <a:cubicBezTo>
                    <a:pt x="37" y="5"/>
                    <a:pt x="37" y="5"/>
                    <a:pt x="37" y="5"/>
                  </a:cubicBezTo>
                  <a:cubicBezTo>
                    <a:pt x="38" y="6"/>
                    <a:pt x="39" y="6"/>
                    <a:pt x="39" y="7"/>
                  </a:cubicBezTo>
                  <a:cubicBezTo>
                    <a:pt x="6" y="7"/>
                    <a:pt x="6" y="7"/>
                    <a:pt x="6" y="7"/>
                  </a:cubicBezTo>
                  <a:cubicBezTo>
                    <a:pt x="7" y="6"/>
                    <a:pt x="7" y="6"/>
                    <a:pt x="8" y="5"/>
                  </a:cubicBezTo>
                  <a:close/>
                  <a:moveTo>
                    <a:pt x="4" y="6"/>
                  </a:moveTo>
                  <a:cubicBezTo>
                    <a:pt x="3" y="6"/>
                    <a:pt x="2" y="6"/>
                    <a:pt x="2" y="6"/>
                  </a:cubicBezTo>
                  <a:cubicBezTo>
                    <a:pt x="2" y="5"/>
                    <a:pt x="3" y="5"/>
                    <a:pt x="4" y="5"/>
                  </a:cubicBezTo>
                  <a:cubicBezTo>
                    <a:pt x="4" y="5"/>
                    <a:pt x="5" y="5"/>
                    <a:pt x="5" y="6"/>
                  </a:cubicBezTo>
                  <a:cubicBezTo>
                    <a:pt x="5" y="6"/>
                    <a:pt x="4" y="6"/>
                    <a:pt x="4" y="6"/>
                  </a:cubicBezTo>
                  <a:close/>
                  <a:moveTo>
                    <a:pt x="22" y="31"/>
                  </a:moveTo>
                  <a:cubicBezTo>
                    <a:pt x="18" y="31"/>
                    <a:pt x="15" y="30"/>
                    <a:pt x="13" y="29"/>
                  </a:cubicBezTo>
                  <a:cubicBezTo>
                    <a:pt x="30" y="29"/>
                    <a:pt x="30" y="29"/>
                    <a:pt x="30" y="29"/>
                  </a:cubicBezTo>
                  <a:cubicBezTo>
                    <a:pt x="27" y="30"/>
                    <a:pt x="24" y="31"/>
                    <a:pt x="22" y="31"/>
                  </a:cubicBezTo>
                  <a:close/>
                  <a:moveTo>
                    <a:pt x="32" y="27"/>
                  </a:moveTo>
                  <a:cubicBezTo>
                    <a:pt x="10" y="27"/>
                    <a:pt x="10" y="27"/>
                    <a:pt x="10" y="27"/>
                  </a:cubicBezTo>
                  <a:cubicBezTo>
                    <a:pt x="10" y="27"/>
                    <a:pt x="9" y="26"/>
                    <a:pt x="9" y="26"/>
                  </a:cubicBezTo>
                  <a:cubicBezTo>
                    <a:pt x="9" y="26"/>
                    <a:pt x="9" y="25"/>
                    <a:pt x="8" y="25"/>
                  </a:cubicBezTo>
                  <a:cubicBezTo>
                    <a:pt x="34" y="25"/>
                    <a:pt x="34" y="25"/>
                    <a:pt x="34" y="25"/>
                  </a:cubicBezTo>
                  <a:cubicBezTo>
                    <a:pt x="34" y="26"/>
                    <a:pt x="33" y="27"/>
                    <a:pt x="32" y="27"/>
                  </a:cubicBezTo>
                  <a:close/>
                  <a:moveTo>
                    <a:pt x="36" y="24"/>
                  </a:moveTo>
                  <a:cubicBezTo>
                    <a:pt x="8" y="24"/>
                    <a:pt x="8" y="24"/>
                    <a:pt x="8" y="24"/>
                  </a:cubicBezTo>
                  <a:cubicBezTo>
                    <a:pt x="7" y="23"/>
                    <a:pt x="7" y="23"/>
                    <a:pt x="7" y="22"/>
                  </a:cubicBezTo>
                  <a:cubicBezTo>
                    <a:pt x="37" y="22"/>
                    <a:pt x="37" y="22"/>
                    <a:pt x="37" y="22"/>
                  </a:cubicBezTo>
                  <a:cubicBezTo>
                    <a:pt x="37" y="23"/>
                    <a:pt x="36" y="23"/>
                    <a:pt x="36" y="24"/>
                  </a:cubicBezTo>
                  <a:close/>
                  <a:moveTo>
                    <a:pt x="38" y="21"/>
                  </a:moveTo>
                  <a:cubicBezTo>
                    <a:pt x="7" y="21"/>
                    <a:pt x="7" y="21"/>
                    <a:pt x="7" y="21"/>
                  </a:cubicBezTo>
                  <a:cubicBezTo>
                    <a:pt x="6" y="20"/>
                    <a:pt x="6" y="19"/>
                    <a:pt x="6" y="19"/>
                  </a:cubicBezTo>
                  <a:cubicBezTo>
                    <a:pt x="39" y="19"/>
                    <a:pt x="39" y="19"/>
                    <a:pt x="39" y="19"/>
                  </a:cubicBezTo>
                  <a:cubicBezTo>
                    <a:pt x="38" y="19"/>
                    <a:pt x="38" y="20"/>
                    <a:pt x="38" y="21"/>
                  </a:cubicBezTo>
                  <a:close/>
                  <a:moveTo>
                    <a:pt x="39" y="17"/>
                  </a:moveTo>
                  <a:cubicBezTo>
                    <a:pt x="6" y="17"/>
                    <a:pt x="6" y="17"/>
                    <a:pt x="6" y="17"/>
                  </a:cubicBezTo>
                  <a:cubicBezTo>
                    <a:pt x="6" y="16"/>
                    <a:pt x="6" y="16"/>
                    <a:pt x="6" y="15"/>
                  </a:cubicBezTo>
                  <a:cubicBezTo>
                    <a:pt x="40" y="15"/>
                    <a:pt x="40" y="15"/>
                    <a:pt x="40" y="15"/>
                  </a:cubicBezTo>
                  <a:cubicBezTo>
                    <a:pt x="39" y="16"/>
                    <a:pt x="39" y="17"/>
                    <a:pt x="39" y="17"/>
                  </a:cubicBezTo>
                  <a:close/>
                  <a:moveTo>
                    <a:pt x="40" y="14"/>
                  </a:moveTo>
                  <a:cubicBezTo>
                    <a:pt x="6" y="14"/>
                    <a:pt x="6" y="14"/>
                    <a:pt x="6" y="14"/>
                  </a:cubicBezTo>
                  <a:cubicBezTo>
                    <a:pt x="6" y="13"/>
                    <a:pt x="6" y="13"/>
                    <a:pt x="6" y="13"/>
                  </a:cubicBezTo>
                  <a:cubicBezTo>
                    <a:pt x="6" y="12"/>
                    <a:pt x="6" y="12"/>
                    <a:pt x="6" y="12"/>
                  </a:cubicBezTo>
                  <a:cubicBezTo>
                    <a:pt x="40" y="12"/>
                    <a:pt x="40" y="12"/>
                    <a:pt x="40" y="12"/>
                  </a:cubicBezTo>
                  <a:cubicBezTo>
                    <a:pt x="40" y="12"/>
                    <a:pt x="40" y="13"/>
                    <a:pt x="40" y="14"/>
                  </a:cubicBezTo>
                  <a:close/>
                  <a:moveTo>
                    <a:pt x="40" y="10"/>
                  </a:moveTo>
                  <a:cubicBezTo>
                    <a:pt x="6" y="10"/>
                    <a:pt x="6" y="10"/>
                    <a:pt x="6" y="10"/>
                  </a:cubicBezTo>
                  <a:cubicBezTo>
                    <a:pt x="6" y="10"/>
                    <a:pt x="6" y="9"/>
                    <a:pt x="6" y="8"/>
                  </a:cubicBezTo>
                  <a:cubicBezTo>
                    <a:pt x="40" y="8"/>
                    <a:pt x="40" y="8"/>
                    <a:pt x="40" y="8"/>
                  </a:cubicBezTo>
                  <a:cubicBezTo>
                    <a:pt x="40" y="9"/>
                    <a:pt x="40" y="9"/>
                    <a:pt x="40" y="10"/>
                  </a:cubicBezTo>
                  <a:cubicBezTo>
                    <a:pt x="40" y="10"/>
                    <a:pt x="40" y="10"/>
                    <a:pt x="40" y="10"/>
                  </a:cubicBezTo>
                  <a:close/>
                  <a:moveTo>
                    <a:pt x="74" y="2"/>
                  </a:moveTo>
                  <a:cubicBezTo>
                    <a:pt x="79" y="2"/>
                    <a:pt x="82" y="2"/>
                    <a:pt x="84" y="4"/>
                  </a:cubicBezTo>
                  <a:cubicBezTo>
                    <a:pt x="60" y="4"/>
                    <a:pt x="60" y="4"/>
                    <a:pt x="60" y="4"/>
                  </a:cubicBezTo>
                  <a:cubicBezTo>
                    <a:pt x="64" y="2"/>
                    <a:pt x="69" y="2"/>
                    <a:pt x="74" y="2"/>
                  </a:cubicBezTo>
                  <a:close/>
                  <a:moveTo>
                    <a:pt x="57" y="5"/>
                  </a:moveTo>
                  <a:cubicBezTo>
                    <a:pt x="86" y="5"/>
                    <a:pt x="86" y="5"/>
                    <a:pt x="86" y="5"/>
                  </a:cubicBezTo>
                  <a:cubicBezTo>
                    <a:pt x="87" y="6"/>
                    <a:pt x="87" y="6"/>
                    <a:pt x="87" y="7"/>
                  </a:cubicBezTo>
                  <a:cubicBezTo>
                    <a:pt x="55" y="7"/>
                    <a:pt x="55" y="7"/>
                    <a:pt x="55" y="7"/>
                  </a:cubicBezTo>
                  <a:cubicBezTo>
                    <a:pt x="55" y="6"/>
                    <a:pt x="56" y="6"/>
                    <a:pt x="57" y="5"/>
                  </a:cubicBezTo>
                  <a:close/>
                  <a:moveTo>
                    <a:pt x="54" y="10"/>
                  </a:moveTo>
                  <a:cubicBezTo>
                    <a:pt x="54" y="9"/>
                    <a:pt x="54" y="9"/>
                    <a:pt x="54" y="8"/>
                  </a:cubicBezTo>
                  <a:cubicBezTo>
                    <a:pt x="88" y="8"/>
                    <a:pt x="88" y="8"/>
                    <a:pt x="88" y="8"/>
                  </a:cubicBezTo>
                  <a:cubicBezTo>
                    <a:pt x="88" y="9"/>
                    <a:pt x="88" y="10"/>
                    <a:pt x="88" y="10"/>
                  </a:cubicBezTo>
                  <a:cubicBezTo>
                    <a:pt x="54" y="10"/>
                    <a:pt x="54" y="10"/>
                    <a:pt x="54" y="10"/>
                  </a:cubicBezTo>
                  <a:cubicBezTo>
                    <a:pt x="54" y="10"/>
                    <a:pt x="54" y="10"/>
                    <a:pt x="54" y="10"/>
                  </a:cubicBezTo>
                  <a:close/>
                  <a:moveTo>
                    <a:pt x="72" y="31"/>
                  </a:moveTo>
                  <a:cubicBezTo>
                    <a:pt x="70" y="31"/>
                    <a:pt x="67" y="30"/>
                    <a:pt x="64" y="29"/>
                  </a:cubicBezTo>
                  <a:cubicBezTo>
                    <a:pt x="81" y="29"/>
                    <a:pt x="81" y="29"/>
                    <a:pt x="81" y="29"/>
                  </a:cubicBezTo>
                  <a:cubicBezTo>
                    <a:pt x="79" y="30"/>
                    <a:pt x="76" y="31"/>
                    <a:pt x="72" y="31"/>
                  </a:cubicBezTo>
                  <a:close/>
                  <a:moveTo>
                    <a:pt x="85" y="26"/>
                  </a:moveTo>
                  <a:cubicBezTo>
                    <a:pt x="85" y="26"/>
                    <a:pt x="84" y="27"/>
                    <a:pt x="83" y="27"/>
                  </a:cubicBezTo>
                  <a:cubicBezTo>
                    <a:pt x="62" y="27"/>
                    <a:pt x="62" y="27"/>
                    <a:pt x="62" y="27"/>
                  </a:cubicBezTo>
                  <a:cubicBezTo>
                    <a:pt x="61" y="27"/>
                    <a:pt x="60" y="26"/>
                    <a:pt x="59" y="25"/>
                  </a:cubicBezTo>
                  <a:cubicBezTo>
                    <a:pt x="85" y="25"/>
                    <a:pt x="85" y="25"/>
                    <a:pt x="85" y="25"/>
                  </a:cubicBezTo>
                  <a:cubicBezTo>
                    <a:pt x="85" y="25"/>
                    <a:pt x="85" y="26"/>
                    <a:pt x="85" y="26"/>
                  </a:cubicBezTo>
                  <a:close/>
                  <a:moveTo>
                    <a:pt x="86" y="24"/>
                  </a:moveTo>
                  <a:cubicBezTo>
                    <a:pt x="58" y="24"/>
                    <a:pt x="58" y="24"/>
                    <a:pt x="58" y="24"/>
                  </a:cubicBezTo>
                  <a:cubicBezTo>
                    <a:pt x="58" y="23"/>
                    <a:pt x="57" y="23"/>
                    <a:pt x="57" y="22"/>
                  </a:cubicBezTo>
                  <a:cubicBezTo>
                    <a:pt x="87" y="22"/>
                    <a:pt x="87" y="22"/>
                    <a:pt x="87" y="22"/>
                  </a:cubicBezTo>
                  <a:cubicBezTo>
                    <a:pt x="87" y="23"/>
                    <a:pt x="86" y="23"/>
                    <a:pt x="86" y="24"/>
                  </a:cubicBezTo>
                  <a:close/>
                  <a:moveTo>
                    <a:pt x="87" y="21"/>
                  </a:moveTo>
                  <a:cubicBezTo>
                    <a:pt x="56" y="21"/>
                    <a:pt x="56" y="21"/>
                    <a:pt x="56" y="21"/>
                  </a:cubicBezTo>
                  <a:cubicBezTo>
                    <a:pt x="56" y="20"/>
                    <a:pt x="55" y="19"/>
                    <a:pt x="55" y="19"/>
                  </a:cubicBezTo>
                  <a:cubicBezTo>
                    <a:pt x="88" y="19"/>
                    <a:pt x="88" y="19"/>
                    <a:pt x="88" y="19"/>
                  </a:cubicBezTo>
                  <a:cubicBezTo>
                    <a:pt x="88" y="19"/>
                    <a:pt x="87" y="20"/>
                    <a:pt x="87" y="21"/>
                  </a:cubicBezTo>
                  <a:close/>
                  <a:moveTo>
                    <a:pt x="88" y="17"/>
                  </a:moveTo>
                  <a:cubicBezTo>
                    <a:pt x="55" y="17"/>
                    <a:pt x="55" y="17"/>
                    <a:pt x="55" y="17"/>
                  </a:cubicBezTo>
                  <a:cubicBezTo>
                    <a:pt x="55" y="17"/>
                    <a:pt x="54" y="16"/>
                    <a:pt x="54" y="15"/>
                  </a:cubicBezTo>
                  <a:cubicBezTo>
                    <a:pt x="88" y="15"/>
                    <a:pt x="88" y="15"/>
                    <a:pt x="88" y="15"/>
                  </a:cubicBezTo>
                  <a:cubicBezTo>
                    <a:pt x="88" y="16"/>
                    <a:pt x="88" y="16"/>
                    <a:pt x="88" y="17"/>
                  </a:cubicBezTo>
                  <a:close/>
                  <a:moveTo>
                    <a:pt x="88" y="14"/>
                  </a:moveTo>
                  <a:cubicBezTo>
                    <a:pt x="54" y="14"/>
                    <a:pt x="54" y="14"/>
                    <a:pt x="54" y="14"/>
                  </a:cubicBezTo>
                  <a:cubicBezTo>
                    <a:pt x="54" y="13"/>
                    <a:pt x="54" y="12"/>
                    <a:pt x="54" y="12"/>
                  </a:cubicBezTo>
                  <a:cubicBezTo>
                    <a:pt x="88" y="12"/>
                    <a:pt x="88" y="12"/>
                    <a:pt x="88" y="12"/>
                  </a:cubicBezTo>
                  <a:cubicBezTo>
                    <a:pt x="88" y="12"/>
                    <a:pt x="88" y="12"/>
                    <a:pt x="88" y="13"/>
                  </a:cubicBezTo>
                  <a:cubicBezTo>
                    <a:pt x="88" y="13"/>
                    <a:pt x="88" y="13"/>
                    <a:pt x="88" y="14"/>
                  </a:cubicBezTo>
                  <a:close/>
                  <a:moveTo>
                    <a:pt x="90" y="6"/>
                  </a:moveTo>
                  <a:cubicBezTo>
                    <a:pt x="90" y="6"/>
                    <a:pt x="89" y="6"/>
                    <a:pt x="88" y="6"/>
                  </a:cubicBezTo>
                  <a:cubicBezTo>
                    <a:pt x="89" y="5"/>
                    <a:pt x="90" y="5"/>
                    <a:pt x="90" y="5"/>
                  </a:cubicBezTo>
                  <a:cubicBezTo>
                    <a:pt x="91" y="5"/>
                    <a:pt x="92" y="5"/>
                    <a:pt x="92" y="6"/>
                  </a:cubicBezTo>
                  <a:cubicBezTo>
                    <a:pt x="92" y="6"/>
                    <a:pt x="91" y="6"/>
                    <a:pt x="90" y="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2" name="Rectangle 30"/>
            <p:cNvSpPr>
              <a:spLocks noChangeArrowheads="1"/>
            </p:cNvSpPr>
            <p:nvPr userDrawn="1"/>
          </p:nvSpPr>
          <p:spPr bwMode="auto">
            <a:xfrm>
              <a:off x="5555" y="1722"/>
              <a:ext cx="383" cy="12"/>
            </a:xfrm>
            <a:prstGeom prst="rect">
              <a:avLst/>
            </a:prstGeom>
            <a:solidFill>
              <a:srgbClr val="C69B7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35"/>
            <p:cNvSpPr>
              <a:spLocks noEditPoints="1"/>
            </p:cNvSpPr>
            <p:nvPr userDrawn="1"/>
          </p:nvSpPr>
          <p:spPr bwMode="auto">
            <a:xfrm>
              <a:off x="6213" y="3596"/>
              <a:ext cx="746" cy="746"/>
            </a:xfrm>
            <a:custGeom>
              <a:avLst/>
              <a:gdLst>
                <a:gd name="T0" fmla="*/ 117 w 234"/>
                <a:gd name="T1" fmla="*/ 234 h 234"/>
                <a:gd name="T2" fmla="*/ 0 w 234"/>
                <a:gd name="T3" fmla="*/ 117 h 234"/>
                <a:gd name="T4" fmla="*/ 117 w 234"/>
                <a:gd name="T5" fmla="*/ 0 h 234"/>
                <a:gd name="T6" fmla="*/ 234 w 234"/>
                <a:gd name="T7" fmla="*/ 117 h 234"/>
                <a:gd name="T8" fmla="*/ 117 w 234"/>
                <a:gd name="T9" fmla="*/ 234 h 234"/>
                <a:gd name="T10" fmla="*/ 117 w 234"/>
                <a:gd name="T11" fmla="*/ 18 h 234"/>
                <a:gd name="T12" fmla="*/ 18 w 234"/>
                <a:gd name="T13" fmla="*/ 117 h 234"/>
                <a:gd name="T14" fmla="*/ 117 w 234"/>
                <a:gd name="T15" fmla="*/ 216 h 234"/>
                <a:gd name="T16" fmla="*/ 216 w 234"/>
                <a:gd name="T17" fmla="*/ 117 h 234"/>
                <a:gd name="T18" fmla="*/ 117 w 234"/>
                <a:gd name="T19" fmla="*/ 1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234"/>
                  </a:moveTo>
                  <a:cubicBezTo>
                    <a:pt x="53" y="234"/>
                    <a:pt x="0" y="182"/>
                    <a:pt x="0" y="117"/>
                  </a:cubicBezTo>
                  <a:cubicBezTo>
                    <a:pt x="0" y="53"/>
                    <a:pt x="53" y="0"/>
                    <a:pt x="117" y="0"/>
                  </a:cubicBezTo>
                  <a:cubicBezTo>
                    <a:pt x="182" y="0"/>
                    <a:pt x="234" y="53"/>
                    <a:pt x="234" y="117"/>
                  </a:cubicBezTo>
                  <a:cubicBezTo>
                    <a:pt x="234" y="182"/>
                    <a:pt x="182" y="234"/>
                    <a:pt x="117" y="234"/>
                  </a:cubicBezTo>
                  <a:close/>
                  <a:moveTo>
                    <a:pt x="117" y="18"/>
                  </a:moveTo>
                  <a:cubicBezTo>
                    <a:pt x="63" y="18"/>
                    <a:pt x="18" y="63"/>
                    <a:pt x="18" y="117"/>
                  </a:cubicBezTo>
                  <a:cubicBezTo>
                    <a:pt x="18" y="172"/>
                    <a:pt x="63" y="216"/>
                    <a:pt x="117" y="216"/>
                  </a:cubicBezTo>
                  <a:cubicBezTo>
                    <a:pt x="172" y="216"/>
                    <a:pt x="216" y="172"/>
                    <a:pt x="216" y="117"/>
                  </a:cubicBezTo>
                  <a:cubicBezTo>
                    <a:pt x="216" y="63"/>
                    <a:pt x="172" y="18"/>
                    <a:pt x="117" y="18"/>
                  </a:cubicBez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6"/>
            <p:cNvSpPr>
              <a:spLocks noChangeShapeType="1"/>
            </p:cNvSpPr>
            <p:nvPr userDrawn="1"/>
          </p:nvSpPr>
          <p:spPr bwMode="auto">
            <a:xfrm flipV="1">
              <a:off x="6586" y="3060"/>
              <a:ext cx="0" cy="922"/>
            </a:xfrm>
            <a:prstGeom prst="line">
              <a:avLst/>
            </a:prstGeom>
            <a:noFill/>
            <a:ln w="106363" cap="rnd">
              <a:solidFill>
                <a:srgbClr val="009E4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37"/>
            <p:cNvSpPr>
              <a:spLocks/>
            </p:cNvSpPr>
            <p:nvPr userDrawn="1"/>
          </p:nvSpPr>
          <p:spPr bwMode="auto">
            <a:xfrm>
              <a:off x="6353" y="2978"/>
              <a:ext cx="421" cy="117"/>
            </a:xfrm>
            <a:custGeom>
              <a:avLst/>
              <a:gdLst>
                <a:gd name="T0" fmla="*/ 0 w 132"/>
                <a:gd name="T1" fmla="*/ 0 h 37"/>
                <a:gd name="T2" fmla="*/ 83 w 132"/>
                <a:gd name="T3" fmla="*/ 37 h 37"/>
                <a:gd name="T4" fmla="*/ 132 w 132"/>
                <a:gd name="T5" fmla="*/ 0 h 37"/>
                <a:gd name="T6" fmla="*/ 0 w 132"/>
                <a:gd name="T7" fmla="*/ 0 h 37"/>
              </a:gdLst>
              <a:ahLst/>
              <a:cxnLst>
                <a:cxn ang="0">
                  <a:pos x="T0" y="T1"/>
                </a:cxn>
                <a:cxn ang="0">
                  <a:pos x="T2" y="T3"/>
                </a:cxn>
                <a:cxn ang="0">
                  <a:pos x="T4" y="T5"/>
                </a:cxn>
                <a:cxn ang="0">
                  <a:pos x="T6" y="T7"/>
                </a:cxn>
              </a:cxnLst>
              <a:rect l="0" t="0" r="r" b="b"/>
              <a:pathLst>
                <a:path w="132" h="37">
                  <a:moveTo>
                    <a:pt x="0" y="0"/>
                  </a:moveTo>
                  <a:cubicBezTo>
                    <a:pt x="13" y="22"/>
                    <a:pt x="55" y="37"/>
                    <a:pt x="83" y="37"/>
                  </a:cubicBezTo>
                  <a:cubicBezTo>
                    <a:pt x="111" y="37"/>
                    <a:pt x="132" y="18"/>
                    <a:pt x="132" y="0"/>
                  </a:cubicBezTo>
                  <a:lnTo>
                    <a:pt x="0" y="0"/>
                  </a:ln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0" name="Oval 38"/>
            <p:cNvSpPr>
              <a:spLocks noChangeArrowheads="1"/>
            </p:cNvSpPr>
            <p:nvPr userDrawn="1"/>
          </p:nvSpPr>
          <p:spPr bwMode="auto">
            <a:xfrm>
              <a:off x="6506" y="3896"/>
              <a:ext cx="185" cy="184"/>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1" name="Freeform 39"/>
            <p:cNvSpPr>
              <a:spLocks/>
            </p:cNvSpPr>
            <p:nvPr userDrawn="1"/>
          </p:nvSpPr>
          <p:spPr bwMode="auto">
            <a:xfrm>
              <a:off x="6509" y="3765"/>
              <a:ext cx="154" cy="437"/>
            </a:xfrm>
            <a:custGeom>
              <a:avLst/>
              <a:gdLst>
                <a:gd name="T0" fmla="*/ 41 w 48"/>
                <a:gd name="T1" fmla="*/ 137 h 137"/>
                <a:gd name="T2" fmla="*/ 34 w 48"/>
                <a:gd name="T3" fmla="*/ 131 h 137"/>
                <a:gd name="T4" fmla="*/ 1 w 48"/>
                <a:gd name="T5" fmla="*/ 9 h 137"/>
                <a:gd name="T6" fmla="*/ 6 w 48"/>
                <a:gd name="T7" fmla="*/ 1 h 137"/>
                <a:gd name="T8" fmla="*/ 15 w 48"/>
                <a:gd name="T9" fmla="*/ 6 h 137"/>
                <a:gd name="T10" fmla="*/ 47 w 48"/>
                <a:gd name="T11" fmla="*/ 128 h 137"/>
                <a:gd name="T12" fmla="*/ 42 w 48"/>
                <a:gd name="T13" fmla="*/ 136 h 137"/>
                <a:gd name="T14" fmla="*/ 41 w 48"/>
                <a:gd name="T15" fmla="*/ 137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37">
                  <a:moveTo>
                    <a:pt x="41" y="137"/>
                  </a:moveTo>
                  <a:cubicBezTo>
                    <a:pt x="38" y="137"/>
                    <a:pt x="35" y="134"/>
                    <a:pt x="34" y="131"/>
                  </a:cubicBezTo>
                  <a:cubicBezTo>
                    <a:pt x="1" y="9"/>
                    <a:pt x="1" y="9"/>
                    <a:pt x="1" y="9"/>
                  </a:cubicBezTo>
                  <a:cubicBezTo>
                    <a:pt x="0" y="5"/>
                    <a:pt x="3" y="2"/>
                    <a:pt x="6" y="1"/>
                  </a:cubicBezTo>
                  <a:cubicBezTo>
                    <a:pt x="10" y="0"/>
                    <a:pt x="14" y="2"/>
                    <a:pt x="15" y="6"/>
                  </a:cubicBezTo>
                  <a:cubicBezTo>
                    <a:pt x="47" y="128"/>
                    <a:pt x="47" y="128"/>
                    <a:pt x="47" y="128"/>
                  </a:cubicBezTo>
                  <a:cubicBezTo>
                    <a:pt x="48" y="131"/>
                    <a:pt x="46" y="135"/>
                    <a:pt x="42" y="136"/>
                  </a:cubicBezTo>
                  <a:cubicBezTo>
                    <a:pt x="42" y="136"/>
                    <a:pt x="41" y="137"/>
                    <a:pt x="41" y="137"/>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2" name="Freeform 40"/>
            <p:cNvSpPr>
              <a:spLocks/>
            </p:cNvSpPr>
            <p:nvPr userDrawn="1"/>
          </p:nvSpPr>
          <p:spPr bwMode="auto">
            <a:xfrm>
              <a:off x="6564" y="4157"/>
              <a:ext cx="150" cy="45"/>
            </a:xfrm>
            <a:custGeom>
              <a:avLst/>
              <a:gdLst>
                <a:gd name="T0" fmla="*/ 40 w 47"/>
                <a:gd name="T1" fmla="*/ 14 h 14"/>
                <a:gd name="T2" fmla="*/ 7 w 47"/>
                <a:gd name="T3" fmla="*/ 14 h 14"/>
                <a:gd name="T4" fmla="*/ 0 w 47"/>
                <a:gd name="T5" fmla="*/ 7 h 14"/>
                <a:gd name="T6" fmla="*/ 7 w 47"/>
                <a:gd name="T7" fmla="*/ 0 h 14"/>
                <a:gd name="T8" fmla="*/ 40 w 47"/>
                <a:gd name="T9" fmla="*/ 0 h 14"/>
                <a:gd name="T10" fmla="*/ 47 w 47"/>
                <a:gd name="T11" fmla="*/ 7 h 14"/>
                <a:gd name="T12" fmla="*/ 40 w 4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47" h="14">
                  <a:moveTo>
                    <a:pt x="40" y="14"/>
                  </a:moveTo>
                  <a:cubicBezTo>
                    <a:pt x="7" y="14"/>
                    <a:pt x="7" y="14"/>
                    <a:pt x="7" y="14"/>
                  </a:cubicBezTo>
                  <a:cubicBezTo>
                    <a:pt x="3" y="14"/>
                    <a:pt x="0" y="10"/>
                    <a:pt x="0" y="7"/>
                  </a:cubicBezTo>
                  <a:cubicBezTo>
                    <a:pt x="0" y="3"/>
                    <a:pt x="3" y="0"/>
                    <a:pt x="7" y="0"/>
                  </a:cubicBezTo>
                  <a:cubicBezTo>
                    <a:pt x="40" y="0"/>
                    <a:pt x="40" y="0"/>
                    <a:pt x="40" y="0"/>
                  </a:cubicBezTo>
                  <a:cubicBezTo>
                    <a:pt x="44" y="0"/>
                    <a:pt x="47" y="3"/>
                    <a:pt x="47" y="7"/>
                  </a:cubicBezTo>
                  <a:cubicBezTo>
                    <a:pt x="47" y="10"/>
                    <a:pt x="44" y="14"/>
                    <a:pt x="40" y="1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3" name="Freeform 41"/>
            <p:cNvSpPr>
              <a:spLocks/>
            </p:cNvSpPr>
            <p:nvPr userDrawn="1"/>
          </p:nvSpPr>
          <p:spPr bwMode="auto">
            <a:xfrm>
              <a:off x="6462" y="3765"/>
              <a:ext cx="150" cy="45"/>
            </a:xfrm>
            <a:custGeom>
              <a:avLst/>
              <a:gdLst>
                <a:gd name="T0" fmla="*/ 40 w 47"/>
                <a:gd name="T1" fmla="*/ 14 h 14"/>
                <a:gd name="T2" fmla="*/ 7 w 47"/>
                <a:gd name="T3" fmla="*/ 14 h 14"/>
                <a:gd name="T4" fmla="*/ 0 w 47"/>
                <a:gd name="T5" fmla="*/ 7 h 14"/>
                <a:gd name="T6" fmla="*/ 7 w 47"/>
                <a:gd name="T7" fmla="*/ 0 h 14"/>
                <a:gd name="T8" fmla="*/ 40 w 47"/>
                <a:gd name="T9" fmla="*/ 0 h 14"/>
                <a:gd name="T10" fmla="*/ 47 w 47"/>
                <a:gd name="T11" fmla="*/ 7 h 14"/>
                <a:gd name="T12" fmla="*/ 40 w 4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47" h="14">
                  <a:moveTo>
                    <a:pt x="40" y="14"/>
                  </a:moveTo>
                  <a:cubicBezTo>
                    <a:pt x="7" y="14"/>
                    <a:pt x="7" y="14"/>
                    <a:pt x="7" y="14"/>
                  </a:cubicBezTo>
                  <a:cubicBezTo>
                    <a:pt x="3" y="14"/>
                    <a:pt x="0" y="11"/>
                    <a:pt x="0" y="7"/>
                  </a:cubicBezTo>
                  <a:cubicBezTo>
                    <a:pt x="0" y="4"/>
                    <a:pt x="3" y="0"/>
                    <a:pt x="7" y="0"/>
                  </a:cubicBezTo>
                  <a:cubicBezTo>
                    <a:pt x="40" y="0"/>
                    <a:pt x="40" y="0"/>
                    <a:pt x="40" y="0"/>
                  </a:cubicBezTo>
                  <a:cubicBezTo>
                    <a:pt x="44" y="0"/>
                    <a:pt x="47" y="4"/>
                    <a:pt x="47" y="7"/>
                  </a:cubicBezTo>
                  <a:cubicBezTo>
                    <a:pt x="47" y="11"/>
                    <a:pt x="44" y="14"/>
                    <a:pt x="40" y="1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1722501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Accent Color 1 with Illu">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639268"/>
            <a:ext cx="7545593" cy="2134397"/>
          </a:xfrm>
          <a:noFill/>
        </p:spPr>
        <p:txBody>
          <a:bodyPr lIns="274320" tIns="91440" bIns="91440" anchor="t" anchorCtr="0">
            <a:normAutofit/>
          </a:bodyPr>
          <a:lstStyle>
            <a:lvl1pPr>
              <a:defRPr sz="7139" spc="-100" baseline="0">
                <a:gradFill>
                  <a:gsLst>
                    <a:gs pos="91241">
                      <a:schemeClr val="tx1"/>
                    </a:gs>
                    <a:gs pos="57000">
                      <a:schemeClr val="tx1"/>
                    </a:gs>
                    <a:gs pos="18000">
                      <a:schemeClr val="tx1"/>
                    </a:gs>
                  </a:gsLst>
                  <a:lin ang="5400000" scaled="0"/>
                </a:gradFill>
              </a:defRPr>
            </a:lvl1pPr>
          </a:lstStyle>
          <a:p>
            <a:r>
              <a:rPr lang="en-US" dirty="0"/>
              <a:t>Section title</a:t>
            </a:r>
          </a:p>
        </p:txBody>
      </p:sp>
      <p:sp>
        <p:nvSpPr>
          <p:cNvPr id="4" name="Text Placeholder 3"/>
          <p:cNvSpPr>
            <a:spLocks noGrp="1"/>
          </p:cNvSpPr>
          <p:nvPr>
            <p:ph type="body" sz="quarter" idx="10" hasCustomPrompt="1"/>
          </p:nvPr>
        </p:nvSpPr>
        <p:spPr>
          <a:xfrm>
            <a:off x="0" y="4761783"/>
            <a:ext cx="7569509" cy="1492813"/>
          </a:xfrm>
        </p:spPr>
        <p:txBody>
          <a:bodyPr lIns="274320">
            <a:normAutofit/>
          </a:bodyPr>
          <a:lstStyle>
            <a:lvl1pPr marL="0" indent="0">
              <a:buNone/>
              <a:defRPr sz="3672"/>
            </a:lvl1pPr>
          </a:lstStyle>
          <a:p>
            <a:r>
              <a:rPr lang="en-US" dirty="0"/>
              <a:t>Click to edit subtitle</a:t>
            </a:r>
          </a:p>
        </p:txBody>
      </p:sp>
      <p:pic>
        <p:nvPicPr>
          <p:cNvPr id="5" name="Picture 4"/>
          <p:cNvPicPr>
            <a:picLocks noChangeAspect="1"/>
          </p:cNvPicPr>
          <p:nvPr userDrawn="1"/>
        </p:nvPicPr>
        <p:blipFill>
          <a:blip r:embed="rId2"/>
          <a:stretch>
            <a:fillRect/>
          </a:stretch>
        </p:blipFill>
        <p:spPr>
          <a:xfrm>
            <a:off x="7578173" y="310249"/>
            <a:ext cx="4497858" cy="6528223"/>
          </a:xfrm>
          <a:prstGeom prst="rect">
            <a:avLst/>
          </a:prstGeom>
        </p:spPr>
      </p:pic>
    </p:spTree>
    <p:extLst>
      <p:ext uri="{BB962C8B-B14F-4D97-AF65-F5344CB8AC3E}">
        <p14:creationId xmlns:p14="http://schemas.microsoft.com/office/powerpoint/2010/main" val="870715872"/>
      </p:ext>
    </p:extLst>
  </p:cSld>
  <p:clrMapOvr>
    <a:overrideClrMapping bg1="dk1" tx1="lt1" bg2="dk2" tx2="lt2" accent1="accent1" accent2="accent2" accent3="accent3" accent4="accent4" accent5="accent5" accent6="accent6" hlink="hlink" folHlink="folHlink"/>
  </p:clrMapOvr>
  <p:transition advClick="0" advTm="10000">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Section Title Accent Color 1 with Illu">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639268"/>
            <a:ext cx="7545593" cy="2134397"/>
          </a:xfrm>
          <a:noFill/>
        </p:spPr>
        <p:txBody>
          <a:bodyPr lIns="274320" tIns="91440" bIns="91440" anchor="t" anchorCtr="0">
            <a:normAutofit/>
          </a:bodyPr>
          <a:lstStyle>
            <a:lvl1pPr>
              <a:defRPr sz="7139" spc="-100" baseline="0">
                <a:gradFill>
                  <a:gsLst>
                    <a:gs pos="91241">
                      <a:schemeClr val="tx1"/>
                    </a:gs>
                    <a:gs pos="57000">
                      <a:schemeClr val="tx1"/>
                    </a:gs>
                    <a:gs pos="18000">
                      <a:schemeClr val="tx1"/>
                    </a:gs>
                  </a:gsLst>
                  <a:lin ang="5400000" scaled="0"/>
                </a:gradFill>
              </a:defRPr>
            </a:lvl1pPr>
          </a:lstStyle>
          <a:p>
            <a:r>
              <a:rPr lang="en-US" dirty="0"/>
              <a:t>Demo</a:t>
            </a:r>
          </a:p>
        </p:txBody>
      </p:sp>
      <p:sp>
        <p:nvSpPr>
          <p:cNvPr id="4" name="Text Placeholder 3"/>
          <p:cNvSpPr>
            <a:spLocks noGrp="1"/>
          </p:cNvSpPr>
          <p:nvPr>
            <p:ph type="body" sz="quarter" idx="10" hasCustomPrompt="1"/>
          </p:nvPr>
        </p:nvSpPr>
        <p:spPr>
          <a:xfrm>
            <a:off x="0" y="4761783"/>
            <a:ext cx="7569509" cy="1492813"/>
          </a:xfrm>
        </p:spPr>
        <p:txBody>
          <a:bodyPr lIns="274320">
            <a:normAutofit/>
          </a:bodyPr>
          <a:lstStyle>
            <a:lvl1pPr marL="0" indent="0">
              <a:buNone/>
              <a:defRPr sz="3672"/>
            </a:lvl1pPr>
          </a:lstStyle>
          <a:p>
            <a:r>
              <a:rPr lang="en-US" dirty="0"/>
              <a:t>Click to edit subtitle</a:t>
            </a:r>
          </a:p>
        </p:txBody>
      </p:sp>
      <p:pic>
        <p:nvPicPr>
          <p:cNvPr id="5" name="Picture 4"/>
          <p:cNvPicPr>
            <a:picLocks noChangeAspect="1"/>
          </p:cNvPicPr>
          <p:nvPr userDrawn="1"/>
        </p:nvPicPr>
        <p:blipFill>
          <a:blip r:embed="rId2"/>
          <a:stretch>
            <a:fillRect/>
          </a:stretch>
        </p:blipFill>
        <p:spPr>
          <a:xfrm>
            <a:off x="7578173" y="310249"/>
            <a:ext cx="4497858" cy="6528223"/>
          </a:xfrm>
          <a:prstGeom prst="rect">
            <a:avLst/>
          </a:prstGeom>
        </p:spPr>
      </p:pic>
    </p:spTree>
    <p:extLst>
      <p:ext uri="{BB962C8B-B14F-4D97-AF65-F5344CB8AC3E}">
        <p14:creationId xmlns:p14="http://schemas.microsoft.com/office/powerpoint/2010/main" val="879836986"/>
      </p:ext>
    </p:extLst>
  </p:cSld>
  <p:clrMapOvr>
    <a:overrideClrMapping bg1="dk1" tx1="lt1" bg2="dk2" tx2="lt2" accent1="accent1" accent2="accent2" accent3="accent3" accent4="accent4" accent5="accent5" accent6="accent6" hlink="hlink" folHlink="folHlink"/>
  </p:clrMapOvr>
  <p:transition advClick="0" advTm="10000">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
            <a:ext cx="12436475" cy="1020377"/>
          </a:xfrm>
        </p:spPr>
        <p:txBody>
          <a:bodyPr lIns="274320" tIns="228600" anchor="t" anchorCtr="0"/>
          <a:lstStyle>
            <a:lvl1pPr>
              <a:defRPr/>
            </a:lvl1pPr>
          </a:lstStyle>
          <a:p>
            <a:r>
              <a:rPr lang="en-US" dirty="0"/>
              <a:t>Title</a:t>
            </a:r>
          </a:p>
        </p:txBody>
      </p:sp>
      <p:sp>
        <p:nvSpPr>
          <p:cNvPr id="7" name="Text Placeholder 6"/>
          <p:cNvSpPr>
            <a:spLocks noGrp="1"/>
          </p:cNvSpPr>
          <p:nvPr>
            <p:ph type="body" sz="quarter" idx="13" hasCustomPrompt="1"/>
          </p:nvPr>
        </p:nvSpPr>
        <p:spPr>
          <a:xfrm>
            <a:off x="0" y="1031370"/>
            <a:ext cx="12436475" cy="548570"/>
          </a:xfrm>
        </p:spPr>
        <p:txBody>
          <a:bodyPr lIns="274320" tIns="0"/>
          <a:lstStyle>
            <a:lvl1pPr marL="0" indent="0">
              <a:buNone/>
              <a:defRPr/>
            </a:lvl1pPr>
          </a:lstStyle>
          <a:p>
            <a:pPr lvl="0"/>
            <a:r>
              <a:rPr lang="en-US" dirty="0"/>
              <a:t>Subtitle</a:t>
            </a:r>
          </a:p>
        </p:txBody>
      </p:sp>
    </p:spTree>
    <p:extLst>
      <p:ext uri="{BB962C8B-B14F-4D97-AF65-F5344CB8AC3E}">
        <p14:creationId xmlns:p14="http://schemas.microsoft.com/office/powerpoint/2010/main" val="150067252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_Title only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
            <a:ext cx="12436475" cy="1020377"/>
          </a:xfrm>
        </p:spPr>
        <p:txBody>
          <a:bodyPr lIns="274320" tIns="228600" anchor="t" anchorCtr="0"/>
          <a:lstStyle>
            <a:lvl1pPr>
              <a:defRPr/>
            </a:lvl1pPr>
          </a:lstStyle>
          <a:p>
            <a:r>
              <a:rPr lang="en-US" dirty="0"/>
              <a:t>Title</a:t>
            </a:r>
          </a:p>
        </p:txBody>
      </p:sp>
    </p:spTree>
    <p:extLst>
      <p:ext uri="{BB962C8B-B14F-4D97-AF65-F5344CB8AC3E}">
        <p14:creationId xmlns:p14="http://schemas.microsoft.com/office/powerpoint/2010/main" val="39329094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DarkVert50">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bg1"/>
                </a:solidFill>
              </a:defRPr>
            </a:lvl1pPr>
          </a:lstStyle>
          <a:p>
            <a:fld id="{B55D4DEC-2A5A-4BC1-8355-E326628895F0}" type="slidenum">
              <a:rPr lang="en-US" smtClean="0">
                <a:solidFill>
                  <a:prstClr val="white"/>
                </a:solidFill>
              </a:rPr>
              <a:pPr/>
              <a:t>‹#›</a:t>
            </a:fld>
            <a:endParaRPr lang="en-US">
              <a:solidFill>
                <a:prstClr val="white"/>
              </a:solidFill>
            </a:endParaRPr>
          </a:p>
        </p:txBody>
      </p:sp>
      <p:sp>
        <p:nvSpPr>
          <p:cNvPr id="3" name="Rectangle 2"/>
          <p:cNvSpPr/>
          <p:nvPr userDrawn="1"/>
        </p:nvSpPr>
        <p:spPr>
          <a:xfrm>
            <a:off x="6023918" y="0"/>
            <a:ext cx="6412557" cy="6994525"/>
          </a:xfrm>
          <a:prstGeom prst="rect">
            <a:avLst/>
          </a:prstGeom>
          <a:solidFill>
            <a:srgbClr val="35223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Tree>
    <p:extLst>
      <p:ext uri="{BB962C8B-B14F-4D97-AF65-F5344CB8AC3E}">
        <p14:creationId xmlns:p14="http://schemas.microsoft.com/office/powerpoint/2010/main" val="242759969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sub-title only ">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
            <a:ext cx="12436475" cy="1020377"/>
          </a:xfrm>
        </p:spPr>
        <p:txBody>
          <a:bodyPr lIns="274320" tIns="228600" anchor="t" anchorCtr="0"/>
          <a:lstStyle>
            <a:lvl1pPr>
              <a:defRPr>
                <a:solidFill>
                  <a:schemeClr val="bg1"/>
                </a:solidFill>
              </a:defRPr>
            </a:lvl1pPr>
          </a:lstStyle>
          <a:p>
            <a:r>
              <a:rPr lang="en-US" dirty="0"/>
              <a:t>Title</a:t>
            </a:r>
          </a:p>
        </p:txBody>
      </p:sp>
      <p:sp>
        <p:nvSpPr>
          <p:cNvPr id="7" name="Text Placeholder 6"/>
          <p:cNvSpPr>
            <a:spLocks noGrp="1"/>
          </p:cNvSpPr>
          <p:nvPr>
            <p:ph type="body" sz="quarter" idx="13" hasCustomPrompt="1"/>
          </p:nvPr>
        </p:nvSpPr>
        <p:spPr>
          <a:xfrm>
            <a:off x="0" y="1031370"/>
            <a:ext cx="12436475" cy="548570"/>
          </a:xfrm>
        </p:spPr>
        <p:txBody>
          <a:bodyPr lIns="274320" tIns="0"/>
          <a:lstStyle>
            <a:lvl1pPr marL="0" indent="0">
              <a:buNone/>
              <a:defRPr>
                <a:solidFill>
                  <a:schemeClr val="bg1"/>
                </a:solidFill>
              </a:defRPr>
            </a:lvl1pPr>
          </a:lstStyle>
          <a:p>
            <a:pPr lvl="0"/>
            <a:r>
              <a:rPr lang="en-US" dirty="0"/>
              <a:t>Subtitle</a:t>
            </a:r>
          </a:p>
        </p:txBody>
      </p:sp>
    </p:spTree>
    <p:extLst>
      <p:ext uri="{BB962C8B-B14F-4D97-AF65-F5344CB8AC3E}">
        <p14:creationId xmlns:p14="http://schemas.microsoft.com/office/powerpoint/2010/main" val="20407777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_Title only ">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
            <a:ext cx="12436475" cy="1020377"/>
          </a:xfrm>
        </p:spPr>
        <p:txBody>
          <a:bodyPr lIns="274320" tIns="228600" anchor="t" anchorCtr="0"/>
          <a:lstStyle>
            <a:lvl1pPr>
              <a:defRPr>
                <a:solidFill>
                  <a:schemeClr val="bg1"/>
                </a:solidFill>
              </a:defRPr>
            </a:lvl1pPr>
          </a:lstStyle>
          <a:p>
            <a:r>
              <a:rPr lang="en-US" dirty="0"/>
              <a:t>Title</a:t>
            </a:r>
          </a:p>
        </p:txBody>
      </p:sp>
    </p:spTree>
    <p:extLst>
      <p:ext uri="{BB962C8B-B14F-4D97-AF65-F5344CB8AC3E}">
        <p14:creationId xmlns:p14="http://schemas.microsoft.com/office/powerpoint/2010/main" val="28568161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Next Steps/Summary">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
            <a:ext cx="12436475" cy="1020377"/>
          </a:xfrm>
        </p:spPr>
        <p:txBody>
          <a:bodyPr lIns="274320" tIns="228600" anchor="t" anchorCtr="0"/>
          <a:lstStyle>
            <a:lvl1pPr>
              <a:defRPr>
                <a:solidFill>
                  <a:schemeClr val="bg1"/>
                </a:solidFill>
              </a:defRPr>
            </a:lvl1pPr>
          </a:lstStyle>
          <a:p>
            <a:r>
              <a:rPr lang="en-US" dirty="0"/>
              <a:t>Next Steps/Summary</a:t>
            </a:r>
          </a:p>
        </p:txBody>
      </p:sp>
    </p:spTree>
    <p:extLst>
      <p:ext uri="{BB962C8B-B14F-4D97-AF65-F5344CB8AC3E}">
        <p14:creationId xmlns:p14="http://schemas.microsoft.com/office/powerpoint/2010/main" val="124736855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Question">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2639268"/>
            <a:ext cx="10893874" cy="2102784"/>
          </a:xfrm>
          <a:noFill/>
        </p:spPr>
        <p:txBody>
          <a:bodyPr lIns="274320" tIns="91440" bIns="91440" anchor="t" anchorCtr="0">
            <a:normAutofit/>
          </a:bodyPr>
          <a:lstStyle>
            <a:lvl1pPr>
              <a:defRPr sz="7139" spc="-100" baseline="0">
                <a:gradFill>
                  <a:gsLst>
                    <a:gs pos="91241">
                      <a:schemeClr val="tx1"/>
                    </a:gs>
                    <a:gs pos="57000">
                      <a:schemeClr val="tx1"/>
                    </a:gs>
                    <a:gs pos="18000">
                      <a:schemeClr val="tx1"/>
                    </a:gs>
                  </a:gsLst>
                  <a:lin ang="5400000" scaled="0"/>
                </a:gradFill>
              </a:defRPr>
            </a:lvl1pPr>
          </a:lstStyle>
          <a:p>
            <a:r>
              <a:rPr lang="en-US" dirty="0"/>
              <a:t>Questions?</a:t>
            </a:r>
          </a:p>
        </p:txBody>
      </p:sp>
      <p:sp>
        <p:nvSpPr>
          <p:cNvPr id="4" name="Text Placeholder 3"/>
          <p:cNvSpPr>
            <a:spLocks noGrp="1"/>
          </p:cNvSpPr>
          <p:nvPr>
            <p:ph type="body" sz="quarter" idx="10" hasCustomPrompt="1"/>
          </p:nvPr>
        </p:nvSpPr>
        <p:spPr>
          <a:xfrm>
            <a:off x="0" y="4761783"/>
            <a:ext cx="10928402" cy="1492813"/>
          </a:xfrm>
        </p:spPr>
        <p:txBody>
          <a:bodyPr lIns="274320">
            <a:normAutofit/>
          </a:bodyPr>
          <a:lstStyle>
            <a:lvl1pPr marL="0" indent="0">
              <a:buNone/>
              <a:defRPr sz="3672"/>
            </a:lvl1pPr>
          </a:lstStyle>
          <a:p>
            <a:r>
              <a:rPr lang="en-US" dirty="0"/>
              <a:t>Name</a:t>
            </a:r>
          </a:p>
          <a:p>
            <a:r>
              <a:rPr lang="en-US" dirty="0"/>
              <a:t>Email</a:t>
            </a:r>
          </a:p>
        </p:txBody>
      </p:sp>
    </p:spTree>
    <p:extLst>
      <p:ext uri="{BB962C8B-B14F-4D97-AF65-F5344CB8AC3E}">
        <p14:creationId xmlns:p14="http://schemas.microsoft.com/office/powerpoint/2010/main" val="997618748"/>
      </p:ext>
    </p:extLst>
  </p:cSld>
  <p:clrMapOvr>
    <a:overrideClrMapping bg1="dk1" tx1="lt1" bg2="dk2" tx2="lt2" accent1="accent1" accent2="accent2" accent3="accent3" accent4="accent4" accent5="accent5" accent6="accent6" hlink="hlink" folHlink="folHlink"/>
  </p:clrMapOvr>
  <p:transition advClick="0" advTm="10000">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4" name="TextBox 3"/>
          <p:cNvSpPr txBox="1">
            <a:spLocks noChangeArrowheads="1"/>
          </p:cNvSpPr>
          <p:nvPr userDrawn="1"/>
        </p:nvSpPr>
        <p:spPr bwMode="auto">
          <a:xfrm>
            <a:off x="271464" y="5935318"/>
            <a:ext cx="11893550" cy="906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dirty="0">
                <a:solidFill>
                  <a:srgbClr val="FFFFFF"/>
                </a:solidFill>
              </a:rPr>
              <a:t>© 2016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dirty="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50664577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169D952E-77BD-4C1C-BAEE-1CCBBB4E5102}" type="datetimeFigureOut">
              <a:rPr lang="en-US" smtClean="0"/>
              <a:t>10/19/2017</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DA604E0F-A3A2-445C-A427-B254AD2D69C8}" type="slidenum">
              <a:rPr lang="en-US" smtClean="0"/>
              <a:t>‹#›</a:t>
            </a:fld>
            <a:endParaRPr lang="en-US"/>
          </a:p>
        </p:txBody>
      </p:sp>
    </p:spTree>
    <p:extLst>
      <p:ext uri="{BB962C8B-B14F-4D97-AF65-F5344CB8AC3E}">
        <p14:creationId xmlns:p14="http://schemas.microsoft.com/office/powerpoint/2010/main" val="37452678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DarkVert25">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bg1"/>
                </a:solidFill>
              </a:defRPr>
            </a:lvl1pPr>
          </a:lstStyle>
          <a:p>
            <a:fld id="{B55D4DEC-2A5A-4BC1-8355-E326628895F0}" type="slidenum">
              <a:rPr lang="en-US" smtClean="0">
                <a:solidFill>
                  <a:prstClr val="white"/>
                </a:solidFill>
              </a:rPr>
              <a:pPr/>
              <a:t>‹#›</a:t>
            </a:fld>
            <a:endParaRPr lang="en-US">
              <a:solidFill>
                <a:prstClr val="white"/>
              </a:solidFill>
            </a:endParaRPr>
          </a:p>
        </p:txBody>
      </p:sp>
      <p:sp>
        <p:nvSpPr>
          <p:cNvPr id="3" name="Rectangle 2"/>
          <p:cNvSpPr/>
          <p:nvPr userDrawn="1"/>
        </p:nvSpPr>
        <p:spPr>
          <a:xfrm>
            <a:off x="9226310" y="0"/>
            <a:ext cx="3210165" cy="6994525"/>
          </a:xfrm>
          <a:prstGeom prst="rect">
            <a:avLst/>
          </a:prstGeom>
          <a:solidFill>
            <a:srgbClr val="35223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Tree>
    <p:extLst>
      <p:ext uri="{BB962C8B-B14F-4D97-AF65-F5344CB8AC3E}">
        <p14:creationId xmlns:p14="http://schemas.microsoft.com/office/powerpoint/2010/main" val="379983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theme" Target="../theme/theme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theme" Target="../theme/theme3.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theme" Target="../theme/theme4.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vmlDrawing" Target="../drawings/vmlDrawing1.vml"/><Relationship Id="rId18" Type="http://schemas.openxmlformats.org/officeDocument/2006/relationships/image" Target="../media/image3.png"/><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theme" Target="../theme/theme5.xml"/><Relationship Id="rId17" Type="http://schemas.openxmlformats.org/officeDocument/2006/relationships/image" Target="../media/image2.png"/><Relationship Id="rId2" Type="http://schemas.openxmlformats.org/officeDocument/2006/relationships/slideLayout" Target="../slideLayouts/slideLayout42.xml"/><Relationship Id="rId16" Type="http://schemas.openxmlformats.org/officeDocument/2006/relationships/image" Target="../media/image1.emf"/><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oleObject" Target="../embeddings/oleObject1.bin"/><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tags" Target="../tags/tag1.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54.xml"/><Relationship Id="rId7" Type="http://schemas.openxmlformats.org/officeDocument/2006/relationships/slideLayout" Target="../slideLayouts/slideLayout58.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5" Type="http://schemas.openxmlformats.org/officeDocument/2006/relationships/slideLayout" Target="../slideLayouts/slideLayout56.xml"/><Relationship Id="rId4" Type="http://schemas.openxmlformats.org/officeDocument/2006/relationships/slideLayout" Target="../slideLayouts/slideLayout5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7.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2" Type="http://schemas.openxmlformats.org/officeDocument/2006/relationships/slideLayout" Target="../slideLayouts/slideLayout72.xml"/><Relationship Id="rId16" Type="http://schemas.openxmlformats.org/officeDocument/2006/relationships/theme" Target="../theme/theme8.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94320" y="194292"/>
            <a:ext cx="12047836" cy="151368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194320" y="1861969"/>
            <a:ext cx="12047836" cy="454967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11076235" y="6593405"/>
            <a:ext cx="1165920" cy="388585"/>
          </a:xfrm>
          <a:prstGeom prst="rect">
            <a:avLst/>
          </a:prstGeom>
        </p:spPr>
        <p:txBody>
          <a:bodyPr vert="horz" lIns="91440" tIns="45720" rIns="91440" bIns="45720" rtlCol="0" anchor="ctr"/>
          <a:lstStyle>
            <a:lvl1pPr algn="r">
              <a:defRPr sz="1224">
                <a:solidFill>
                  <a:schemeClr val="tx1">
                    <a:tint val="75000"/>
                  </a:schemeClr>
                </a:solidFill>
              </a:defRPr>
            </a:lvl1pPr>
          </a:lstStyle>
          <a:p>
            <a:fld id="{74A4D22A-FBB2-4BFF-B227-90CB66619072}" type="slidenum">
              <a:rPr lang="en-US" smtClean="0">
                <a:solidFill>
                  <a:prstClr val="black">
                    <a:tint val="75000"/>
                  </a:prstClr>
                </a:solidFill>
              </a:rPr>
              <a:pPr/>
              <a:t>‹#›</a:t>
            </a:fld>
            <a:endParaRPr lang="en-US">
              <a:solidFill>
                <a:prstClr val="black">
                  <a:tint val="75000"/>
                </a:prstClr>
              </a:solidFill>
            </a:endParaRPr>
          </a:p>
        </p:txBody>
      </p:sp>
      <p:grpSp>
        <p:nvGrpSpPr>
          <p:cNvPr id="7" name="Group 6"/>
          <p:cNvGrpSpPr/>
          <p:nvPr userDrawn="1"/>
        </p:nvGrpSpPr>
        <p:grpSpPr>
          <a:xfrm>
            <a:off x="12491650" y="1826002"/>
            <a:ext cx="388640" cy="387330"/>
            <a:chOff x="1030576" y="-2013396"/>
            <a:chExt cx="457200" cy="455724"/>
          </a:xfrm>
        </p:grpSpPr>
        <p:sp>
          <p:nvSpPr>
            <p:cNvPr id="146" name="Rectangle 145"/>
            <p:cNvSpPr/>
            <p:nvPr userDrawn="1"/>
          </p:nvSpPr>
          <p:spPr>
            <a:xfrm>
              <a:off x="1030576" y="-2013396"/>
              <a:ext cx="457200" cy="228600"/>
            </a:xfrm>
            <a:prstGeom prst="rect">
              <a:avLst/>
            </a:prstGeom>
            <a:solidFill>
              <a:srgbClr val="2FC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47" name="Rectangle 146"/>
            <p:cNvSpPr/>
            <p:nvPr userDrawn="1"/>
          </p:nvSpPr>
          <p:spPr>
            <a:xfrm>
              <a:off x="1030576" y="-1786272"/>
              <a:ext cx="457200" cy="228600"/>
            </a:xfrm>
            <a:prstGeom prst="rect">
              <a:avLst/>
            </a:prstGeom>
            <a:solidFill>
              <a:srgbClr val="27AE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8" name="Group 7"/>
          <p:cNvGrpSpPr/>
          <p:nvPr userDrawn="1"/>
        </p:nvGrpSpPr>
        <p:grpSpPr>
          <a:xfrm>
            <a:off x="12491650" y="2395195"/>
            <a:ext cx="388640" cy="387330"/>
            <a:chOff x="1862829" y="-2015149"/>
            <a:chExt cx="457200" cy="455724"/>
          </a:xfrm>
        </p:grpSpPr>
        <p:sp>
          <p:nvSpPr>
            <p:cNvPr id="150" name="Rectangle 149"/>
            <p:cNvSpPr/>
            <p:nvPr userDrawn="1"/>
          </p:nvSpPr>
          <p:spPr>
            <a:xfrm>
              <a:off x="1862829" y="-2015149"/>
              <a:ext cx="457200" cy="228600"/>
            </a:xfrm>
            <a:prstGeom prst="rect">
              <a:avLst/>
            </a:prstGeom>
            <a:solidFill>
              <a:srgbClr val="3398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51" name="Rectangle 150"/>
            <p:cNvSpPr/>
            <p:nvPr userDrawn="1"/>
          </p:nvSpPr>
          <p:spPr>
            <a:xfrm>
              <a:off x="1862829" y="-1788025"/>
              <a:ext cx="457200" cy="228600"/>
            </a:xfrm>
            <a:prstGeom prst="rect">
              <a:avLst/>
            </a:prstGeom>
            <a:solidFill>
              <a:srgbClr val="2A80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12" name="Group 11"/>
          <p:cNvGrpSpPr/>
          <p:nvPr userDrawn="1"/>
        </p:nvGrpSpPr>
        <p:grpSpPr>
          <a:xfrm>
            <a:off x="13019435" y="552724"/>
            <a:ext cx="388640" cy="374014"/>
            <a:chOff x="5668736" y="-1973760"/>
            <a:chExt cx="457200" cy="440056"/>
          </a:xfrm>
        </p:grpSpPr>
        <p:sp>
          <p:nvSpPr>
            <p:cNvPr id="152" name="Rectangle 151"/>
            <p:cNvSpPr/>
            <p:nvPr userDrawn="1"/>
          </p:nvSpPr>
          <p:spPr>
            <a:xfrm>
              <a:off x="5668736" y="-1973760"/>
              <a:ext cx="457200" cy="228600"/>
            </a:xfrm>
            <a:prstGeom prst="rect">
              <a:avLst/>
            </a:prstGeom>
            <a:solidFill>
              <a:srgbClr val="E74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53" name="Rectangle 152"/>
            <p:cNvSpPr/>
            <p:nvPr userDrawn="1"/>
          </p:nvSpPr>
          <p:spPr>
            <a:xfrm>
              <a:off x="5668736" y="-1762304"/>
              <a:ext cx="457200" cy="228600"/>
            </a:xfrm>
            <a:prstGeom prst="rect">
              <a:avLst/>
            </a:prstGeom>
            <a:solidFill>
              <a:srgbClr val="C139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17" name="Group 16"/>
          <p:cNvGrpSpPr/>
          <p:nvPr userDrawn="1"/>
        </p:nvGrpSpPr>
        <p:grpSpPr>
          <a:xfrm>
            <a:off x="13019435" y="3290670"/>
            <a:ext cx="388640" cy="760431"/>
            <a:chOff x="8694775" y="-1964200"/>
            <a:chExt cx="457200" cy="894706"/>
          </a:xfrm>
        </p:grpSpPr>
        <p:sp>
          <p:nvSpPr>
            <p:cNvPr id="158" name="Rectangle 157"/>
            <p:cNvSpPr/>
            <p:nvPr userDrawn="1"/>
          </p:nvSpPr>
          <p:spPr>
            <a:xfrm>
              <a:off x="8694775" y="-1525218"/>
              <a:ext cx="457200" cy="228600"/>
            </a:xfrm>
            <a:prstGeom prst="rect">
              <a:avLst/>
            </a:prstGeom>
            <a:solidFill>
              <a:srgbClr val="3449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59" name="Rectangle 158"/>
            <p:cNvSpPr/>
            <p:nvPr userDrawn="1"/>
          </p:nvSpPr>
          <p:spPr>
            <a:xfrm>
              <a:off x="8694775" y="-1298094"/>
              <a:ext cx="457200" cy="228600"/>
            </a:xfrm>
            <a:prstGeom prst="rect">
              <a:avLst/>
            </a:prstGeom>
            <a:solidFill>
              <a:srgbClr val="2D3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60" name="Rectangle 159"/>
            <p:cNvSpPr/>
            <p:nvPr userDrawn="1"/>
          </p:nvSpPr>
          <p:spPr>
            <a:xfrm>
              <a:off x="8694775" y="-1964200"/>
              <a:ext cx="457200" cy="228600"/>
            </a:xfrm>
            <a:prstGeom prst="rect">
              <a:avLst/>
            </a:prstGeom>
            <a:solidFill>
              <a:srgbClr val="9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61" name="Rectangle 160"/>
            <p:cNvSpPr/>
            <p:nvPr userDrawn="1"/>
          </p:nvSpPr>
          <p:spPr>
            <a:xfrm>
              <a:off x="8694775" y="-1758518"/>
              <a:ext cx="457200" cy="228600"/>
            </a:xfrm>
            <a:prstGeom prst="rect">
              <a:avLst/>
            </a:prstGeom>
            <a:solidFill>
              <a:srgbClr val="808B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18" name="Group 17"/>
          <p:cNvGrpSpPr/>
          <p:nvPr userDrawn="1"/>
        </p:nvGrpSpPr>
        <p:grpSpPr>
          <a:xfrm>
            <a:off x="13019435" y="4206738"/>
            <a:ext cx="392020" cy="1543745"/>
            <a:chOff x="338045" y="-2490839"/>
            <a:chExt cx="461176" cy="1816336"/>
          </a:xfrm>
        </p:grpSpPr>
        <p:sp>
          <p:nvSpPr>
            <p:cNvPr id="156" name="Rectangle 155"/>
            <p:cNvSpPr/>
            <p:nvPr userDrawn="1"/>
          </p:nvSpPr>
          <p:spPr>
            <a:xfrm>
              <a:off x="342021" y="-2262628"/>
              <a:ext cx="457200" cy="228600"/>
            </a:xfrm>
            <a:prstGeom prst="rect">
              <a:avLst/>
            </a:prstGeom>
            <a:solidFill>
              <a:srgbClr val="ECF0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57" name="Rectangle 156"/>
            <p:cNvSpPr/>
            <p:nvPr userDrawn="1"/>
          </p:nvSpPr>
          <p:spPr>
            <a:xfrm>
              <a:off x="338045" y="-1806206"/>
              <a:ext cx="457200" cy="228600"/>
            </a:xfrm>
            <a:prstGeom prst="rect">
              <a:avLst/>
            </a:prstGeom>
            <a:solidFill>
              <a:srgbClr val="BEC3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62" name="Rectangle 161"/>
            <p:cNvSpPr/>
            <p:nvPr userDrawn="1"/>
          </p:nvSpPr>
          <p:spPr>
            <a:xfrm>
              <a:off x="338045" y="-2034417"/>
              <a:ext cx="457200" cy="228600"/>
            </a:xfrm>
            <a:prstGeom prst="rect">
              <a:avLst/>
            </a:prstGeom>
            <a:solidFill>
              <a:srgbClr val="D7D7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63" name="Rectangle 162"/>
            <p:cNvSpPr/>
            <p:nvPr userDrawn="1"/>
          </p:nvSpPr>
          <p:spPr>
            <a:xfrm>
              <a:off x="338045" y="-2490839"/>
              <a:ext cx="457200" cy="2286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64" name="Rectangle 163"/>
            <p:cNvSpPr/>
            <p:nvPr userDrawn="1"/>
          </p:nvSpPr>
          <p:spPr>
            <a:xfrm>
              <a:off x="338045" y="-1358229"/>
              <a:ext cx="457200" cy="2286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65" name="Rectangle 164"/>
            <p:cNvSpPr/>
            <p:nvPr userDrawn="1"/>
          </p:nvSpPr>
          <p:spPr>
            <a:xfrm>
              <a:off x="338045" y="-1580977"/>
              <a:ext cx="457200" cy="228600"/>
            </a:xfrm>
            <a:prstGeom prst="rect">
              <a:avLst/>
            </a:prstGeom>
            <a:solidFill>
              <a:srgbClr val="9696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66" name="Rectangle 165"/>
            <p:cNvSpPr/>
            <p:nvPr userDrawn="1"/>
          </p:nvSpPr>
          <p:spPr>
            <a:xfrm>
              <a:off x="338045" y="-903103"/>
              <a:ext cx="457200" cy="2286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67" name="Rectangle 166"/>
            <p:cNvSpPr/>
            <p:nvPr userDrawn="1"/>
          </p:nvSpPr>
          <p:spPr>
            <a:xfrm>
              <a:off x="338045" y="-1129629"/>
              <a:ext cx="457200" cy="228600"/>
            </a:xfrm>
            <a:prstGeom prst="rect">
              <a:avLst/>
            </a:prstGeom>
            <a:solidFill>
              <a:srgbClr val="5252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14" name="Group 13"/>
          <p:cNvGrpSpPr/>
          <p:nvPr userDrawn="1"/>
        </p:nvGrpSpPr>
        <p:grpSpPr>
          <a:xfrm>
            <a:off x="13019435" y="1821586"/>
            <a:ext cx="388640" cy="760267"/>
            <a:chOff x="4193249" y="-1993740"/>
            <a:chExt cx="457200" cy="894513"/>
          </a:xfrm>
        </p:grpSpPr>
        <p:sp>
          <p:nvSpPr>
            <p:cNvPr id="144" name="Rectangle 143"/>
            <p:cNvSpPr/>
            <p:nvPr userDrawn="1"/>
          </p:nvSpPr>
          <p:spPr>
            <a:xfrm>
              <a:off x="4193249" y="-1759656"/>
              <a:ext cx="457200" cy="228600"/>
            </a:xfrm>
            <a:prstGeom prst="rect">
              <a:avLst/>
            </a:prstGeom>
            <a:solidFill>
              <a:srgbClr val="F1C4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45" name="Rectangle 144"/>
            <p:cNvSpPr/>
            <p:nvPr userDrawn="1"/>
          </p:nvSpPr>
          <p:spPr>
            <a:xfrm>
              <a:off x="4193249" y="-1548200"/>
              <a:ext cx="457200" cy="228600"/>
            </a:xfrm>
            <a:prstGeom prst="rect">
              <a:avLst/>
            </a:prstGeom>
            <a:solidFill>
              <a:srgbClr val="F39C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68" name="Rectangle 167"/>
            <p:cNvSpPr/>
            <p:nvPr userDrawn="1"/>
          </p:nvSpPr>
          <p:spPr>
            <a:xfrm>
              <a:off x="4193249" y="-1327827"/>
              <a:ext cx="457200" cy="228600"/>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69" name="Rectangle 168"/>
            <p:cNvSpPr/>
            <p:nvPr userDrawn="1"/>
          </p:nvSpPr>
          <p:spPr>
            <a:xfrm>
              <a:off x="4193249" y="-1993740"/>
              <a:ext cx="457200" cy="228600"/>
            </a:xfrm>
            <a:prstGeom prst="rect">
              <a:avLst/>
            </a:prstGeom>
            <a:solidFill>
              <a:srgbClr val="FFF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13" name="Group 12"/>
          <p:cNvGrpSpPr/>
          <p:nvPr userDrawn="1"/>
        </p:nvGrpSpPr>
        <p:grpSpPr>
          <a:xfrm>
            <a:off x="13019435" y="1091889"/>
            <a:ext cx="388640" cy="564176"/>
            <a:chOff x="4976205" y="-1972007"/>
            <a:chExt cx="457200" cy="663797"/>
          </a:xfrm>
        </p:grpSpPr>
        <p:sp>
          <p:nvSpPr>
            <p:cNvPr id="148" name="Rectangle 147"/>
            <p:cNvSpPr/>
            <p:nvPr userDrawn="1"/>
          </p:nvSpPr>
          <p:spPr>
            <a:xfrm>
              <a:off x="4976205" y="-1972007"/>
              <a:ext cx="457200" cy="228600"/>
            </a:xfrm>
            <a:prstGeom prst="rect">
              <a:avLst/>
            </a:prstGeom>
            <a:solidFill>
              <a:srgbClr val="E77E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49" name="Rectangle 148"/>
            <p:cNvSpPr/>
            <p:nvPr userDrawn="1"/>
          </p:nvSpPr>
          <p:spPr>
            <a:xfrm>
              <a:off x="4976205" y="-1760551"/>
              <a:ext cx="457200" cy="228600"/>
            </a:xfrm>
            <a:prstGeom prst="rect">
              <a:avLst/>
            </a:prstGeom>
            <a:solidFill>
              <a:srgbClr val="D554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75" name="Rectangle 174"/>
            <p:cNvSpPr/>
            <p:nvPr userDrawn="1"/>
          </p:nvSpPr>
          <p:spPr>
            <a:xfrm>
              <a:off x="4976205" y="-1536810"/>
              <a:ext cx="457200" cy="228600"/>
            </a:xfrm>
            <a:prstGeom prst="rect">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15" name="Group 14"/>
          <p:cNvGrpSpPr/>
          <p:nvPr userDrawn="1"/>
        </p:nvGrpSpPr>
        <p:grpSpPr>
          <a:xfrm>
            <a:off x="12491650" y="5008618"/>
            <a:ext cx="388640" cy="553735"/>
            <a:chOff x="3410293" y="-2016625"/>
            <a:chExt cx="457200" cy="651512"/>
          </a:xfrm>
        </p:grpSpPr>
        <p:sp>
          <p:nvSpPr>
            <p:cNvPr id="170" name="Rectangle 169"/>
            <p:cNvSpPr/>
            <p:nvPr userDrawn="1"/>
          </p:nvSpPr>
          <p:spPr>
            <a:xfrm>
              <a:off x="3410293" y="-2016625"/>
              <a:ext cx="457200" cy="228600"/>
            </a:xfrm>
            <a:prstGeom prst="rect">
              <a:avLst/>
            </a:prstGeom>
            <a:solidFill>
              <a:srgbClr val="E3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77" name="Rectangle 176"/>
            <p:cNvSpPr/>
            <p:nvPr userDrawn="1"/>
          </p:nvSpPr>
          <p:spPr>
            <a:xfrm>
              <a:off x="3410293" y="-1805169"/>
              <a:ext cx="457200" cy="228600"/>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83" name="Rectangle 182"/>
            <p:cNvSpPr/>
            <p:nvPr userDrawn="1"/>
          </p:nvSpPr>
          <p:spPr>
            <a:xfrm>
              <a:off x="3410293" y="-1593713"/>
              <a:ext cx="457200" cy="228600"/>
            </a:xfrm>
            <a:prstGeom prst="rect">
              <a:avLst/>
            </a:prstGeom>
            <a:solidFill>
              <a:srgbClr val="5C00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11" name="Group 10"/>
          <p:cNvGrpSpPr/>
          <p:nvPr userDrawn="1"/>
        </p:nvGrpSpPr>
        <p:grpSpPr>
          <a:xfrm>
            <a:off x="13019435" y="3473"/>
            <a:ext cx="388640" cy="381638"/>
            <a:chOff x="5638724" y="-1319654"/>
            <a:chExt cx="457200" cy="449027"/>
          </a:xfrm>
        </p:grpSpPr>
        <p:sp>
          <p:nvSpPr>
            <p:cNvPr id="178" name="Rectangle 177"/>
            <p:cNvSpPr/>
            <p:nvPr userDrawn="1"/>
          </p:nvSpPr>
          <p:spPr>
            <a:xfrm>
              <a:off x="5638724" y="-1319654"/>
              <a:ext cx="457200" cy="228600"/>
            </a:xfrm>
            <a:prstGeom prst="rect">
              <a:avLst/>
            </a:prstGeom>
            <a:solidFill>
              <a:srgbClr val="E811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84" name="Rectangle 183"/>
            <p:cNvSpPr/>
            <p:nvPr userDrawn="1"/>
          </p:nvSpPr>
          <p:spPr>
            <a:xfrm>
              <a:off x="5638724" y="-1099227"/>
              <a:ext cx="457200" cy="228600"/>
            </a:xfrm>
            <a:prstGeom prst="rect">
              <a:avLst/>
            </a:prstGeom>
            <a:solidFill>
              <a:srgbClr val="A8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4" name="Group 3"/>
          <p:cNvGrpSpPr/>
          <p:nvPr userDrawn="1"/>
        </p:nvGrpSpPr>
        <p:grpSpPr>
          <a:xfrm>
            <a:off x="12495223" y="0"/>
            <a:ext cx="388640" cy="555147"/>
            <a:chOff x="296917" y="-1379669"/>
            <a:chExt cx="457200" cy="653173"/>
          </a:xfrm>
        </p:grpSpPr>
        <p:sp>
          <p:nvSpPr>
            <p:cNvPr id="173" name="Rectangle 172"/>
            <p:cNvSpPr/>
            <p:nvPr userDrawn="1"/>
          </p:nvSpPr>
          <p:spPr>
            <a:xfrm>
              <a:off x="296917" y="-1379669"/>
              <a:ext cx="457200" cy="228600"/>
            </a:xfrm>
            <a:prstGeom prst="rect">
              <a:avLst/>
            </a:prstGeom>
            <a:solidFill>
              <a:srgbClr val="BAD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81" name="Rectangle 180"/>
            <p:cNvSpPr/>
            <p:nvPr userDrawn="1"/>
          </p:nvSpPr>
          <p:spPr>
            <a:xfrm>
              <a:off x="296917" y="-1167447"/>
              <a:ext cx="457200" cy="228600"/>
            </a:xfrm>
            <a:prstGeom prst="rect">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87" name="Rectangle 186"/>
            <p:cNvSpPr/>
            <p:nvPr userDrawn="1"/>
          </p:nvSpPr>
          <p:spPr>
            <a:xfrm>
              <a:off x="296917" y="-955096"/>
              <a:ext cx="457200" cy="228600"/>
            </a:xfrm>
            <a:prstGeom prst="rect">
              <a:avLst/>
            </a:prstGeom>
            <a:solidFill>
              <a:srgbClr val="004B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5" name="Group 4"/>
          <p:cNvGrpSpPr/>
          <p:nvPr userDrawn="1"/>
        </p:nvGrpSpPr>
        <p:grpSpPr>
          <a:xfrm>
            <a:off x="12491650" y="721709"/>
            <a:ext cx="388640" cy="935324"/>
            <a:chOff x="1016432" y="-1311817"/>
            <a:chExt cx="457200" cy="1100481"/>
          </a:xfrm>
        </p:grpSpPr>
        <p:sp>
          <p:nvSpPr>
            <p:cNvPr id="142" name="Rectangle 141"/>
            <p:cNvSpPr/>
            <p:nvPr userDrawn="1"/>
          </p:nvSpPr>
          <p:spPr>
            <a:xfrm>
              <a:off x="1016432" y="-1311817"/>
              <a:ext cx="457200" cy="228600"/>
            </a:xfrm>
            <a:prstGeom prst="rect">
              <a:avLst/>
            </a:prstGeom>
            <a:solidFill>
              <a:srgbClr val="1ABD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43" name="Rectangle 142"/>
            <p:cNvSpPr/>
            <p:nvPr userDrawn="1"/>
          </p:nvSpPr>
          <p:spPr>
            <a:xfrm>
              <a:off x="1016432" y="-867342"/>
              <a:ext cx="457200" cy="228600"/>
            </a:xfrm>
            <a:prstGeom prst="rect">
              <a:avLst/>
            </a:prstGeom>
            <a:solidFill>
              <a:srgbClr val="159F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74" name="Rectangle 173"/>
            <p:cNvSpPr/>
            <p:nvPr userDrawn="1"/>
          </p:nvSpPr>
          <p:spPr>
            <a:xfrm>
              <a:off x="1016432" y="-1086758"/>
              <a:ext cx="457200" cy="228600"/>
            </a:xfrm>
            <a:prstGeom prst="rect">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82" name="Rectangle 181"/>
            <p:cNvSpPr/>
            <p:nvPr userDrawn="1"/>
          </p:nvSpPr>
          <p:spPr>
            <a:xfrm>
              <a:off x="1016432" y="-651392"/>
              <a:ext cx="457200" cy="2286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88" name="Rectangle 187"/>
            <p:cNvSpPr/>
            <p:nvPr userDrawn="1"/>
          </p:nvSpPr>
          <p:spPr>
            <a:xfrm>
              <a:off x="1016432" y="-439936"/>
              <a:ext cx="457200" cy="228600"/>
            </a:xfrm>
            <a:prstGeom prst="rect">
              <a:avLst/>
            </a:prstGeom>
            <a:solidFill>
              <a:srgbClr val="004B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10" name="Group 9"/>
          <p:cNvGrpSpPr/>
          <p:nvPr userDrawn="1"/>
        </p:nvGrpSpPr>
        <p:grpSpPr>
          <a:xfrm>
            <a:off x="12491650" y="4080870"/>
            <a:ext cx="388640" cy="748027"/>
            <a:chOff x="7618919" y="-1964200"/>
            <a:chExt cx="457200" cy="880112"/>
          </a:xfrm>
        </p:grpSpPr>
        <p:sp>
          <p:nvSpPr>
            <p:cNvPr id="171" name="Rectangle 170"/>
            <p:cNvSpPr/>
            <p:nvPr userDrawn="1"/>
          </p:nvSpPr>
          <p:spPr>
            <a:xfrm>
              <a:off x="7618919" y="-1964200"/>
              <a:ext cx="457200" cy="2286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79" name="Rectangle 178"/>
            <p:cNvSpPr/>
            <p:nvPr userDrawn="1"/>
          </p:nvSpPr>
          <p:spPr>
            <a:xfrm>
              <a:off x="7618919" y="-1752744"/>
              <a:ext cx="457200" cy="22860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85" name="Rectangle 184"/>
            <p:cNvSpPr/>
            <p:nvPr userDrawn="1"/>
          </p:nvSpPr>
          <p:spPr>
            <a:xfrm>
              <a:off x="7618919" y="-1541288"/>
              <a:ext cx="457200" cy="228600"/>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89" name="Rectangle 188"/>
            <p:cNvSpPr/>
            <p:nvPr userDrawn="1"/>
          </p:nvSpPr>
          <p:spPr>
            <a:xfrm>
              <a:off x="7618919" y="-1312688"/>
              <a:ext cx="457200" cy="228600"/>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9" name="Group 8"/>
          <p:cNvGrpSpPr/>
          <p:nvPr userDrawn="1"/>
        </p:nvGrpSpPr>
        <p:grpSpPr>
          <a:xfrm>
            <a:off x="12491650" y="2964392"/>
            <a:ext cx="388640" cy="915154"/>
            <a:chOff x="2624959" y="-2015149"/>
            <a:chExt cx="457200" cy="1076750"/>
          </a:xfrm>
        </p:grpSpPr>
        <p:sp>
          <p:nvSpPr>
            <p:cNvPr id="154" name="Rectangle 153"/>
            <p:cNvSpPr/>
            <p:nvPr userDrawn="1"/>
          </p:nvSpPr>
          <p:spPr>
            <a:xfrm>
              <a:off x="2624959" y="-2015149"/>
              <a:ext cx="457200" cy="228600"/>
            </a:xfrm>
            <a:prstGeom prst="rect">
              <a:avLst/>
            </a:prstGeom>
            <a:solidFill>
              <a:srgbClr val="9C59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55" name="Rectangle 154"/>
            <p:cNvSpPr/>
            <p:nvPr userDrawn="1"/>
          </p:nvSpPr>
          <p:spPr>
            <a:xfrm>
              <a:off x="2624959" y="-1788025"/>
              <a:ext cx="457200" cy="228600"/>
            </a:xfrm>
            <a:prstGeom prst="rect">
              <a:avLst/>
            </a:prstGeom>
            <a:solidFill>
              <a:srgbClr val="8F44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93" name="Rectangle 192"/>
            <p:cNvSpPr/>
            <p:nvPr userDrawn="1"/>
          </p:nvSpPr>
          <p:spPr>
            <a:xfrm>
              <a:off x="2624959" y="-1571489"/>
              <a:ext cx="457200" cy="228600"/>
            </a:xfrm>
            <a:prstGeom prst="rect">
              <a:avLst/>
            </a:prstGeom>
            <a:solidFill>
              <a:srgbClr val="6C46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94" name="Rectangle 193"/>
            <p:cNvSpPr/>
            <p:nvPr userDrawn="1"/>
          </p:nvSpPr>
          <p:spPr>
            <a:xfrm>
              <a:off x="2624959" y="-1344365"/>
              <a:ext cx="457200" cy="228600"/>
            </a:xfrm>
            <a:prstGeom prst="rect">
              <a:avLst/>
            </a:prstGeom>
            <a:solidFill>
              <a:srgbClr val="5638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95" name="Rectangle 194"/>
            <p:cNvSpPr/>
            <p:nvPr userDrawn="1"/>
          </p:nvSpPr>
          <p:spPr>
            <a:xfrm>
              <a:off x="2624959" y="-1166999"/>
              <a:ext cx="457200" cy="228600"/>
            </a:xfrm>
            <a:prstGeom prst="rect">
              <a:avLst/>
            </a:prstGeom>
            <a:solidFill>
              <a:srgbClr val="3522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66" name="Group 65"/>
          <p:cNvGrpSpPr/>
          <p:nvPr userDrawn="1"/>
        </p:nvGrpSpPr>
        <p:grpSpPr>
          <a:xfrm>
            <a:off x="13019435" y="2736935"/>
            <a:ext cx="388640" cy="374014"/>
            <a:chOff x="6835963" y="-1737996"/>
            <a:chExt cx="457200" cy="440056"/>
          </a:xfrm>
        </p:grpSpPr>
        <p:sp>
          <p:nvSpPr>
            <p:cNvPr id="67" name="Rectangle 66"/>
            <p:cNvSpPr/>
            <p:nvPr userDrawn="1"/>
          </p:nvSpPr>
          <p:spPr>
            <a:xfrm>
              <a:off x="6835963" y="-1737996"/>
              <a:ext cx="457200" cy="22860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68" name="Rectangle 67"/>
            <p:cNvSpPr/>
            <p:nvPr userDrawn="1"/>
          </p:nvSpPr>
          <p:spPr>
            <a:xfrm>
              <a:off x="6835963" y="-1526540"/>
              <a:ext cx="457200" cy="228600"/>
            </a:xfrm>
            <a:prstGeom prst="rect">
              <a:avLst/>
            </a:prstGeom>
            <a:solidFill>
              <a:srgbClr val="3214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spTree>
    <p:extLst>
      <p:ext uri="{BB962C8B-B14F-4D97-AF65-F5344CB8AC3E}">
        <p14:creationId xmlns:p14="http://schemas.microsoft.com/office/powerpoint/2010/main" val="3080979559"/>
      </p:ext>
    </p:extLst>
  </p:cSld>
  <p:clrMap bg1="lt1" tx1="dk1" bg2="lt2" tx2="dk2" accent1="accent1" accent2="accent2" accent3="accent3" accent4="accent4" accent5="accent5" accent6="accent6" hlink="hlink" folHlink="folHlink"/>
  <p:sldLayoutIdLst>
    <p:sldLayoutId id="2147484278" r:id="rId1"/>
    <p:sldLayoutId id="2147484279" r:id="rId2"/>
    <p:sldLayoutId id="2147484280" r:id="rId3"/>
    <p:sldLayoutId id="2147484281" r:id="rId4"/>
    <p:sldLayoutId id="2147484282" r:id="rId5"/>
    <p:sldLayoutId id="2147484283" r:id="rId6"/>
    <p:sldLayoutId id="2147484284" r:id="rId7"/>
    <p:sldLayoutId id="2147484285" r:id="rId8"/>
    <p:sldLayoutId id="2147484286" r:id="rId9"/>
  </p:sldLayoutIdLst>
  <p:txStyles>
    <p:titleStyle>
      <a:lvl1pPr algn="l" defTabSz="932578" rtl="0" eaLnBrk="1" latinLnBrk="0" hangingPunct="1">
        <a:lnSpc>
          <a:spcPct val="90000"/>
        </a:lnSpc>
        <a:spcBef>
          <a:spcPct val="0"/>
        </a:spcBef>
        <a:buNone/>
        <a:defRPr sz="4487" kern="1200">
          <a:solidFill>
            <a:schemeClr val="tx1"/>
          </a:solidFill>
          <a:latin typeface="+mj-lt"/>
          <a:ea typeface="+mj-ea"/>
          <a:cs typeface="+mj-cs"/>
        </a:defRPr>
      </a:lvl1pPr>
    </p:titleStyle>
    <p:bodyStyle>
      <a:lvl1pPr marL="233145" indent="-233145" algn="l" defTabSz="932578"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34" indent="-233145" algn="l" defTabSz="932578"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23" indent="-233145" algn="l" defTabSz="932578"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12"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01"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590"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879"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169"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458"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78" rtl="0" eaLnBrk="1" latinLnBrk="0" hangingPunct="1">
        <a:defRPr sz="1836" kern="1200">
          <a:solidFill>
            <a:schemeClr val="tx1"/>
          </a:solidFill>
          <a:latin typeface="+mn-lt"/>
          <a:ea typeface="+mn-ea"/>
          <a:cs typeface="+mn-cs"/>
        </a:defRPr>
      </a:lvl1pPr>
      <a:lvl2pPr marL="466289" algn="l" defTabSz="932578" rtl="0" eaLnBrk="1" latinLnBrk="0" hangingPunct="1">
        <a:defRPr sz="1836" kern="1200">
          <a:solidFill>
            <a:schemeClr val="tx1"/>
          </a:solidFill>
          <a:latin typeface="+mn-lt"/>
          <a:ea typeface="+mn-ea"/>
          <a:cs typeface="+mn-cs"/>
        </a:defRPr>
      </a:lvl2pPr>
      <a:lvl3pPr marL="932578" algn="l" defTabSz="932578" rtl="0" eaLnBrk="1" latinLnBrk="0" hangingPunct="1">
        <a:defRPr sz="1836" kern="1200">
          <a:solidFill>
            <a:schemeClr val="tx1"/>
          </a:solidFill>
          <a:latin typeface="+mn-lt"/>
          <a:ea typeface="+mn-ea"/>
          <a:cs typeface="+mn-cs"/>
        </a:defRPr>
      </a:lvl3pPr>
      <a:lvl4pPr marL="1398867" algn="l" defTabSz="932578" rtl="0" eaLnBrk="1" latinLnBrk="0" hangingPunct="1">
        <a:defRPr sz="1836" kern="1200">
          <a:solidFill>
            <a:schemeClr val="tx1"/>
          </a:solidFill>
          <a:latin typeface="+mn-lt"/>
          <a:ea typeface="+mn-ea"/>
          <a:cs typeface="+mn-cs"/>
        </a:defRPr>
      </a:lvl4pPr>
      <a:lvl5pPr marL="1865157" algn="l" defTabSz="932578" rtl="0" eaLnBrk="1" latinLnBrk="0" hangingPunct="1">
        <a:defRPr sz="1836" kern="1200">
          <a:solidFill>
            <a:schemeClr val="tx1"/>
          </a:solidFill>
          <a:latin typeface="+mn-lt"/>
          <a:ea typeface="+mn-ea"/>
          <a:cs typeface="+mn-cs"/>
        </a:defRPr>
      </a:lvl5pPr>
      <a:lvl6pPr marL="2331446" algn="l" defTabSz="932578" rtl="0" eaLnBrk="1" latinLnBrk="0" hangingPunct="1">
        <a:defRPr sz="1836" kern="1200">
          <a:solidFill>
            <a:schemeClr val="tx1"/>
          </a:solidFill>
          <a:latin typeface="+mn-lt"/>
          <a:ea typeface="+mn-ea"/>
          <a:cs typeface="+mn-cs"/>
        </a:defRPr>
      </a:lvl6pPr>
      <a:lvl7pPr marL="2797735" algn="l" defTabSz="932578" rtl="0" eaLnBrk="1" latinLnBrk="0" hangingPunct="1">
        <a:defRPr sz="1836" kern="1200">
          <a:solidFill>
            <a:schemeClr val="tx1"/>
          </a:solidFill>
          <a:latin typeface="+mn-lt"/>
          <a:ea typeface="+mn-ea"/>
          <a:cs typeface="+mn-cs"/>
        </a:defRPr>
      </a:lvl7pPr>
      <a:lvl8pPr marL="3264024" algn="l" defTabSz="932578" rtl="0" eaLnBrk="1" latinLnBrk="0" hangingPunct="1">
        <a:defRPr sz="1836" kern="1200">
          <a:solidFill>
            <a:schemeClr val="tx1"/>
          </a:solidFill>
          <a:latin typeface="+mn-lt"/>
          <a:ea typeface="+mn-ea"/>
          <a:cs typeface="+mn-cs"/>
        </a:defRPr>
      </a:lvl8pPr>
      <a:lvl9pPr marL="3730313" algn="l" defTabSz="932578" rtl="0" eaLnBrk="1" latinLnBrk="0" hangingPunct="1">
        <a:defRPr sz="183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92">
          <p15:clr>
            <a:srgbClr val="F26B43"/>
          </p15:clr>
        </p15:guide>
        <p15:guide id="2" pos="46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51D288-BC32-4BD6-9B0F-D3C3B7C7CCFC}"/>
              </a:ext>
            </a:extLst>
          </p:cNvPr>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DEA04F0-281A-429B-872C-33AADC6811E3}"/>
              </a:ext>
            </a:extLst>
          </p:cNvPr>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9DE7B8-5035-4010-8BD6-A21FE584E213}"/>
              </a:ext>
            </a:extLst>
          </p:cNvPr>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C006C19A-BE50-4934-B0C0-00A9881A5D9A}" type="datetimeFigureOut">
              <a:rPr lang="en-US" smtClean="0"/>
              <a:t>10/19/2017</a:t>
            </a:fld>
            <a:endParaRPr lang="en-US"/>
          </a:p>
        </p:txBody>
      </p:sp>
      <p:sp>
        <p:nvSpPr>
          <p:cNvPr id="5" name="Footer Placeholder 4">
            <a:extLst>
              <a:ext uri="{FF2B5EF4-FFF2-40B4-BE49-F238E27FC236}">
                <a16:creationId xmlns:a16="http://schemas.microsoft.com/office/drawing/2014/main" id="{942119EF-3B8E-4607-95CA-6F5BB86D3FB7}"/>
              </a:ext>
            </a:extLst>
          </p:cNvPr>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D5DA423-370C-405E-B4E7-644B09F3245B}"/>
              </a:ext>
            </a:extLst>
          </p:cNvPr>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5B54658E-5917-4421-949F-E123BC79337C}" type="slidenum">
              <a:rPr lang="en-US" smtClean="0"/>
              <a:t>‹#›</a:t>
            </a:fld>
            <a:endParaRPr lang="en-US"/>
          </a:p>
        </p:txBody>
      </p:sp>
    </p:spTree>
    <p:extLst>
      <p:ext uri="{BB962C8B-B14F-4D97-AF65-F5344CB8AC3E}">
        <p14:creationId xmlns:p14="http://schemas.microsoft.com/office/powerpoint/2010/main" val="1024166247"/>
      </p:ext>
    </p:extLst>
  </p:cSld>
  <p:clrMap bg1="lt1" tx1="dk1" bg2="lt2" tx2="dk2" accent1="accent1" accent2="accent2" accent3="accent3" accent4="accent4" accent5="accent5" accent6="accent6" hlink="hlink" folHlink="folHlink"/>
  <p:sldLayoutIdLst>
    <p:sldLayoutId id="2147484288" r:id="rId1"/>
    <p:sldLayoutId id="2147484289" r:id="rId2"/>
    <p:sldLayoutId id="2147484290" r:id="rId3"/>
    <p:sldLayoutId id="2147484291" r:id="rId4"/>
    <p:sldLayoutId id="2147484292" r:id="rId5"/>
    <p:sldLayoutId id="2147484293" r:id="rId6"/>
    <p:sldLayoutId id="2147484294" r:id="rId7"/>
    <p:sldLayoutId id="2147484295" r:id="rId8"/>
    <p:sldLayoutId id="2147484296" r:id="rId9"/>
    <p:sldLayoutId id="2147484297" r:id="rId10"/>
    <p:sldLayoutId id="2147484298" r:id="rId11"/>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94320" y="194292"/>
            <a:ext cx="12047836" cy="151368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194320" y="1861969"/>
            <a:ext cx="12047836" cy="454967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11076235" y="6593405"/>
            <a:ext cx="1165920" cy="388585"/>
          </a:xfrm>
          <a:prstGeom prst="rect">
            <a:avLst/>
          </a:prstGeom>
        </p:spPr>
        <p:txBody>
          <a:bodyPr vert="horz" lIns="91440" tIns="45720" rIns="91440" bIns="45720" rtlCol="0" anchor="ctr"/>
          <a:lstStyle>
            <a:lvl1pPr algn="r">
              <a:defRPr sz="1224">
                <a:solidFill>
                  <a:schemeClr val="tx1">
                    <a:tint val="75000"/>
                  </a:schemeClr>
                </a:solidFill>
              </a:defRPr>
            </a:lvl1pPr>
          </a:lstStyle>
          <a:p>
            <a:fld id="{74A4D22A-FBB2-4BFF-B227-90CB66619072}" type="slidenum">
              <a:rPr lang="en-US" smtClean="0">
                <a:solidFill>
                  <a:prstClr val="black">
                    <a:tint val="75000"/>
                  </a:prstClr>
                </a:solidFill>
              </a:rPr>
              <a:pPr/>
              <a:t>‹#›</a:t>
            </a:fld>
            <a:endParaRPr lang="en-US">
              <a:solidFill>
                <a:prstClr val="black">
                  <a:tint val="75000"/>
                </a:prstClr>
              </a:solidFill>
            </a:endParaRPr>
          </a:p>
        </p:txBody>
      </p:sp>
      <p:grpSp>
        <p:nvGrpSpPr>
          <p:cNvPr id="7" name="Group 6"/>
          <p:cNvGrpSpPr/>
          <p:nvPr userDrawn="1"/>
        </p:nvGrpSpPr>
        <p:grpSpPr>
          <a:xfrm>
            <a:off x="12491650" y="1826002"/>
            <a:ext cx="388640" cy="387330"/>
            <a:chOff x="1030576" y="-2013396"/>
            <a:chExt cx="457200" cy="455724"/>
          </a:xfrm>
        </p:grpSpPr>
        <p:sp>
          <p:nvSpPr>
            <p:cNvPr id="146" name="Rectangle 145"/>
            <p:cNvSpPr/>
            <p:nvPr userDrawn="1"/>
          </p:nvSpPr>
          <p:spPr>
            <a:xfrm>
              <a:off x="1030576" y="-2013396"/>
              <a:ext cx="457200" cy="228600"/>
            </a:xfrm>
            <a:prstGeom prst="rect">
              <a:avLst/>
            </a:prstGeom>
            <a:solidFill>
              <a:srgbClr val="2FC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47" name="Rectangle 146"/>
            <p:cNvSpPr/>
            <p:nvPr userDrawn="1"/>
          </p:nvSpPr>
          <p:spPr>
            <a:xfrm>
              <a:off x="1030576" y="-1786272"/>
              <a:ext cx="457200" cy="228600"/>
            </a:xfrm>
            <a:prstGeom prst="rect">
              <a:avLst/>
            </a:prstGeom>
            <a:solidFill>
              <a:srgbClr val="27AE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8" name="Group 7"/>
          <p:cNvGrpSpPr/>
          <p:nvPr userDrawn="1"/>
        </p:nvGrpSpPr>
        <p:grpSpPr>
          <a:xfrm>
            <a:off x="12491650" y="2395195"/>
            <a:ext cx="388640" cy="387330"/>
            <a:chOff x="1862829" y="-2015149"/>
            <a:chExt cx="457200" cy="455724"/>
          </a:xfrm>
        </p:grpSpPr>
        <p:sp>
          <p:nvSpPr>
            <p:cNvPr id="150" name="Rectangle 149"/>
            <p:cNvSpPr/>
            <p:nvPr userDrawn="1"/>
          </p:nvSpPr>
          <p:spPr>
            <a:xfrm>
              <a:off x="1862829" y="-2015149"/>
              <a:ext cx="457200" cy="228600"/>
            </a:xfrm>
            <a:prstGeom prst="rect">
              <a:avLst/>
            </a:prstGeom>
            <a:solidFill>
              <a:srgbClr val="3398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51" name="Rectangle 150"/>
            <p:cNvSpPr/>
            <p:nvPr userDrawn="1"/>
          </p:nvSpPr>
          <p:spPr>
            <a:xfrm>
              <a:off x="1862829" y="-1788025"/>
              <a:ext cx="457200" cy="228600"/>
            </a:xfrm>
            <a:prstGeom prst="rect">
              <a:avLst/>
            </a:prstGeom>
            <a:solidFill>
              <a:srgbClr val="2A80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12" name="Group 11"/>
          <p:cNvGrpSpPr/>
          <p:nvPr userDrawn="1"/>
        </p:nvGrpSpPr>
        <p:grpSpPr>
          <a:xfrm>
            <a:off x="13019435" y="552724"/>
            <a:ext cx="388640" cy="374014"/>
            <a:chOff x="5668736" y="-1973760"/>
            <a:chExt cx="457200" cy="440056"/>
          </a:xfrm>
        </p:grpSpPr>
        <p:sp>
          <p:nvSpPr>
            <p:cNvPr id="152" name="Rectangle 151"/>
            <p:cNvSpPr/>
            <p:nvPr userDrawn="1"/>
          </p:nvSpPr>
          <p:spPr>
            <a:xfrm>
              <a:off x="5668736" y="-1973760"/>
              <a:ext cx="457200" cy="228600"/>
            </a:xfrm>
            <a:prstGeom prst="rect">
              <a:avLst/>
            </a:prstGeom>
            <a:solidFill>
              <a:srgbClr val="E74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53" name="Rectangle 152"/>
            <p:cNvSpPr/>
            <p:nvPr userDrawn="1"/>
          </p:nvSpPr>
          <p:spPr>
            <a:xfrm>
              <a:off x="5668736" y="-1762304"/>
              <a:ext cx="457200" cy="228600"/>
            </a:xfrm>
            <a:prstGeom prst="rect">
              <a:avLst/>
            </a:prstGeom>
            <a:solidFill>
              <a:srgbClr val="C139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17" name="Group 16"/>
          <p:cNvGrpSpPr/>
          <p:nvPr userDrawn="1"/>
        </p:nvGrpSpPr>
        <p:grpSpPr>
          <a:xfrm>
            <a:off x="13019435" y="3290670"/>
            <a:ext cx="388640" cy="760431"/>
            <a:chOff x="8694775" y="-1964200"/>
            <a:chExt cx="457200" cy="894706"/>
          </a:xfrm>
        </p:grpSpPr>
        <p:sp>
          <p:nvSpPr>
            <p:cNvPr id="158" name="Rectangle 157"/>
            <p:cNvSpPr/>
            <p:nvPr userDrawn="1"/>
          </p:nvSpPr>
          <p:spPr>
            <a:xfrm>
              <a:off x="8694775" y="-1525218"/>
              <a:ext cx="457200" cy="228600"/>
            </a:xfrm>
            <a:prstGeom prst="rect">
              <a:avLst/>
            </a:prstGeom>
            <a:solidFill>
              <a:srgbClr val="3449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59" name="Rectangle 158"/>
            <p:cNvSpPr/>
            <p:nvPr userDrawn="1"/>
          </p:nvSpPr>
          <p:spPr>
            <a:xfrm>
              <a:off x="8694775" y="-1298094"/>
              <a:ext cx="457200" cy="228600"/>
            </a:xfrm>
            <a:prstGeom prst="rect">
              <a:avLst/>
            </a:prstGeom>
            <a:solidFill>
              <a:srgbClr val="2D3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60" name="Rectangle 159"/>
            <p:cNvSpPr/>
            <p:nvPr userDrawn="1"/>
          </p:nvSpPr>
          <p:spPr>
            <a:xfrm>
              <a:off x="8694775" y="-1964200"/>
              <a:ext cx="457200" cy="228600"/>
            </a:xfrm>
            <a:prstGeom prst="rect">
              <a:avLst/>
            </a:prstGeom>
            <a:solidFill>
              <a:srgbClr val="9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61" name="Rectangle 160"/>
            <p:cNvSpPr/>
            <p:nvPr userDrawn="1"/>
          </p:nvSpPr>
          <p:spPr>
            <a:xfrm>
              <a:off x="8694775" y="-1758518"/>
              <a:ext cx="457200" cy="228600"/>
            </a:xfrm>
            <a:prstGeom prst="rect">
              <a:avLst/>
            </a:prstGeom>
            <a:solidFill>
              <a:srgbClr val="808B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18" name="Group 17"/>
          <p:cNvGrpSpPr/>
          <p:nvPr userDrawn="1"/>
        </p:nvGrpSpPr>
        <p:grpSpPr>
          <a:xfrm>
            <a:off x="13019435" y="4206738"/>
            <a:ext cx="392020" cy="1543745"/>
            <a:chOff x="338045" y="-2490839"/>
            <a:chExt cx="461176" cy="1816336"/>
          </a:xfrm>
        </p:grpSpPr>
        <p:sp>
          <p:nvSpPr>
            <p:cNvPr id="156" name="Rectangle 155"/>
            <p:cNvSpPr/>
            <p:nvPr userDrawn="1"/>
          </p:nvSpPr>
          <p:spPr>
            <a:xfrm>
              <a:off x="342021" y="-2262628"/>
              <a:ext cx="457200" cy="228600"/>
            </a:xfrm>
            <a:prstGeom prst="rect">
              <a:avLst/>
            </a:prstGeom>
            <a:solidFill>
              <a:srgbClr val="ECF0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57" name="Rectangle 156"/>
            <p:cNvSpPr/>
            <p:nvPr userDrawn="1"/>
          </p:nvSpPr>
          <p:spPr>
            <a:xfrm>
              <a:off x="338045" y="-1806206"/>
              <a:ext cx="457200" cy="228600"/>
            </a:xfrm>
            <a:prstGeom prst="rect">
              <a:avLst/>
            </a:prstGeom>
            <a:solidFill>
              <a:srgbClr val="BEC3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62" name="Rectangle 161"/>
            <p:cNvSpPr/>
            <p:nvPr userDrawn="1"/>
          </p:nvSpPr>
          <p:spPr>
            <a:xfrm>
              <a:off x="338045" y="-2034417"/>
              <a:ext cx="457200" cy="228600"/>
            </a:xfrm>
            <a:prstGeom prst="rect">
              <a:avLst/>
            </a:prstGeom>
            <a:solidFill>
              <a:srgbClr val="D7D7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63" name="Rectangle 162"/>
            <p:cNvSpPr/>
            <p:nvPr userDrawn="1"/>
          </p:nvSpPr>
          <p:spPr>
            <a:xfrm>
              <a:off x="338045" y="-2490839"/>
              <a:ext cx="457200" cy="2286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64" name="Rectangle 163"/>
            <p:cNvSpPr/>
            <p:nvPr userDrawn="1"/>
          </p:nvSpPr>
          <p:spPr>
            <a:xfrm>
              <a:off x="338045" y="-1358229"/>
              <a:ext cx="457200" cy="2286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65" name="Rectangle 164"/>
            <p:cNvSpPr/>
            <p:nvPr userDrawn="1"/>
          </p:nvSpPr>
          <p:spPr>
            <a:xfrm>
              <a:off x="338045" y="-1580977"/>
              <a:ext cx="457200" cy="228600"/>
            </a:xfrm>
            <a:prstGeom prst="rect">
              <a:avLst/>
            </a:prstGeom>
            <a:solidFill>
              <a:srgbClr val="9696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66" name="Rectangle 165"/>
            <p:cNvSpPr/>
            <p:nvPr userDrawn="1"/>
          </p:nvSpPr>
          <p:spPr>
            <a:xfrm>
              <a:off x="338045" y="-903103"/>
              <a:ext cx="457200" cy="2286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67" name="Rectangle 166"/>
            <p:cNvSpPr/>
            <p:nvPr userDrawn="1"/>
          </p:nvSpPr>
          <p:spPr>
            <a:xfrm>
              <a:off x="338045" y="-1129629"/>
              <a:ext cx="457200" cy="228600"/>
            </a:xfrm>
            <a:prstGeom prst="rect">
              <a:avLst/>
            </a:prstGeom>
            <a:solidFill>
              <a:srgbClr val="5252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14" name="Group 13"/>
          <p:cNvGrpSpPr/>
          <p:nvPr userDrawn="1"/>
        </p:nvGrpSpPr>
        <p:grpSpPr>
          <a:xfrm>
            <a:off x="13019435" y="1821586"/>
            <a:ext cx="388640" cy="760267"/>
            <a:chOff x="4193249" y="-1993740"/>
            <a:chExt cx="457200" cy="894513"/>
          </a:xfrm>
        </p:grpSpPr>
        <p:sp>
          <p:nvSpPr>
            <p:cNvPr id="144" name="Rectangle 143"/>
            <p:cNvSpPr/>
            <p:nvPr userDrawn="1"/>
          </p:nvSpPr>
          <p:spPr>
            <a:xfrm>
              <a:off x="4193249" y="-1759656"/>
              <a:ext cx="457200" cy="228600"/>
            </a:xfrm>
            <a:prstGeom prst="rect">
              <a:avLst/>
            </a:prstGeom>
            <a:solidFill>
              <a:srgbClr val="F1C4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45" name="Rectangle 144"/>
            <p:cNvSpPr/>
            <p:nvPr userDrawn="1"/>
          </p:nvSpPr>
          <p:spPr>
            <a:xfrm>
              <a:off x="4193249" y="-1548200"/>
              <a:ext cx="457200" cy="228600"/>
            </a:xfrm>
            <a:prstGeom prst="rect">
              <a:avLst/>
            </a:prstGeom>
            <a:solidFill>
              <a:srgbClr val="F39C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68" name="Rectangle 167"/>
            <p:cNvSpPr/>
            <p:nvPr userDrawn="1"/>
          </p:nvSpPr>
          <p:spPr>
            <a:xfrm>
              <a:off x="4193249" y="-1327827"/>
              <a:ext cx="457200" cy="228600"/>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69" name="Rectangle 168"/>
            <p:cNvSpPr/>
            <p:nvPr userDrawn="1"/>
          </p:nvSpPr>
          <p:spPr>
            <a:xfrm>
              <a:off x="4193249" y="-1993740"/>
              <a:ext cx="457200" cy="228600"/>
            </a:xfrm>
            <a:prstGeom prst="rect">
              <a:avLst/>
            </a:prstGeom>
            <a:solidFill>
              <a:srgbClr val="FFF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13" name="Group 12"/>
          <p:cNvGrpSpPr/>
          <p:nvPr userDrawn="1"/>
        </p:nvGrpSpPr>
        <p:grpSpPr>
          <a:xfrm>
            <a:off x="13019435" y="1091889"/>
            <a:ext cx="388640" cy="564176"/>
            <a:chOff x="4976205" y="-1972007"/>
            <a:chExt cx="457200" cy="663797"/>
          </a:xfrm>
        </p:grpSpPr>
        <p:sp>
          <p:nvSpPr>
            <p:cNvPr id="148" name="Rectangle 147"/>
            <p:cNvSpPr/>
            <p:nvPr userDrawn="1"/>
          </p:nvSpPr>
          <p:spPr>
            <a:xfrm>
              <a:off x="4976205" y="-1972007"/>
              <a:ext cx="457200" cy="228600"/>
            </a:xfrm>
            <a:prstGeom prst="rect">
              <a:avLst/>
            </a:prstGeom>
            <a:solidFill>
              <a:srgbClr val="E77E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49" name="Rectangle 148"/>
            <p:cNvSpPr/>
            <p:nvPr userDrawn="1"/>
          </p:nvSpPr>
          <p:spPr>
            <a:xfrm>
              <a:off x="4976205" y="-1760551"/>
              <a:ext cx="457200" cy="228600"/>
            </a:xfrm>
            <a:prstGeom prst="rect">
              <a:avLst/>
            </a:prstGeom>
            <a:solidFill>
              <a:srgbClr val="D554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75" name="Rectangle 174"/>
            <p:cNvSpPr/>
            <p:nvPr userDrawn="1"/>
          </p:nvSpPr>
          <p:spPr>
            <a:xfrm>
              <a:off x="4976205" y="-1536810"/>
              <a:ext cx="457200" cy="228600"/>
            </a:xfrm>
            <a:prstGeom prst="rect">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15" name="Group 14"/>
          <p:cNvGrpSpPr/>
          <p:nvPr userDrawn="1"/>
        </p:nvGrpSpPr>
        <p:grpSpPr>
          <a:xfrm>
            <a:off x="12491650" y="5008618"/>
            <a:ext cx="388640" cy="553735"/>
            <a:chOff x="3410293" y="-2016625"/>
            <a:chExt cx="457200" cy="651512"/>
          </a:xfrm>
        </p:grpSpPr>
        <p:sp>
          <p:nvSpPr>
            <p:cNvPr id="170" name="Rectangle 169"/>
            <p:cNvSpPr/>
            <p:nvPr userDrawn="1"/>
          </p:nvSpPr>
          <p:spPr>
            <a:xfrm>
              <a:off x="3410293" y="-2016625"/>
              <a:ext cx="457200" cy="228600"/>
            </a:xfrm>
            <a:prstGeom prst="rect">
              <a:avLst/>
            </a:prstGeom>
            <a:solidFill>
              <a:srgbClr val="E3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77" name="Rectangle 176"/>
            <p:cNvSpPr/>
            <p:nvPr userDrawn="1"/>
          </p:nvSpPr>
          <p:spPr>
            <a:xfrm>
              <a:off x="3410293" y="-1805169"/>
              <a:ext cx="457200" cy="228600"/>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83" name="Rectangle 182"/>
            <p:cNvSpPr/>
            <p:nvPr userDrawn="1"/>
          </p:nvSpPr>
          <p:spPr>
            <a:xfrm>
              <a:off x="3410293" y="-1593713"/>
              <a:ext cx="457200" cy="228600"/>
            </a:xfrm>
            <a:prstGeom prst="rect">
              <a:avLst/>
            </a:prstGeom>
            <a:solidFill>
              <a:srgbClr val="5C00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11" name="Group 10"/>
          <p:cNvGrpSpPr/>
          <p:nvPr userDrawn="1"/>
        </p:nvGrpSpPr>
        <p:grpSpPr>
          <a:xfrm>
            <a:off x="13019435" y="3473"/>
            <a:ext cx="388640" cy="381638"/>
            <a:chOff x="5638724" y="-1319654"/>
            <a:chExt cx="457200" cy="449027"/>
          </a:xfrm>
        </p:grpSpPr>
        <p:sp>
          <p:nvSpPr>
            <p:cNvPr id="178" name="Rectangle 177"/>
            <p:cNvSpPr/>
            <p:nvPr userDrawn="1"/>
          </p:nvSpPr>
          <p:spPr>
            <a:xfrm>
              <a:off x="5638724" y="-1319654"/>
              <a:ext cx="457200" cy="228600"/>
            </a:xfrm>
            <a:prstGeom prst="rect">
              <a:avLst/>
            </a:prstGeom>
            <a:solidFill>
              <a:srgbClr val="E811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84" name="Rectangle 183"/>
            <p:cNvSpPr/>
            <p:nvPr userDrawn="1"/>
          </p:nvSpPr>
          <p:spPr>
            <a:xfrm>
              <a:off x="5638724" y="-1099227"/>
              <a:ext cx="457200" cy="228600"/>
            </a:xfrm>
            <a:prstGeom prst="rect">
              <a:avLst/>
            </a:prstGeom>
            <a:solidFill>
              <a:srgbClr val="A8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4" name="Group 3"/>
          <p:cNvGrpSpPr/>
          <p:nvPr userDrawn="1"/>
        </p:nvGrpSpPr>
        <p:grpSpPr>
          <a:xfrm>
            <a:off x="12495223" y="0"/>
            <a:ext cx="388640" cy="555147"/>
            <a:chOff x="296917" y="-1379669"/>
            <a:chExt cx="457200" cy="653173"/>
          </a:xfrm>
        </p:grpSpPr>
        <p:sp>
          <p:nvSpPr>
            <p:cNvPr id="173" name="Rectangle 172"/>
            <p:cNvSpPr/>
            <p:nvPr userDrawn="1"/>
          </p:nvSpPr>
          <p:spPr>
            <a:xfrm>
              <a:off x="296917" y="-1379669"/>
              <a:ext cx="457200" cy="228600"/>
            </a:xfrm>
            <a:prstGeom prst="rect">
              <a:avLst/>
            </a:prstGeom>
            <a:solidFill>
              <a:srgbClr val="BAD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81" name="Rectangle 180"/>
            <p:cNvSpPr/>
            <p:nvPr userDrawn="1"/>
          </p:nvSpPr>
          <p:spPr>
            <a:xfrm>
              <a:off x="296917" y="-1167447"/>
              <a:ext cx="457200" cy="228600"/>
            </a:xfrm>
            <a:prstGeom prst="rect">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87" name="Rectangle 186"/>
            <p:cNvSpPr/>
            <p:nvPr userDrawn="1"/>
          </p:nvSpPr>
          <p:spPr>
            <a:xfrm>
              <a:off x="296917" y="-955096"/>
              <a:ext cx="457200" cy="228600"/>
            </a:xfrm>
            <a:prstGeom prst="rect">
              <a:avLst/>
            </a:prstGeom>
            <a:solidFill>
              <a:srgbClr val="004B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5" name="Group 4"/>
          <p:cNvGrpSpPr/>
          <p:nvPr userDrawn="1"/>
        </p:nvGrpSpPr>
        <p:grpSpPr>
          <a:xfrm>
            <a:off x="12491650" y="721709"/>
            <a:ext cx="388640" cy="935324"/>
            <a:chOff x="1016432" y="-1311817"/>
            <a:chExt cx="457200" cy="1100481"/>
          </a:xfrm>
        </p:grpSpPr>
        <p:sp>
          <p:nvSpPr>
            <p:cNvPr id="142" name="Rectangle 141"/>
            <p:cNvSpPr/>
            <p:nvPr userDrawn="1"/>
          </p:nvSpPr>
          <p:spPr>
            <a:xfrm>
              <a:off x="1016432" y="-1311817"/>
              <a:ext cx="457200" cy="228600"/>
            </a:xfrm>
            <a:prstGeom prst="rect">
              <a:avLst/>
            </a:prstGeom>
            <a:solidFill>
              <a:srgbClr val="1ABD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43" name="Rectangle 142"/>
            <p:cNvSpPr/>
            <p:nvPr userDrawn="1"/>
          </p:nvSpPr>
          <p:spPr>
            <a:xfrm>
              <a:off x="1016432" y="-867342"/>
              <a:ext cx="457200" cy="228600"/>
            </a:xfrm>
            <a:prstGeom prst="rect">
              <a:avLst/>
            </a:prstGeom>
            <a:solidFill>
              <a:srgbClr val="159F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74" name="Rectangle 173"/>
            <p:cNvSpPr/>
            <p:nvPr userDrawn="1"/>
          </p:nvSpPr>
          <p:spPr>
            <a:xfrm>
              <a:off x="1016432" y="-1086758"/>
              <a:ext cx="457200" cy="228600"/>
            </a:xfrm>
            <a:prstGeom prst="rect">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82" name="Rectangle 181"/>
            <p:cNvSpPr/>
            <p:nvPr userDrawn="1"/>
          </p:nvSpPr>
          <p:spPr>
            <a:xfrm>
              <a:off x="1016432" y="-651392"/>
              <a:ext cx="457200" cy="2286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88" name="Rectangle 187"/>
            <p:cNvSpPr/>
            <p:nvPr userDrawn="1"/>
          </p:nvSpPr>
          <p:spPr>
            <a:xfrm>
              <a:off x="1016432" y="-439936"/>
              <a:ext cx="457200" cy="228600"/>
            </a:xfrm>
            <a:prstGeom prst="rect">
              <a:avLst/>
            </a:prstGeom>
            <a:solidFill>
              <a:srgbClr val="004B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10" name="Group 9"/>
          <p:cNvGrpSpPr/>
          <p:nvPr userDrawn="1"/>
        </p:nvGrpSpPr>
        <p:grpSpPr>
          <a:xfrm>
            <a:off x="12491650" y="4080870"/>
            <a:ext cx="388640" cy="748027"/>
            <a:chOff x="7618919" y="-1964200"/>
            <a:chExt cx="457200" cy="880112"/>
          </a:xfrm>
        </p:grpSpPr>
        <p:sp>
          <p:nvSpPr>
            <p:cNvPr id="171" name="Rectangle 170"/>
            <p:cNvSpPr/>
            <p:nvPr userDrawn="1"/>
          </p:nvSpPr>
          <p:spPr>
            <a:xfrm>
              <a:off x="7618919" y="-1964200"/>
              <a:ext cx="457200" cy="2286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79" name="Rectangle 178"/>
            <p:cNvSpPr/>
            <p:nvPr userDrawn="1"/>
          </p:nvSpPr>
          <p:spPr>
            <a:xfrm>
              <a:off x="7618919" y="-1752744"/>
              <a:ext cx="457200" cy="22860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85" name="Rectangle 184"/>
            <p:cNvSpPr/>
            <p:nvPr userDrawn="1"/>
          </p:nvSpPr>
          <p:spPr>
            <a:xfrm>
              <a:off x="7618919" y="-1541288"/>
              <a:ext cx="457200" cy="228600"/>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89" name="Rectangle 188"/>
            <p:cNvSpPr/>
            <p:nvPr userDrawn="1"/>
          </p:nvSpPr>
          <p:spPr>
            <a:xfrm>
              <a:off x="7618919" y="-1312688"/>
              <a:ext cx="457200" cy="228600"/>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9" name="Group 8"/>
          <p:cNvGrpSpPr/>
          <p:nvPr userDrawn="1"/>
        </p:nvGrpSpPr>
        <p:grpSpPr>
          <a:xfrm>
            <a:off x="12491650" y="2964392"/>
            <a:ext cx="388640" cy="915154"/>
            <a:chOff x="2624959" y="-2015149"/>
            <a:chExt cx="457200" cy="1076750"/>
          </a:xfrm>
        </p:grpSpPr>
        <p:sp>
          <p:nvSpPr>
            <p:cNvPr id="154" name="Rectangle 153"/>
            <p:cNvSpPr/>
            <p:nvPr userDrawn="1"/>
          </p:nvSpPr>
          <p:spPr>
            <a:xfrm>
              <a:off x="2624959" y="-2015149"/>
              <a:ext cx="457200" cy="228600"/>
            </a:xfrm>
            <a:prstGeom prst="rect">
              <a:avLst/>
            </a:prstGeom>
            <a:solidFill>
              <a:srgbClr val="9C59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55" name="Rectangle 154"/>
            <p:cNvSpPr/>
            <p:nvPr userDrawn="1"/>
          </p:nvSpPr>
          <p:spPr>
            <a:xfrm>
              <a:off x="2624959" y="-1788025"/>
              <a:ext cx="457200" cy="228600"/>
            </a:xfrm>
            <a:prstGeom prst="rect">
              <a:avLst/>
            </a:prstGeom>
            <a:solidFill>
              <a:srgbClr val="8F44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93" name="Rectangle 192"/>
            <p:cNvSpPr/>
            <p:nvPr userDrawn="1"/>
          </p:nvSpPr>
          <p:spPr>
            <a:xfrm>
              <a:off x="2624959" y="-1571489"/>
              <a:ext cx="457200" cy="228600"/>
            </a:xfrm>
            <a:prstGeom prst="rect">
              <a:avLst/>
            </a:prstGeom>
            <a:solidFill>
              <a:srgbClr val="6C46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94" name="Rectangle 193"/>
            <p:cNvSpPr/>
            <p:nvPr userDrawn="1"/>
          </p:nvSpPr>
          <p:spPr>
            <a:xfrm>
              <a:off x="2624959" y="-1344365"/>
              <a:ext cx="457200" cy="228600"/>
            </a:xfrm>
            <a:prstGeom prst="rect">
              <a:avLst/>
            </a:prstGeom>
            <a:solidFill>
              <a:srgbClr val="5638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95" name="Rectangle 194"/>
            <p:cNvSpPr/>
            <p:nvPr userDrawn="1"/>
          </p:nvSpPr>
          <p:spPr>
            <a:xfrm>
              <a:off x="2624959" y="-1166999"/>
              <a:ext cx="457200" cy="228600"/>
            </a:xfrm>
            <a:prstGeom prst="rect">
              <a:avLst/>
            </a:prstGeom>
            <a:solidFill>
              <a:srgbClr val="3522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66" name="Group 65"/>
          <p:cNvGrpSpPr/>
          <p:nvPr userDrawn="1"/>
        </p:nvGrpSpPr>
        <p:grpSpPr>
          <a:xfrm>
            <a:off x="13019435" y="2736935"/>
            <a:ext cx="388640" cy="374014"/>
            <a:chOff x="6835963" y="-1737996"/>
            <a:chExt cx="457200" cy="440056"/>
          </a:xfrm>
        </p:grpSpPr>
        <p:sp>
          <p:nvSpPr>
            <p:cNvPr id="67" name="Rectangle 66"/>
            <p:cNvSpPr/>
            <p:nvPr userDrawn="1"/>
          </p:nvSpPr>
          <p:spPr>
            <a:xfrm>
              <a:off x="6835963" y="-1737996"/>
              <a:ext cx="457200" cy="22860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68" name="Rectangle 67"/>
            <p:cNvSpPr/>
            <p:nvPr userDrawn="1"/>
          </p:nvSpPr>
          <p:spPr>
            <a:xfrm>
              <a:off x="6835963" y="-1526540"/>
              <a:ext cx="457200" cy="228600"/>
            </a:xfrm>
            <a:prstGeom prst="rect">
              <a:avLst/>
            </a:prstGeom>
            <a:solidFill>
              <a:srgbClr val="3214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spTree>
    <p:extLst>
      <p:ext uri="{BB962C8B-B14F-4D97-AF65-F5344CB8AC3E}">
        <p14:creationId xmlns:p14="http://schemas.microsoft.com/office/powerpoint/2010/main" val="3205987823"/>
      </p:ext>
    </p:extLst>
  </p:cSld>
  <p:clrMap bg1="lt1" tx1="dk1" bg2="lt2" tx2="dk2" accent1="accent1" accent2="accent2" accent3="accent3" accent4="accent4" accent5="accent5" accent6="accent6" hlink="hlink" folHlink="folHlink"/>
  <p:sldLayoutIdLst>
    <p:sldLayoutId id="2147484300" r:id="rId1"/>
    <p:sldLayoutId id="2147484301" r:id="rId2"/>
    <p:sldLayoutId id="2147484302" r:id="rId3"/>
    <p:sldLayoutId id="2147484303" r:id="rId4"/>
    <p:sldLayoutId id="2147484304" r:id="rId5"/>
    <p:sldLayoutId id="2147484305" r:id="rId6"/>
    <p:sldLayoutId id="2147484306" r:id="rId7"/>
    <p:sldLayoutId id="2147484307" r:id="rId8"/>
    <p:sldLayoutId id="2147484308" r:id="rId9"/>
    <p:sldLayoutId id="2147484309" r:id="rId10"/>
  </p:sldLayoutIdLst>
  <p:txStyles>
    <p:titleStyle>
      <a:lvl1pPr algn="l" defTabSz="932578" rtl="0" eaLnBrk="1" latinLnBrk="0" hangingPunct="1">
        <a:lnSpc>
          <a:spcPct val="90000"/>
        </a:lnSpc>
        <a:spcBef>
          <a:spcPct val="0"/>
        </a:spcBef>
        <a:buNone/>
        <a:defRPr sz="4487" kern="1200">
          <a:solidFill>
            <a:schemeClr val="tx1"/>
          </a:solidFill>
          <a:latin typeface="+mj-lt"/>
          <a:ea typeface="+mj-ea"/>
          <a:cs typeface="+mj-cs"/>
        </a:defRPr>
      </a:lvl1pPr>
    </p:titleStyle>
    <p:bodyStyle>
      <a:lvl1pPr marL="233145" indent="-233145" algn="l" defTabSz="932578"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34" indent="-233145" algn="l" defTabSz="932578"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23" indent="-233145" algn="l" defTabSz="932578"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12"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01"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590"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879"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169"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458"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78" rtl="0" eaLnBrk="1" latinLnBrk="0" hangingPunct="1">
        <a:defRPr sz="1836" kern="1200">
          <a:solidFill>
            <a:schemeClr val="tx1"/>
          </a:solidFill>
          <a:latin typeface="+mn-lt"/>
          <a:ea typeface="+mn-ea"/>
          <a:cs typeface="+mn-cs"/>
        </a:defRPr>
      </a:lvl1pPr>
      <a:lvl2pPr marL="466289" algn="l" defTabSz="932578" rtl="0" eaLnBrk="1" latinLnBrk="0" hangingPunct="1">
        <a:defRPr sz="1836" kern="1200">
          <a:solidFill>
            <a:schemeClr val="tx1"/>
          </a:solidFill>
          <a:latin typeface="+mn-lt"/>
          <a:ea typeface="+mn-ea"/>
          <a:cs typeface="+mn-cs"/>
        </a:defRPr>
      </a:lvl2pPr>
      <a:lvl3pPr marL="932578" algn="l" defTabSz="932578" rtl="0" eaLnBrk="1" latinLnBrk="0" hangingPunct="1">
        <a:defRPr sz="1836" kern="1200">
          <a:solidFill>
            <a:schemeClr val="tx1"/>
          </a:solidFill>
          <a:latin typeface="+mn-lt"/>
          <a:ea typeface="+mn-ea"/>
          <a:cs typeface="+mn-cs"/>
        </a:defRPr>
      </a:lvl3pPr>
      <a:lvl4pPr marL="1398867" algn="l" defTabSz="932578" rtl="0" eaLnBrk="1" latinLnBrk="0" hangingPunct="1">
        <a:defRPr sz="1836" kern="1200">
          <a:solidFill>
            <a:schemeClr val="tx1"/>
          </a:solidFill>
          <a:latin typeface="+mn-lt"/>
          <a:ea typeface="+mn-ea"/>
          <a:cs typeface="+mn-cs"/>
        </a:defRPr>
      </a:lvl4pPr>
      <a:lvl5pPr marL="1865157" algn="l" defTabSz="932578" rtl="0" eaLnBrk="1" latinLnBrk="0" hangingPunct="1">
        <a:defRPr sz="1836" kern="1200">
          <a:solidFill>
            <a:schemeClr val="tx1"/>
          </a:solidFill>
          <a:latin typeface="+mn-lt"/>
          <a:ea typeface="+mn-ea"/>
          <a:cs typeface="+mn-cs"/>
        </a:defRPr>
      </a:lvl5pPr>
      <a:lvl6pPr marL="2331446" algn="l" defTabSz="932578" rtl="0" eaLnBrk="1" latinLnBrk="0" hangingPunct="1">
        <a:defRPr sz="1836" kern="1200">
          <a:solidFill>
            <a:schemeClr val="tx1"/>
          </a:solidFill>
          <a:latin typeface="+mn-lt"/>
          <a:ea typeface="+mn-ea"/>
          <a:cs typeface="+mn-cs"/>
        </a:defRPr>
      </a:lvl6pPr>
      <a:lvl7pPr marL="2797735" algn="l" defTabSz="932578" rtl="0" eaLnBrk="1" latinLnBrk="0" hangingPunct="1">
        <a:defRPr sz="1836" kern="1200">
          <a:solidFill>
            <a:schemeClr val="tx1"/>
          </a:solidFill>
          <a:latin typeface="+mn-lt"/>
          <a:ea typeface="+mn-ea"/>
          <a:cs typeface="+mn-cs"/>
        </a:defRPr>
      </a:lvl7pPr>
      <a:lvl8pPr marL="3264024" algn="l" defTabSz="932578" rtl="0" eaLnBrk="1" latinLnBrk="0" hangingPunct="1">
        <a:defRPr sz="1836" kern="1200">
          <a:solidFill>
            <a:schemeClr val="tx1"/>
          </a:solidFill>
          <a:latin typeface="+mn-lt"/>
          <a:ea typeface="+mn-ea"/>
          <a:cs typeface="+mn-cs"/>
        </a:defRPr>
      </a:lvl8pPr>
      <a:lvl9pPr marL="3730313" algn="l" defTabSz="932578" rtl="0" eaLnBrk="1" latinLnBrk="0" hangingPunct="1">
        <a:defRPr sz="183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92">
          <p15:clr>
            <a:srgbClr val="F26B43"/>
          </p15:clr>
        </p15:guide>
        <p15:guide id="2" pos="46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94320" y="194292"/>
            <a:ext cx="12047836" cy="151368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194320" y="1861969"/>
            <a:ext cx="12047836" cy="454967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11076235" y="6593405"/>
            <a:ext cx="1165920" cy="388585"/>
          </a:xfrm>
          <a:prstGeom prst="rect">
            <a:avLst/>
          </a:prstGeom>
        </p:spPr>
        <p:txBody>
          <a:bodyPr vert="horz" lIns="91440" tIns="45720" rIns="91440" bIns="45720" rtlCol="0" anchor="ctr"/>
          <a:lstStyle>
            <a:lvl1pPr algn="r">
              <a:defRPr sz="1224">
                <a:solidFill>
                  <a:schemeClr val="tx1">
                    <a:tint val="75000"/>
                  </a:schemeClr>
                </a:solidFill>
              </a:defRPr>
            </a:lvl1pPr>
          </a:lstStyle>
          <a:p>
            <a:fld id="{74A4D22A-FBB2-4BFF-B227-90CB66619072}" type="slidenum">
              <a:rPr lang="en-US" smtClean="0">
                <a:solidFill>
                  <a:prstClr val="black">
                    <a:tint val="75000"/>
                  </a:prstClr>
                </a:solidFill>
              </a:rPr>
              <a:pPr/>
              <a:t>‹#›</a:t>
            </a:fld>
            <a:endParaRPr lang="en-US">
              <a:solidFill>
                <a:prstClr val="black">
                  <a:tint val="75000"/>
                </a:prstClr>
              </a:solidFill>
            </a:endParaRPr>
          </a:p>
        </p:txBody>
      </p:sp>
      <p:grpSp>
        <p:nvGrpSpPr>
          <p:cNvPr id="7" name="Group 6"/>
          <p:cNvGrpSpPr/>
          <p:nvPr userDrawn="1"/>
        </p:nvGrpSpPr>
        <p:grpSpPr>
          <a:xfrm>
            <a:off x="12491650" y="1826002"/>
            <a:ext cx="388640" cy="387330"/>
            <a:chOff x="1030576" y="-2013396"/>
            <a:chExt cx="457200" cy="455724"/>
          </a:xfrm>
        </p:grpSpPr>
        <p:sp>
          <p:nvSpPr>
            <p:cNvPr id="146" name="Rectangle 145"/>
            <p:cNvSpPr/>
            <p:nvPr userDrawn="1"/>
          </p:nvSpPr>
          <p:spPr>
            <a:xfrm>
              <a:off x="1030576" y="-2013396"/>
              <a:ext cx="457200" cy="228600"/>
            </a:xfrm>
            <a:prstGeom prst="rect">
              <a:avLst/>
            </a:prstGeom>
            <a:solidFill>
              <a:srgbClr val="2FC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47" name="Rectangle 146"/>
            <p:cNvSpPr/>
            <p:nvPr userDrawn="1"/>
          </p:nvSpPr>
          <p:spPr>
            <a:xfrm>
              <a:off x="1030576" y="-1786272"/>
              <a:ext cx="457200" cy="228600"/>
            </a:xfrm>
            <a:prstGeom prst="rect">
              <a:avLst/>
            </a:prstGeom>
            <a:solidFill>
              <a:srgbClr val="27AE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8" name="Group 7"/>
          <p:cNvGrpSpPr/>
          <p:nvPr userDrawn="1"/>
        </p:nvGrpSpPr>
        <p:grpSpPr>
          <a:xfrm>
            <a:off x="12491650" y="2395195"/>
            <a:ext cx="388640" cy="387330"/>
            <a:chOff x="1862829" y="-2015149"/>
            <a:chExt cx="457200" cy="455724"/>
          </a:xfrm>
        </p:grpSpPr>
        <p:sp>
          <p:nvSpPr>
            <p:cNvPr id="150" name="Rectangle 149"/>
            <p:cNvSpPr/>
            <p:nvPr userDrawn="1"/>
          </p:nvSpPr>
          <p:spPr>
            <a:xfrm>
              <a:off x="1862829" y="-2015149"/>
              <a:ext cx="457200" cy="228600"/>
            </a:xfrm>
            <a:prstGeom prst="rect">
              <a:avLst/>
            </a:prstGeom>
            <a:solidFill>
              <a:srgbClr val="3398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51" name="Rectangle 150"/>
            <p:cNvSpPr/>
            <p:nvPr userDrawn="1"/>
          </p:nvSpPr>
          <p:spPr>
            <a:xfrm>
              <a:off x="1862829" y="-1788025"/>
              <a:ext cx="457200" cy="228600"/>
            </a:xfrm>
            <a:prstGeom prst="rect">
              <a:avLst/>
            </a:prstGeom>
            <a:solidFill>
              <a:srgbClr val="2A80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12" name="Group 11"/>
          <p:cNvGrpSpPr/>
          <p:nvPr userDrawn="1"/>
        </p:nvGrpSpPr>
        <p:grpSpPr>
          <a:xfrm>
            <a:off x="13019435" y="552724"/>
            <a:ext cx="388640" cy="374014"/>
            <a:chOff x="5668736" y="-1973760"/>
            <a:chExt cx="457200" cy="440056"/>
          </a:xfrm>
        </p:grpSpPr>
        <p:sp>
          <p:nvSpPr>
            <p:cNvPr id="152" name="Rectangle 151"/>
            <p:cNvSpPr/>
            <p:nvPr userDrawn="1"/>
          </p:nvSpPr>
          <p:spPr>
            <a:xfrm>
              <a:off x="5668736" y="-1973760"/>
              <a:ext cx="457200" cy="228600"/>
            </a:xfrm>
            <a:prstGeom prst="rect">
              <a:avLst/>
            </a:prstGeom>
            <a:solidFill>
              <a:srgbClr val="E74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53" name="Rectangle 152"/>
            <p:cNvSpPr/>
            <p:nvPr userDrawn="1"/>
          </p:nvSpPr>
          <p:spPr>
            <a:xfrm>
              <a:off x="5668736" y="-1762304"/>
              <a:ext cx="457200" cy="228600"/>
            </a:xfrm>
            <a:prstGeom prst="rect">
              <a:avLst/>
            </a:prstGeom>
            <a:solidFill>
              <a:srgbClr val="C139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17" name="Group 16"/>
          <p:cNvGrpSpPr/>
          <p:nvPr userDrawn="1"/>
        </p:nvGrpSpPr>
        <p:grpSpPr>
          <a:xfrm>
            <a:off x="13019435" y="3290670"/>
            <a:ext cx="388640" cy="760431"/>
            <a:chOff x="8694775" y="-1964200"/>
            <a:chExt cx="457200" cy="894706"/>
          </a:xfrm>
        </p:grpSpPr>
        <p:sp>
          <p:nvSpPr>
            <p:cNvPr id="158" name="Rectangle 157"/>
            <p:cNvSpPr/>
            <p:nvPr userDrawn="1"/>
          </p:nvSpPr>
          <p:spPr>
            <a:xfrm>
              <a:off x="8694775" y="-1525218"/>
              <a:ext cx="457200" cy="228600"/>
            </a:xfrm>
            <a:prstGeom prst="rect">
              <a:avLst/>
            </a:prstGeom>
            <a:solidFill>
              <a:srgbClr val="3449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59" name="Rectangle 158"/>
            <p:cNvSpPr/>
            <p:nvPr userDrawn="1"/>
          </p:nvSpPr>
          <p:spPr>
            <a:xfrm>
              <a:off x="8694775" y="-1298094"/>
              <a:ext cx="457200" cy="228600"/>
            </a:xfrm>
            <a:prstGeom prst="rect">
              <a:avLst/>
            </a:prstGeom>
            <a:solidFill>
              <a:srgbClr val="2D3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60" name="Rectangle 159"/>
            <p:cNvSpPr/>
            <p:nvPr userDrawn="1"/>
          </p:nvSpPr>
          <p:spPr>
            <a:xfrm>
              <a:off x="8694775" y="-1964200"/>
              <a:ext cx="457200" cy="228600"/>
            </a:xfrm>
            <a:prstGeom prst="rect">
              <a:avLst/>
            </a:prstGeom>
            <a:solidFill>
              <a:srgbClr val="9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61" name="Rectangle 160"/>
            <p:cNvSpPr/>
            <p:nvPr userDrawn="1"/>
          </p:nvSpPr>
          <p:spPr>
            <a:xfrm>
              <a:off x="8694775" y="-1758518"/>
              <a:ext cx="457200" cy="228600"/>
            </a:xfrm>
            <a:prstGeom prst="rect">
              <a:avLst/>
            </a:prstGeom>
            <a:solidFill>
              <a:srgbClr val="808B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18" name="Group 17"/>
          <p:cNvGrpSpPr/>
          <p:nvPr userDrawn="1"/>
        </p:nvGrpSpPr>
        <p:grpSpPr>
          <a:xfrm>
            <a:off x="13019435" y="4206738"/>
            <a:ext cx="392020" cy="1543745"/>
            <a:chOff x="338045" y="-2490839"/>
            <a:chExt cx="461176" cy="1816336"/>
          </a:xfrm>
        </p:grpSpPr>
        <p:sp>
          <p:nvSpPr>
            <p:cNvPr id="156" name="Rectangle 155"/>
            <p:cNvSpPr/>
            <p:nvPr userDrawn="1"/>
          </p:nvSpPr>
          <p:spPr>
            <a:xfrm>
              <a:off x="342021" y="-2262628"/>
              <a:ext cx="457200" cy="228600"/>
            </a:xfrm>
            <a:prstGeom prst="rect">
              <a:avLst/>
            </a:prstGeom>
            <a:solidFill>
              <a:srgbClr val="ECF0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57" name="Rectangle 156"/>
            <p:cNvSpPr/>
            <p:nvPr userDrawn="1"/>
          </p:nvSpPr>
          <p:spPr>
            <a:xfrm>
              <a:off x="338045" y="-1806206"/>
              <a:ext cx="457200" cy="228600"/>
            </a:xfrm>
            <a:prstGeom prst="rect">
              <a:avLst/>
            </a:prstGeom>
            <a:solidFill>
              <a:srgbClr val="BEC3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62" name="Rectangle 161"/>
            <p:cNvSpPr/>
            <p:nvPr userDrawn="1"/>
          </p:nvSpPr>
          <p:spPr>
            <a:xfrm>
              <a:off x="338045" y="-2034417"/>
              <a:ext cx="457200" cy="228600"/>
            </a:xfrm>
            <a:prstGeom prst="rect">
              <a:avLst/>
            </a:prstGeom>
            <a:solidFill>
              <a:srgbClr val="D7D7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63" name="Rectangle 162"/>
            <p:cNvSpPr/>
            <p:nvPr userDrawn="1"/>
          </p:nvSpPr>
          <p:spPr>
            <a:xfrm>
              <a:off x="338045" y="-2490839"/>
              <a:ext cx="457200" cy="2286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64" name="Rectangle 163"/>
            <p:cNvSpPr/>
            <p:nvPr userDrawn="1"/>
          </p:nvSpPr>
          <p:spPr>
            <a:xfrm>
              <a:off x="338045" y="-1358229"/>
              <a:ext cx="457200" cy="2286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65" name="Rectangle 164"/>
            <p:cNvSpPr/>
            <p:nvPr userDrawn="1"/>
          </p:nvSpPr>
          <p:spPr>
            <a:xfrm>
              <a:off x="338045" y="-1580977"/>
              <a:ext cx="457200" cy="228600"/>
            </a:xfrm>
            <a:prstGeom prst="rect">
              <a:avLst/>
            </a:prstGeom>
            <a:solidFill>
              <a:srgbClr val="9696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66" name="Rectangle 165"/>
            <p:cNvSpPr/>
            <p:nvPr userDrawn="1"/>
          </p:nvSpPr>
          <p:spPr>
            <a:xfrm>
              <a:off x="338045" y="-903103"/>
              <a:ext cx="457200" cy="2286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67" name="Rectangle 166"/>
            <p:cNvSpPr/>
            <p:nvPr userDrawn="1"/>
          </p:nvSpPr>
          <p:spPr>
            <a:xfrm>
              <a:off x="338045" y="-1129629"/>
              <a:ext cx="457200" cy="228600"/>
            </a:xfrm>
            <a:prstGeom prst="rect">
              <a:avLst/>
            </a:prstGeom>
            <a:solidFill>
              <a:srgbClr val="5252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14" name="Group 13"/>
          <p:cNvGrpSpPr/>
          <p:nvPr userDrawn="1"/>
        </p:nvGrpSpPr>
        <p:grpSpPr>
          <a:xfrm>
            <a:off x="13019435" y="1821586"/>
            <a:ext cx="388640" cy="760267"/>
            <a:chOff x="4193249" y="-1993740"/>
            <a:chExt cx="457200" cy="894513"/>
          </a:xfrm>
        </p:grpSpPr>
        <p:sp>
          <p:nvSpPr>
            <p:cNvPr id="144" name="Rectangle 143"/>
            <p:cNvSpPr/>
            <p:nvPr userDrawn="1"/>
          </p:nvSpPr>
          <p:spPr>
            <a:xfrm>
              <a:off x="4193249" y="-1759656"/>
              <a:ext cx="457200" cy="228600"/>
            </a:xfrm>
            <a:prstGeom prst="rect">
              <a:avLst/>
            </a:prstGeom>
            <a:solidFill>
              <a:srgbClr val="F1C4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45" name="Rectangle 144"/>
            <p:cNvSpPr/>
            <p:nvPr userDrawn="1"/>
          </p:nvSpPr>
          <p:spPr>
            <a:xfrm>
              <a:off x="4193249" y="-1548200"/>
              <a:ext cx="457200" cy="228600"/>
            </a:xfrm>
            <a:prstGeom prst="rect">
              <a:avLst/>
            </a:prstGeom>
            <a:solidFill>
              <a:srgbClr val="F39C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68" name="Rectangle 167"/>
            <p:cNvSpPr/>
            <p:nvPr userDrawn="1"/>
          </p:nvSpPr>
          <p:spPr>
            <a:xfrm>
              <a:off x="4193249" y="-1327827"/>
              <a:ext cx="457200" cy="228600"/>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69" name="Rectangle 168"/>
            <p:cNvSpPr/>
            <p:nvPr userDrawn="1"/>
          </p:nvSpPr>
          <p:spPr>
            <a:xfrm>
              <a:off x="4193249" y="-1993740"/>
              <a:ext cx="457200" cy="228600"/>
            </a:xfrm>
            <a:prstGeom prst="rect">
              <a:avLst/>
            </a:prstGeom>
            <a:solidFill>
              <a:srgbClr val="FFF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13" name="Group 12"/>
          <p:cNvGrpSpPr/>
          <p:nvPr userDrawn="1"/>
        </p:nvGrpSpPr>
        <p:grpSpPr>
          <a:xfrm>
            <a:off x="13019435" y="1091889"/>
            <a:ext cx="388640" cy="564176"/>
            <a:chOff x="4976205" y="-1972007"/>
            <a:chExt cx="457200" cy="663797"/>
          </a:xfrm>
        </p:grpSpPr>
        <p:sp>
          <p:nvSpPr>
            <p:cNvPr id="148" name="Rectangle 147"/>
            <p:cNvSpPr/>
            <p:nvPr userDrawn="1"/>
          </p:nvSpPr>
          <p:spPr>
            <a:xfrm>
              <a:off x="4976205" y="-1972007"/>
              <a:ext cx="457200" cy="228600"/>
            </a:xfrm>
            <a:prstGeom prst="rect">
              <a:avLst/>
            </a:prstGeom>
            <a:solidFill>
              <a:srgbClr val="E77E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49" name="Rectangle 148"/>
            <p:cNvSpPr/>
            <p:nvPr userDrawn="1"/>
          </p:nvSpPr>
          <p:spPr>
            <a:xfrm>
              <a:off x="4976205" y="-1760551"/>
              <a:ext cx="457200" cy="228600"/>
            </a:xfrm>
            <a:prstGeom prst="rect">
              <a:avLst/>
            </a:prstGeom>
            <a:solidFill>
              <a:srgbClr val="D554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75" name="Rectangle 174"/>
            <p:cNvSpPr/>
            <p:nvPr userDrawn="1"/>
          </p:nvSpPr>
          <p:spPr>
            <a:xfrm>
              <a:off x="4976205" y="-1536810"/>
              <a:ext cx="457200" cy="228600"/>
            </a:xfrm>
            <a:prstGeom prst="rect">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15" name="Group 14"/>
          <p:cNvGrpSpPr/>
          <p:nvPr userDrawn="1"/>
        </p:nvGrpSpPr>
        <p:grpSpPr>
          <a:xfrm>
            <a:off x="12491650" y="5008618"/>
            <a:ext cx="388640" cy="553735"/>
            <a:chOff x="3410293" y="-2016625"/>
            <a:chExt cx="457200" cy="651512"/>
          </a:xfrm>
        </p:grpSpPr>
        <p:sp>
          <p:nvSpPr>
            <p:cNvPr id="170" name="Rectangle 169"/>
            <p:cNvSpPr/>
            <p:nvPr userDrawn="1"/>
          </p:nvSpPr>
          <p:spPr>
            <a:xfrm>
              <a:off x="3410293" y="-2016625"/>
              <a:ext cx="457200" cy="228600"/>
            </a:xfrm>
            <a:prstGeom prst="rect">
              <a:avLst/>
            </a:prstGeom>
            <a:solidFill>
              <a:srgbClr val="E3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77" name="Rectangle 176"/>
            <p:cNvSpPr/>
            <p:nvPr userDrawn="1"/>
          </p:nvSpPr>
          <p:spPr>
            <a:xfrm>
              <a:off x="3410293" y="-1805169"/>
              <a:ext cx="457200" cy="228600"/>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83" name="Rectangle 182"/>
            <p:cNvSpPr/>
            <p:nvPr userDrawn="1"/>
          </p:nvSpPr>
          <p:spPr>
            <a:xfrm>
              <a:off x="3410293" y="-1593713"/>
              <a:ext cx="457200" cy="228600"/>
            </a:xfrm>
            <a:prstGeom prst="rect">
              <a:avLst/>
            </a:prstGeom>
            <a:solidFill>
              <a:srgbClr val="5C00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11" name="Group 10"/>
          <p:cNvGrpSpPr/>
          <p:nvPr userDrawn="1"/>
        </p:nvGrpSpPr>
        <p:grpSpPr>
          <a:xfrm>
            <a:off x="13019435" y="3473"/>
            <a:ext cx="388640" cy="381638"/>
            <a:chOff x="5638724" y="-1319654"/>
            <a:chExt cx="457200" cy="449027"/>
          </a:xfrm>
        </p:grpSpPr>
        <p:sp>
          <p:nvSpPr>
            <p:cNvPr id="178" name="Rectangle 177"/>
            <p:cNvSpPr/>
            <p:nvPr userDrawn="1"/>
          </p:nvSpPr>
          <p:spPr>
            <a:xfrm>
              <a:off x="5638724" y="-1319654"/>
              <a:ext cx="457200" cy="228600"/>
            </a:xfrm>
            <a:prstGeom prst="rect">
              <a:avLst/>
            </a:prstGeom>
            <a:solidFill>
              <a:srgbClr val="E811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84" name="Rectangle 183"/>
            <p:cNvSpPr/>
            <p:nvPr userDrawn="1"/>
          </p:nvSpPr>
          <p:spPr>
            <a:xfrm>
              <a:off x="5638724" y="-1099227"/>
              <a:ext cx="457200" cy="228600"/>
            </a:xfrm>
            <a:prstGeom prst="rect">
              <a:avLst/>
            </a:prstGeom>
            <a:solidFill>
              <a:srgbClr val="A8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4" name="Group 3"/>
          <p:cNvGrpSpPr/>
          <p:nvPr userDrawn="1"/>
        </p:nvGrpSpPr>
        <p:grpSpPr>
          <a:xfrm>
            <a:off x="12495223" y="0"/>
            <a:ext cx="388640" cy="555147"/>
            <a:chOff x="296917" y="-1379669"/>
            <a:chExt cx="457200" cy="653173"/>
          </a:xfrm>
        </p:grpSpPr>
        <p:sp>
          <p:nvSpPr>
            <p:cNvPr id="173" name="Rectangle 172"/>
            <p:cNvSpPr/>
            <p:nvPr userDrawn="1"/>
          </p:nvSpPr>
          <p:spPr>
            <a:xfrm>
              <a:off x="296917" y="-1379669"/>
              <a:ext cx="457200" cy="228600"/>
            </a:xfrm>
            <a:prstGeom prst="rect">
              <a:avLst/>
            </a:prstGeom>
            <a:solidFill>
              <a:srgbClr val="BAD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81" name="Rectangle 180"/>
            <p:cNvSpPr/>
            <p:nvPr userDrawn="1"/>
          </p:nvSpPr>
          <p:spPr>
            <a:xfrm>
              <a:off x="296917" y="-1167447"/>
              <a:ext cx="457200" cy="228600"/>
            </a:xfrm>
            <a:prstGeom prst="rect">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87" name="Rectangle 186"/>
            <p:cNvSpPr/>
            <p:nvPr userDrawn="1"/>
          </p:nvSpPr>
          <p:spPr>
            <a:xfrm>
              <a:off x="296917" y="-955096"/>
              <a:ext cx="457200" cy="228600"/>
            </a:xfrm>
            <a:prstGeom prst="rect">
              <a:avLst/>
            </a:prstGeom>
            <a:solidFill>
              <a:srgbClr val="004B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5" name="Group 4"/>
          <p:cNvGrpSpPr/>
          <p:nvPr userDrawn="1"/>
        </p:nvGrpSpPr>
        <p:grpSpPr>
          <a:xfrm>
            <a:off x="12491650" y="721709"/>
            <a:ext cx="388640" cy="935324"/>
            <a:chOff x="1016432" y="-1311817"/>
            <a:chExt cx="457200" cy="1100481"/>
          </a:xfrm>
        </p:grpSpPr>
        <p:sp>
          <p:nvSpPr>
            <p:cNvPr id="142" name="Rectangle 141"/>
            <p:cNvSpPr/>
            <p:nvPr userDrawn="1"/>
          </p:nvSpPr>
          <p:spPr>
            <a:xfrm>
              <a:off x="1016432" y="-1311817"/>
              <a:ext cx="457200" cy="228600"/>
            </a:xfrm>
            <a:prstGeom prst="rect">
              <a:avLst/>
            </a:prstGeom>
            <a:solidFill>
              <a:srgbClr val="1ABD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43" name="Rectangle 142"/>
            <p:cNvSpPr/>
            <p:nvPr userDrawn="1"/>
          </p:nvSpPr>
          <p:spPr>
            <a:xfrm>
              <a:off x="1016432" y="-867342"/>
              <a:ext cx="457200" cy="228600"/>
            </a:xfrm>
            <a:prstGeom prst="rect">
              <a:avLst/>
            </a:prstGeom>
            <a:solidFill>
              <a:srgbClr val="159F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74" name="Rectangle 173"/>
            <p:cNvSpPr/>
            <p:nvPr userDrawn="1"/>
          </p:nvSpPr>
          <p:spPr>
            <a:xfrm>
              <a:off x="1016432" y="-1086758"/>
              <a:ext cx="457200" cy="228600"/>
            </a:xfrm>
            <a:prstGeom prst="rect">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82" name="Rectangle 181"/>
            <p:cNvSpPr/>
            <p:nvPr userDrawn="1"/>
          </p:nvSpPr>
          <p:spPr>
            <a:xfrm>
              <a:off x="1016432" y="-651392"/>
              <a:ext cx="457200" cy="2286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88" name="Rectangle 187"/>
            <p:cNvSpPr/>
            <p:nvPr userDrawn="1"/>
          </p:nvSpPr>
          <p:spPr>
            <a:xfrm>
              <a:off x="1016432" y="-439936"/>
              <a:ext cx="457200" cy="228600"/>
            </a:xfrm>
            <a:prstGeom prst="rect">
              <a:avLst/>
            </a:prstGeom>
            <a:solidFill>
              <a:srgbClr val="004B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10" name="Group 9"/>
          <p:cNvGrpSpPr/>
          <p:nvPr userDrawn="1"/>
        </p:nvGrpSpPr>
        <p:grpSpPr>
          <a:xfrm>
            <a:off x="12491650" y="4080870"/>
            <a:ext cx="388640" cy="748027"/>
            <a:chOff x="7618919" y="-1964200"/>
            <a:chExt cx="457200" cy="880112"/>
          </a:xfrm>
        </p:grpSpPr>
        <p:sp>
          <p:nvSpPr>
            <p:cNvPr id="171" name="Rectangle 170"/>
            <p:cNvSpPr/>
            <p:nvPr userDrawn="1"/>
          </p:nvSpPr>
          <p:spPr>
            <a:xfrm>
              <a:off x="7618919" y="-1964200"/>
              <a:ext cx="457200" cy="2286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79" name="Rectangle 178"/>
            <p:cNvSpPr/>
            <p:nvPr userDrawn="1"/>
          </p:nvSpPr>
          <p:spPr>
            <a:xfrm>
              <a:off x="7618919" y="-1752744"/>
              <a:ext cx="457200" cy="22860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85" name="Rectangle 184"/>
            <p:cNvSpPr/>
            <p:nvPr userDrawn="1"/>
          </p:nvSpPr>
          <p:spPr>
            <a:xfrm>
              <a:off x="7618919" y="-1541288"/>
              <a:ext cx="457200" cy="228600"/>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89" name="Rectangle 188"/>
            <p:cNvSpPr/>
            <p:nvPr userDrawn="1"/>
          </p:nvSpPr>
          <p:spPr>
            <a:xfrm>
              <a:off x="7618919" y="-1312688"/>
              <a:ext cx="457200" cy="228600"/>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9" name="Group 8"/>
          <p:cNvGrpSpPr/>
          <p:nvPr userDrawn="1"/>
        </p:nvGrpSpPr>
        <p:grpSpPr>
          <a:xfrm>
            <a:off x="12491650" y="2964392"/>
            <a:ext cx="388640" cy="915154"/>
            <a:chOff x="2624959" y="-2015149"/>
            <a:chExt cx="457200" cy="1076750"/>
          </a:xfrm>
        </p:grpSpPr>
        <p:sp>
          <p:nvSpPr>
            <p:cNvPr id="154" name="Rectangle 153"/>
            <p:cNvSpPr/>
            <p:nvPr userDrawn="1"/>
          </p:nvSpPr>
          <p:spPr>
            <a:xfrm>
              <a:off x="2624959" y="-2015149"/>
              <a:ext cx="457200" cy="228600"/>
            </a:xfrm>
            <a:prstGeom prst="rect">
              <a:avLst/>
            </a:prstGeom>
            <a:solidFill>
              <a:srgbClr val="9C59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55" name="Rectangle 154"/>
            <p:cNvSpPr/>
            <p:nvPr userDrawn="1"/>
          </p:nvSpPr>
          <p:spPr>
            <a:xfrm>
              <a:off x="2624959" y="-1788025"/>
              <a:ext cx="457200" cy="228600"/>
            </a:xfrm>
            <a:prstGeom prst="rect">
              <a:avLst/>
            </a:prstGeom>
            <a:solidFill>
              <a:srgbClr val="8F44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93" name="Rectangle 192"/>
            <p:cNvSpPr/>
            <p:nvPr userDrawn="1"/>
          </p:nvSpPr>
          <p:spPr>
            <a:xfrm>
              <a:off x="2624959" y="-1571489"/>
              <a:ext cx="457200" cy="228600"/>
            </a:xfrm>
            <a:prstGeom prst="rect">
              <a:avLst/>
            </a:prstGeom>
            <a:solidFill>
              <a:srgbClr val="6C46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94" name="Rectangle 193"/>
            <p:cNvSpPr/>
            <p:nvPr userDrawn="1"/>
          </p:nvSpPr>
          <p:spPr>
            <a:xfrm>
              <a:off x="2624959" y="-1344365"/>
              <a:ext cx="457200" cy="228600"/>
            </a:xfrm>
            <a:prstGeom prst="rect">
              <a:avLst/>
            </a:prstGeom>
            <a:solidFill>
              <a:srgbClr val="5638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95" name="Rectangle 194"/>
            <p:cNvSpPr/>
            <p:nvPr userDrawn="1"/>
          </p:nvSpPr>
          <p:spPr>
            <a:xfrm>
              <a:off x="2624959" y="-1166999"/>
              <a:ext cx="457200" cy="228600"/>
            </a:xfrm>
            <a:prstGeom prst="rect">
              <a:avLst/>
            </a:prstGeom>
            <a:solidFill>
              <a:srgbClr val="3522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66" name="Group 65"/>
          <p:cNvGrpSpPr/>
          <p:nvPr userDrawn="1"/>
        </p:nvGrpSpPr>
        <p:grpSpPr>
          <a:xfrm>
            <a:off x="13019435" y="2736935"/>
            <a:ext cx="388640" cy="374014"/>
            <a:chOff x="6835963" y="-1737996"/>
            <a:chExt cx="457200" cy="440056"/>
          </a:xfrm>
        </p:grpSpPr>
        <p:sp>
          <p:nvSpPr>
            <p:cNvPr id="67" name="Rectangle 66"/>
            <p:cNvSpPr/>
            <p:nvPr userDrawn="1"/>
          </p:nvSpPr>
          <p:spPr>
            <a:xfrm>
              <a:off x="6835963" y="-1737996"/>
              <a:ext cx="457200" cy="22860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68" name="Rectangle 67"/>
            <p:cNvSpPr/>
            <p:nvPr userDrawn="1"/>
          </p:nvSpPr>
          <p:spPr>
            <a:xfrm>
              <a:off x="6835963" y="-1526540"/>
              <a:ext cx="457200" cy="228600"/>
            </a:xfrm>
            <a:prstGeom prst="rect">
              <a:avLst/>
            </a:prstGeom>
            <a:solidFill>
              <a:srgbClr val="3214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spTree>
    <p:extLst>
      <p:ext uri="{BB962C8B-B14F-4D97-AF65-F5344CB8AC3E}">
        <p14:creationId xmlns:p14="http://schemas.microsoft.com/office/powerpoint/2010/main" val="971399572"/>
      </p:ext>
    </p:extLst>
  </p:cSld>
  <p:clrMap bg1="lt1" tx1="dk1" bg2="lt2" tx2="dk2" accent1="accent1" accent2="accent2" accent3="accent3" accent4="accent4" accent5="accent5" accent6="accent6" hlink="hlink" folHlink="folHlink"/>
  <p:sldLayoutIdLst>
    <p:sldLayoutId id="2147484311" r:id="rId1"/>
    <p:sldLayoutId id="2147484312" r:id="rId2"/>
    <p:sldLayoutId id="2147484313" r:id="rId3"/>
    <p:sldLayoutId id="2147484314" r:id="rId4"/>
    <p:sldLayoutId id="2147484315" r:id="rId5"/>
    <p:sldLayoutId id="2147484316" r:id="rId6"/>
    <p:sldLayoutId id="2147484317" r:id="rId7"/>
    <p:sldLayoutId id="2147484318" r:id="rId8"/>
    <p:sldLayoutId id="2147484319" r:id="rId9"/>
    <p:sldLayoutId id="2147484320" r:id="rId10"/>
  </p:sldLayoutIdLst>
  <p:txStyles>
    <p:titleStyle>
      <a:lvl1pPr algn="l" defTabSz="932578" rtl="0" eaLnBrk="1" latinLnBrk="0" hangingPunct="1">
        <a:lnSpc>
          <a:spcPct val="90000"/>
        </a:lnSpc>
        <a:spcBef>
          <a:spcPct val="0"/>
        </a:spcBef>
        <a:buNone/>
        <a:defRPr sz="4487" kern="1200">
          <a:solidFill>
            <a:schemeClr val="tx1"/>
          </a:solidFill>
          <a:latin typeface="+mj-lt"/>
          <a:ea typeface="+mj-ea"/>
          <a:cs typeface="+mj-cs"/>
        </a:defRPr>
      </a:lvl1pPr>
    </p:titleStyle>
    <p:bodyStyle>
      <a:lvl1pPr marL="233145" indent="-233145" algn="l" defTabSz="932578"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34" indent="-233145" algn="l" defTabSz="932578"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23" indent="-233145" algn="l" defTabSz="932578"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12"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01"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590"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879"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169"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458"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78" rtl="0" eaLnBrk="1" latinLnBrk="0" hangingPunct="1">
        <a:defRPr sz="1836" kern="1200">
          <a:solidFill>
            <a:schemeClr val="tx1"/>
          </a:solidFill>
          <a:latin typeface="+mn-lt"/>
          <a:ea typeface="+mn-ea"/>
          <a:cs typeface="+mn-cs"/>
        </a:defRPr>
      </a:lvl1pPr>
      <a:lvl2pPr marL="466289" algn="l" defTabSz="932578" rtl="0" eaLnBrk="1" latinLnBrk="0" hangingPunct="1">
        <a:defRPr sz="1836" kern="1200">
          <a:solidFill>
            <a:schemeClr val="tx1"/>
          </a:solidFill>
          <a:latin typeface="+mn-lt"/>
          <a:ea typeface="+mn-ea"/>
          <a:cs typeface="+mn-cs"/>
        </a:defRPr>
      </a:lvl2pPr>
      <a:lvl3pPr marL="932578" algn="l" defTabSz="932578" rtl="0" eaLnBrk="1" latinLnBrk="0" hangingPunct="1">
        <a:defRPr sz="1836" kern="1200">
          <a:solidFill>
            <a:schemeClr val="tx1"/>
          </a:solidFill>
          <a:latin typeface="+mn-lt"/>
          <a:ea typeface="+mn-ea"/>
          <a:cs typeface="+mn-cs"/>
        </a:defRPr>
      </a:lvl3pPr>
      <a:lvl4pPr marL="1398867" algn="l" defTabSz="932578" rtl="0" eaLnBrk="1" latinLnBrk="0" hangingPunct="1">
        <a:defRPr sz="1836" kern="1200">
          <a:solidFill>
            <a:schemeClr val="tx1"/>
          </a:solidFill>
          <a:latin typeface="+mn-lt"/>
          <a:ea typeface="+mn-ea"/>
          <a:cs typeface="+mn-cs"/>
        </a:defRPr>
      </a:lvl4pPr>
      <a:lvl5pPr marL="1865157" algn="l" defTabSz="932578" rtl="0" eaLnBrk="1" latinLnBrk="0" hangingPunct="1">
        <a:defRPr sz="1836" kern="1200">
          <a:solidFill>
            <a:schemeClr val="tx1"/>
          </a:solidFill>
          <a:latin typeface="+mn-lt"/>
          <a:ea typeface="+mn-ea"/>
          <a:cs typeface="+mn-cs"/>
        </a:defRPr>
      </a:lvl5pPr>
      <a:lvl6pPr marL="2331446" algn="l" defTabSz="932578" rtl="0" eaLnBrk="1" latinLnBrk="0" hangingPunct="1">
        <a:defRPr sz="1836" kern="1200">
          <a:solidFill>
            <a:schemeClr val="tx1"/>
          </a:solidFill>
          <a:latin typeface="+mn-lt"/>
          <a:ea typeface="+mn-ea"/>
          <a:cs typeface="+mn-cs"/>
        </a:defRPr>
      </a:lvl6pPr>
      <a:lvl7pPr marL="2797735" algn="l" defTabSz="932578" rtl="0" eaLnBrk="1" latinLnBrk="0" hangingPunct="1">
        <a:defRPr sz="1836" kern="1200">
          <a:solidFill>
            <a:schemeClr val="tx1"/>
          </a:solidFill>
          <a:latin typeface="+mn-lt"/>
          <a:ea typeface="+mn-ea"/>
          <a:cs typeface="+mn-cs"/>
        </a:defRPr>
      </a:lvl7pPr>
      <a:lvl8pPr marL="3264024" algn="l" defTabSz="932578" rtl="0" eaLnBrk="1" latinLnBrk="0" hangingPunct="1">
        <a:defRPr sz="1836" kern="1200">
          <a:solidFill>
            <a:schemeClr val="tx1"/>
          </a:solidFill>
          <a:latin typeface="+mn-lt"/>
          <a:ea typeface="+mn-ea"/>
          <a:cs typeface="+mn-cs"/>
        </a:defRPr>
      </a:lvl8pPr>
      <a:lvl9pPr marL="3730313" algn="l" defTabSz="932578" rtl="0" eaLnBrk="1" latinLnBrk="0" hangingPunct="1">
        <a:defRPr sz="183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92">
          <p15:clr>
            <a:srgbClr val="F26B43"/>
          </p15:clr>
        </p15:guide>
        <p15:guide id="2" pos="46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31" name="think-cell Slide" r:id="rId15" imgW="377" imgH="377" progId="TCLayout.ActiveDocument.1">
                  <p:embed/>
                </p:oleObj>
              </mc:Choice>
              <mc:Fallback>
                <p:oleObj name="think-cell Slide" r:id="rId15" imgW="377" imgH="377" progId="TCLayout.ActiveDocument.1">
                  <p:embed/>
                  <p:pic>
                    <p:nvPicPr>
                      <p:cNvPr id="4" name="Object 3" hidden="1"/>
                      <p:cNvPicPr/>
                      <p:nvPr/>
                    </p:nvPicPr>
                    <p:blipFill>
                      <a:blip r:embed="rId16"/>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2051" name="Text Placeholder 3"/>
          <p:cNvSpPr>
            <a:spLocks noGrp="1"/>
          </p:cNvSpPr>
          <p:nvPr>
            <p:ph type="body" idx="1"/>
          </p:nvPr>
        </p:nvSpPr>
        <p:spPr bwMode="auto">
          <a:xfrm>
            <a:off x="274639" y="1304926"/>
            <a:ext cx="11887200" cy="209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3"/>
          </p:nvPr>
        </p:nvSpPr>
        <p:spPr>
          <a:xfrm>
            <a:off x="4249739" y="6736102"/>
            <a:ext cx="3937000" cy="136525"/>
          </a:xfrm>
          <a:prstGeom prst="rect">
            <a:avLst/>
          </a:prstGeom>
        </p:spPr>
        <p:txBody>
          <a:bodyPr vert="horz" lIns="0" tIns="0" rIns="91440" bIns="0" rtlCol="0" anchor="ctr"/>
          <a:lstStyle>
            <a:lvl1pPr marL="0" algn="l" defTabSz="932563" rtl="0" eaLnBrk="1" fontAlgn="auto" latinLnBrk="0" hangingPunct="1">
              <a:spcBef>
                <a:spcPts val="0"/>
              </a:spcBef>
              <a:spcAft>
                <a:spcPts val="0"/>
              </a:spcAft>
              <a:defRPr lang="en-US" sz="900"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595101" y="6761308"/>
            <a:ext cx="566738" cy="136525"/>
          </a:xfrm>
          <a:prstGeom prst="rect">
            <a:avLst/>
          </a:prstGeom>
        </p:spPr>
        <p:txBody>
          <a:bodyPr vert="horz" lIns="91440" tIns="0" rIns="0" bIns="0" rtlCol="0" anchor="ctr"/>
          <a:lstStyle>
            <a:lvl1pPr algn="r" defTabSz="932563"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rot="5400000">
            <a:off x="10532395" y="1944336"/>
            <a:ext cx="4298019" cy="409351"/>
          </a:xfrm>
          <a:prstGeom prst="rect">
            <a:avLst/>
          </a:prstGeom>
        </p:spPr>
      </p:pic>
      <p:pic>
        <p:nvPicPr>
          <p:cNvPr id="7" name="Picture 6"/>
          <p:cNvPicPr>
            <a:picLocks noChangeAspect="1"/>
          </p:cNvPicPr>
          <p:nvPr userDrawn="1"/>
        </p:nvPicPr>
        <p:blipFill>
          <a:blip r:embed="rId18"/>
          <a:stretch>
            <a:fillRect/>
          </a:stretch>
        </p:blipFill>
        <p:spPr>
          <a:xfrm>
            <a:off x="274638" y="6566207"/>
            <a:ext cx="916136" cy="195101"/>
          </a:xfrm>
          <a:prstGeom prst="rect">
            <a:avLst/>
          </a:prstGeom>
        </p:spPr>
      </p:pic>
    </p:spTree>
    <p:extLst>
      <p:ext uri="{BB962C8B-B14F-4D97-AF65-F5344CB8AC3E}">
        <p14:creationId xmlns:p14="http://schemas.microsoft.com/office/powerpoint/2010/main" val="3628273699"/>
      </p:ext>
    </p:extLst>
  </p:cSld>
  <p:clrMap bg1="lt1" tx1="dk1" bg2="lt2" tx2="dk2" accent1="accent1" accent2="accent2" accent3="accent3" accent4="accent4" accent5="accent5" accent6="accent6" hlink="hlink" folHlink="folHlink"/>
  <p:sldLayoutIdLst>
    <p:sldLayoutId id="2147484322" r:id="rId1"/>
    <p:sldLayoutId id="2147484323" r:id="rId2"/>
    <p:sldLayoutId id="2147484324" r:id="rId3"/>
    <p:sldLayoutId id="2147484325" r:id="rId4"/>
    <p:sldLayoutId id="2147484326" r:id="rId5"/>
    <p:sldLayoutId id="2147484327" r:id="rId6"/>
    <p:sldLayoutId id="2147484328" r:id="rId7"/>
    <p:sldLayoutId id="2147484329" r:id="rId8"/>
    <p:sldLayoutId id="2147484330" r:id="rId9"/>
    <p:sldLayoutId id="2147484331" r:id="rId10"/>
    <p:sldLayoutId id="2147484332" r:id="rId11"/>
  </p:sldLayoutIdLst>
  <p:transition>
    <p:fade/>
  </p:transition>
  <p:hf hdr="0" ftr="0" dt="0"/>
  <p:txStyles>
    <p:titleStyle>
      <a:lvl1pPr algn="l" defTabSz="931684" rtl="0" eaLnBrk="1" fontAlgn="base" hangingPunct="1">
        <a:lnSpc>
          <a:spcPct val="90000"/>
        </a:lnSpc>
        <a:spcBef>
          <a:spcPct val="0"/>
        </a:spcBef>
        <a:spcAft>
          <a:spcPct val="0"/>
        </a:spcAft>
        <a:defRPr lang="en-US" sz="4896" kern="1200" spc="-102" dirty="0">
          <a:ln w="3175">
            <a:noFill/>
          </a:ln>
          <a:solidFill>
            <a:schemeClr val="tx2"/>
          </a:solidFill>
          <a:latin typeface="+mj-lt"/>
          <a:ea typeface="ＭＳ Ｐゴシック" charset="0"/>
          <a:cs typeface="Segoe UI" pitchFamily="34" charset="0"/>
        </a:defRPr>
      </a:lvl1pPr>
      <a:lvl2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2pPr>
      <a:lvl3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3pPr>
      <a:lvl4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4pPr>
      <a:lvl5pPr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5pPr>
      <a:lvl6pPr marL="457112"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6pPr>
      <a:lvl7pPr marL="914224"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7pPr>
      <a:lvl8pPr marL="1371336"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8pPr>
      <a:lvl9pPr marL="1828449" algn="l" defTabSz="931684" rtl="0" eaLnBrk="1" fontAlgn="base" hangingPunct="1">
        <a:lnSpc>
          <a:spcPct val="90000"/>
        </a:lnSpc>
        <a:spcBef>
          <a:spcPct val="0"/>
        </a:spcBef>
        <a:spcAft>
          <a:spcPct val="0"/>
        </a:spcAft>
        <a:defRPr sz="5399">
          <a:solidFill>
            <a:schemeClr val="tx2"/>
          </a:solidFill>
          <a:latin typeface="Segoe UI Light" charset="0"/>
          <a:ea typeface="ＭＳ Ｐゴシック" charset="0"/>
          <a:cs typeface="Segoe UI" charset="0"/>
        </a:defRPr>
      </a:lvl9pPr>
    </p:titleStyle>
    <p:bodyStyle>
      <a:lvl1pPr marL="342834" indent="-342834" algn="l" defTabSz="931684" rtl="0" eaLnBrk="1" fontAlgn="base" hangingPunct="1">
        <a:lnSpc>
          <a:spcPct val="90000"/>
        </a:lnSpc>
        <a:spcBef>
          <a:spcPct val="20000"/>
        </a:spcBef>
        <a:spcAft>
          <a:spcPct val="0"/>
        </a:spcAft>
        <a:buSzPct val="90000"/>
        <a:buFont typeface="Arial" charset="0"/>
        <a:buChar char="•"/>
        <a:defRPr sz="3672"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04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1836"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sz="1632"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sz="1632"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2">
          <p15:clr>
            <a:srgbClr val="C35EA4"/>
          </p15:clr>
        </p15:guide>
        <p15:guide id="2" orient="horz" pos="795">
          <p15:clr>
            <a:srgbClr val="C35EA4"/>
          </p15:clr>
        </p15:guide>
        <p15:guide id="3" orient="horz" pos="4075">
          <p15:clr>
            <a:srgbClr val="C35EA4"/>
          </p15:clr>
        </p15:guide>
        <p15:guide id="4" orient="horz" pos="752">
          <p15:clr>
            <a:srgbClr val="C35EA4"/>
          </p15:clr>
        </p15:guide>
        <p15:guide id="5" pos="274">
          <p15:clr>
            <a:srgbClr val="C35EA4"/>
          </p15:clr>
        </p15:guide>
        <p15:guide id="6" pos="7406">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94321" y="311319"/>
            <a:ext cx="12047836" cy="880668"/>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194321" y="1861970"/>
            <a:ext cx="12047836" cy="454967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076235" y="6593405"/>
            <a:ext cx="1165920" cy="388585"/>
          </a:xfrm>
          <a:prstGeom prst="rect">
            <a:avLst/>
          </a:prstGeom>
        </p:spPr>
        <p:txBody>
          <a:bodyPr vert="horz" lIns="91440" tIns="45720" rIns="91440" bIns="45720" rtlCol="0" anchor="ctr"/>
          <a:lstStyle>
            <a:lvl1pPr algn="r">
              <a:defRPr sz="1224">
                <a:solidFill>
                  <a:schemeClr val="tx1">
                    <a:tint val="75000"/>
                  </a:schemeClr>
                </a:solidFill>
              </a:defRPr>
            </a:lvl1pPr>
          </a:lstStyle>
          <a:p>
            <a:fld id="{74A4D22A-FBB2-4BFF-B227-90CB66619072}" type="slidenum">
              <a:rPr lang="en-US" smtClean="0">
                <a:solidFill>
                  <a:prstClr val="black">
                    <a:tint val="75000"/>
                  </a:prstClr>
                </a:solidFill>
              </a:rPr>
              <a:pPr/>
              <a:t>‹#›</a:t>
            </a:fld>
            <a:endParaRPr lang="en-US" dirty="0">
              <a:solidFill>
                <a:prstClr val="black">
                  <a:tint val="75000"/>
                </a:prstClr>
              </a:solidFill>
            </a:endParaRPr>
          </a:p>
        </p:txBody>
      </p:sp>
      <p:grpSp>
        <p:nvGrpSpPr>
          <p:cNvPr id="7" name="Group 6"/>
          <p:cNvGrpSpPr/>
          <p:nvPr userDrawn="1"/>
        </p:nvGrpSpPr>
        <p:grpSpPr>
          <a:xfrm>
            <a:off x="12491650" y="1826002"/>
            <a:ext cx="388640" cy="387330"/>
            <a:chOff x="1030576" y="-2013396"/>
            <a:chExt cx="457200" cy="455724"/>
          </a:xfrm>
        </p:grpSpPr>
        <p:sp>
          <p:nvSpPr>
            <p:cNvPr id="146" name="Rectangle 145"/>
            <p:cNvSpPr/>
            <p:nvPr userDrawn="1"/>
          </p:nvSpPr>
          <p:spPr>
            <a:xfrm>
              <a:off x="1030576" y="-2013396"/>
              <a:ext cx="457200" cy="228600"/>
            </a:xfrm>
            <a:prstGeom prst="rect">
              <a:avLst/>
            </a:prstGeom>
            <a:solidFill>
              <a:srgbClr val="2FC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sp>
          <p:nvSpPr>
            <p:cNvPr id="147" name="Rectangle 146"/>
            <p:cNvSpPr/>
            <p:nvPr userDrawn="1"/>
          </p:nvSpPr>
          <p:spPr>
            <a:xfrm>
              <a:off x="1030576" y="-1786272"/>
              <a:ext cx="457200" cy="228600"/>
            </a:xfrm>
            <a:prstGeom prst="rect">
              <a:avLst/>
            </a:prstGeom>
            <a:solidFill>
              <a:srgbClr val="27AE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grpSp>
      <p:grpSp>
        <p:nvGrpSpPr>
          <p:cNvPr id="8" name="Group 7"/>
          <p:cNvGrpSpPr/>
          <p:nvPr userDrawn="1"/>
        </p:nvGrpSpPr>
        <p:grpSpPr>
          <a:xfrm>
            <a:off x="12491650" y="2395195"/>
            <a:ext cx="388640" cy="387330"/>
            <a:chOff x="1862829" y="-2015149"/>
            <a:chExt cx="457200" cy="455724"/>
          </a:xfrm>
        </p:grpSpPr>
        <p:sp>
          <p:nvSpPr>
            <p:cNvPr id="150" name="Rectangle 149"/>
            <p:cNvSpPr/>
            <p:nvPr userDrawn="1"/>
          </p:nvSpPr>
          <p:spPr>
            <a:xfrm>
              <a:off x="1862829" y="-2015149"/>
              <a:ext cx="457200" cy="228600"/>
            </a:xfrm>
            <a:prstGeom prst="rect">
              <a:avLst/>
            </a:prstGeom>
            <a:solidFill>
              <a:srgbClr val="3398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sp>
          <p:nvSpPr>
            <p:cNvPr id="151" name="Rectangle 150"/>
            <p:cNvSpPr/>
            <p:nvPr userDrawn="1"/>
          </p:nvSpPr>
          <p:spPr>
            <a:xfrm>
              <a:off x="1862829" y="-1788025"/>
              <a:ext cx="457200" cy="228600"/>
            </a:xfrm>
            <a:prstGeom prst="rect">
              <a:avLst/>
            </a:prstGeom>
            <a:solidFill>
              <a:srgbClr val="2A80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grpSp>
      <p:grpSp>
        <p:nvGrpSpPr>
          <p:cNvPr id="12" name="Group 11"/>
          <p:cNvGrpSpPr/>
          <p:nvPr userDrawn="1"/>
        </p:nvGrpSpPr>
        <p:grpSpPr>
          <a:xfrm>
            <a:off x="13019435" y="552724"/>
            <a:ext cx="388640" cy="374014"/>
            <a:chOff x="5668736" y="-1973760"/>
            <a:chExt cx="457200" cy="440056"/>
          </a:xfrm>
        </p:grpSpPr>
        <p:sp>
          <p:nvSpPr>
            <p:cNvPr id="152" name="Rectangle 151"/>
            <p:cNvSpPr/>
            <p:nvPr userDrawn="1"/>
          </p:nvSpPr>
          <p:spPr>
            <a:xfrm>
              <a:off x="5668736" y="-1973760"/>
              <a:ext cx="457200" cy="228600"/>
            </a:xfrm>
            <a:prstGeom prst="rect">
              <a:avLst/>
            </a:prstGeom>
            <a:solidFill>
              <a:srgbClr val="E74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sp>
          <p:nvSpPr>
            <p:cNvPr id="153" name="Rectangle 152"/>
            <p:cNvSpPr/>
            <p:nvPr userDrawn="1"/>
          </p:nvSpPr>
          <p:spPr>
            <a:xfrm>
              <a:off x="5668736" y="-1762304"/>
              <a:ext cx="457200" cy="228600"/>
            </a:xfrm>
            <a:prstGeom prst="rect">
              <a:avLst/>
            </a:prstGeom>
            <a:solidFill>
              <a:srgbClr val="C139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grpSp>
      <p:grpSp>
        <p:nvGrpSpPr>
          <p:cNvPr id="17" name="Group 16"/>
          <p:cNvGrpSpPr/>
          <p:nvPr userDrawn="1"/>
        </p:nvGrpSpPr>
        <p:grpSpPr>
          <a:xfrm>
            <a:off x="13019435" y="3290671"/>
            <a:ext cx="388640" cy="760431"/>
            <a:chOff x="8694775" y="-1964200"/>
            <a:chExt cx="457200" cy="894706"/>
          </a:xfrm>
        </p:grpSpPr>
        <p:sp>
          <p:nvSpPr>
            <p:cNvPr id="158" name="Rectangle 157"/>
            <p:cNvSpPr/>
            <p:nvPr userDrawn="1"/>
          </p:nvSpPr>
          <p:spPr>
            <a:xfrm>
              <a:off x="8694775" y="-1525218"/>
              <a:ext cx="457200" cy="228600"/>
            </a:xfrm>
            <a:prstGeom prst="rect">
              <a:avLst/>
            </a:prstGeom>
            <a:solidFill>
              <a:srgbClr val="3449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sp>
          <p:nvSpPr>
            <p:cNvPr id="159" name="Rectangle 158"/>
            <p:cNvSpPr/>
            <p:nvPr userDrawn="1"/>
          </p:nvSpPr>
          <p:spPr>
            <a:xfrm>
              <a:off x="8694775" y="-1298094"/>
              <a:ext cx="457200" cy="228600"/>
            </a:xfrm>
            <a:prstGeom prst="rect">
              <a:avLst/>
            </a:prstGeom>
            <a:solidFill>
              <a:srgbClr val="2D3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sp>
          <p:nvSpPr>
            <p:cNvPr id="160" name="Rectangle 159"/>
            <p:cNvSpPr/>
            <p:nvPr userDrawn="1"/>
          </p:nvSpPr>
          <p:spPr>
            <a:xfrm>
              <a:off x="8694775" y="-1964200"/>
              <a:ext cx="457200" cy="228600"/>
            </a:xfrm>
            <a:prstGeom prst="rect">
              <a:avLst/>
            </a:prstGeom>
            <a:solidFill>
              <a:srgbClr val="9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sp>
          <p:nvSpPr>
            <p:cNvPr id="161" name="Rectangle 160"/>
            <p:cNvSpPr/>
            <p:nvPr userDrawn="1"/>
          </p:nvSpPr>
          <p:spPr>
            <a:xfrm>
              <a:off x="8694775" y="-1758518"/>
              <a:ext cx="457200" cy="228600"/>
            </a:xfrm>
            <a:prstGeom prst="rect">
              <a:avLst/>
            </a:prstGeom>
            <a:solidFill>
              <a:srgbClr val="808B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grpSp>
      <p:grpSp>
        <p:nvGrpSpPr>
          <p:cNvPr id="18" name="Group 17"/>
          <p:cNvGrpSpPr/>
          <p:nvPr userDrawn="1"/>
        </p:nvGrpSpPr>
        <p:grpSpPr>
          <a:xfrm>
            <a:off x="13019435" y="4206739"/>
            <a:ext cx="392020" cy="1543745"/>
            <a:chOff x="338045" y="-2490839"/>
            <a:chExt cx="461176" cy="1816336"/>
          </a:xfrm>
        </p:grpSpPr>
        <p:sp>
          <p:nvSpPr>
            <p:cNvPr id="156" name="Rectangle 155"/>
            <p:cNvSpPr/>
            <p:nvPr userDrawn="1"/>
          </p:nvSpPr>
          <p:spPr>
            <a:xfrm>
              <a:off x="342021" y="-2262628"/>
              <a:ext cx="457200" cy="228600"/>
            </a:xfrm>
            <a:prstGeom prst="rect">
              <a:avLst/>
            </a:prstGeom>
            <a:solidFill>
              <a:srgbClr val="ECF0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sp>
          <p:nvSpPr>
            <p:cNvPr id="157" name="Rectangle 156"/>
            <p:cNvSpPr/>
            <p:nvPr userDrawn="1"/>
          </p:nvSpPr>
          <p:spPr>
            <a:xfrm>
              <a:off x="338045" y="-1806206"/>
              <a:ext cx="457200" cy="228600"/>
            </a:xfrm>
            <a:prstGeom prst="rect">
              <a:avLst/>
            </a:prstGeom>
            <a:solidFill>
              <a:srgbClr val="BEC3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sp>
          <p:nvSpPr>
            <p:cNvPr id="162" name="Rectangle 161"/>
            <p:cNvSpPr/>
            <p:nvPr userDrawn="1"/>
          </p:nvSpPr>
          <p:spPr>
            <a:xfrm>
              <a:off x="338045" y="-2034417"/>
              <a:ext cx="457200" cy="228600"/>
            </a:xfrm>
            <a:prstGeom prst="rect">
              <a:avLst/>
            </a:prstGeom>
            <a:solidFill>
              <a:srgbClr val="D7D7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sp>
          <p:nvSpPr>
            <p:cNvPr id="163" name="Rectangle 162"/>
            <p:cNvSpPr/>
            <p:nvPr userDrawn="1"/>
          </p:nvSpPr>
          <p:spPr>
            <a:xfrm>
              <a:off x="338045" y="-2490839"/>
              <a:ext cx="457200" cy="2286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sp>
          <p:nvSpPr>
            <p:cNvPr id="164" name="Rectangle 163"/>
            <p:cNvSpPr/>
            <p:nvPr userDrawn="1"/>
          </p:nvSpPr>
          <p:spPr>
            <a:xfrm>
              <a:off x="338045" y="-1358229"/>
              <a:ext cx="457200" cy="2286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sp>
          <p:nvSpPr>
            <p:cNvPr id="165" name="Rectangle 164"/>
            <p:cNvSpPr/>
            <p:nvPr userDrawn="1"/>
          </p:nvSpPr>
          <p:spPr>
            <a:xfrm>
              <a:off x="338045" y="-1580977"/>
              <a:ext cx="457200" cy="228600"/>
            </a:xfrm>
            <a:prstGeom prst="rect">
              <a:avLst/>
            </a:prstGeom>
            <a:solidFill>
              <a:srgbClr val="9696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sp>
          <p:nvSpPr>
            <p:cNvPr id="166" name="Rectangle 165"/>
            <p:cNvSpPr/>
            <p:nvPr userDrawn="1"/>
          </p:nvSpPr>
          <p:spPr>
            <a:xfrm>
              <a:off x="338045" y="-903103"/>
              <a:ext cx="457200" cy="2286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sp>
          <p:nvSpPr>
            <p:cNvPr id="167" name="Rectangle 166"/>
            <p:cNvSpPr/>
            <p:nvPr userDrawn="1"/>
          </p:nvSpPr>
          <p:spPr>
            <a:xfrm>
              <a:off x="338045" y="-1129629"/>
              <a:ext cx="457200" cy="228600"/>
            </a:xfrm>
            <a:prstGeom prst="rect">
              <a:avLst/>
            </a:prstGeom>
            <a:solidFill>
              <a:srgbClr val="5252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grpSp>
      <p:grpSp>
        <p:nvGrpSpPr>
          <p:cNvPr id="14" name="Group 13"/>
          <p:cNvGrpSpPr/>
          <p:nvPr userDrawn="1"/>
        </p:nvGrpSpPr>
        <p:grpSpPr>
          <a:xfrm>
            <a:off x="13019435" y="1821587"/>
            <a:ext cx="388640" cy="760267"/>
            <a:chOff x="4193249" y="-1993740"/>
            <a:chExt cx="457200" cy="894513"/>
          </a:xfrm>
        </p:grpSpPr>
        <p:sp>
          <p:nvSpPr>
            <p:cNvPr id="144" name="Rectangle 143"/>
            <p:cNvSpPr/>
            <p:nvPr userDrawn="1"/>
          </p:nvSpPr>
          <p:spPr>
            <a:xfrm>
              <a:off x="4193249" y="-1759656"/>
              <a:ext cx="457200" cy="228600"/>
            </a:xfrm>
            <a:prstGeom prst="rect">
              <a:avLst/>
            </a:prstGeom>
            <a:solidFill>
              <a:srgbClr val="F1C4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sp>
          <p:nvSpPr>
            <p:cNvPr id="145" name="Rectangle 144"/>
            <p:cNvSpPr/>
            <p:nvPr userDrawn="1"/>
          </p:nvSpPr>
          <p:spPr>
            <a:xfrm>
              <a:off x="4193249" y="-1548200"/>
              <a:ext cx="457200" cy="228600"/>
            </a:xfrm>
            <a:prstGeom prst="rect">
              <a:avLst/>
            </a:prstGeom>
            <a:solidFill>
              <a:srgbClr val="F39C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sp>
          <p:nvSpPr>
            <p:cNvPr id="168" name="Rectangle 167"/>
            <p:cNvSpPr/>
            <p:nvPr userDrawn="1"/>
          </p:nvSpPr>
          <p:spPr>
            <a:xfrm>
              <a:off x="4193249" y="-1327827"/>
              <a:ext cx="457200" cy="228600"/>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sp>
          <p:nvSpPr>
            <p:cNvPr id="169" name="Rectangle 168"/>
            <p:cNvSpPr/>
            <p:nvPr userDrawn="1"/>
          </p:nvSpPr>
          <p:spPr>
            <a:xfrm>
              <a:off x="4193249" y="-1993740"/>
              <a:ext cx="457200" cy="228600"/>
            </a:xfrm>
            <a:prstGeom prst="rect">
              <a:avLst/>
            </a:prstGeom>
            <a:solidFill>
              <a:srgbClr val="FFF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grpSp>
      <p:grpSp>
        <p:nvGrpSpPr>
          <p:cNvPr id="13" name="Group 12"/>
          <p:cNvGrpSpPr/>
          <p:nvPr userDrawn="1"/>
        </p:nvGrpSpPr>
        <p:grpSpPr>
          <a:xfrm>
            <a:off x="13019435" y="1091889"/>
            <a:ext cx="388640" cy="564176"/>
            <a:chOff x="4976205" y="-1972007"/>
            <a:chExt cx="457200" cy="663797"/>
          </a:xfrm>
        </p:grpSpPr>
        <p:sp>
          <p:nvSpPr>
            <p:cNvPr id="148" name="Rectangle 147"/>
            <p:cNvSpPr/>
            <p:nvPr userDrawn="1"/>
          </p:nvSpPr>
          <p:spPr>
            <a:xfrm>
              <a:off x="4976205" y="-1972007"/>
              <a:ext cx="457200" cy="228600"/>
            </a:xfrm>
            <a:prstGeom prst="rect">
              <a:avLst/>
            </a:prstGeom>
            <a:solidFill>
              <a:srgbClr val="E77E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sp>
          <p:nvSpPr>
            <p:cNvPr id="149" name="Rectangle 148"/>
            <p:cNvSpPr/>
            <p:nvPr userDrawn="1"/>
          </p:nvSpPr>
          <p:spPr>
            <a:xfrm>
              <a:off x="4976205" y="-1760551"/>
              <a:ext cx="457200" cy="228600"/>
            </a:xfrm>
            <a:prstGeom prst="rect">
              <a:avLst/>
            </a:prstGeom>
            <a:solidFill>
              <a:srgbClr val="D554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sp>
          <p:nvSpPr>
            <p:cNvPr id="175" name="Rectangle 174"/>
            <p:cNvSpPr/>
            <p:nvPr userDrawn="1"/>
          </p:nvSpPr>
          <p:spPr>
            <a:xfrm>
              <a:off x="4976205" y="-1536810"/>
              <a:ext cx="457200" cy="228600"/>
            </a:xfrm>
            <a:prstGeom prst="rect">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grpSp>
      <p:grpSp>
        <p:nvGrpSpPr>
          <p:cNvPr id="15" name="Group 14"/>
          <p:cNvGrpSpPr/>
          <p:nvPr userDrawn="1"/>
        </p:nvGrpSpPr>
        <p:grpSpPr>
          <a:xfrm>
            <a:off x="12491650" y="5008619"/>
            <a:ext cx="388640" cy="553735"/>
            <a:chOff x="3410293" y="-2016625"/>
            <a:chExt cx="457200" cy="651512"/>
          </a:xfrm>
        </p:grpSpPr>
        <p:sp>
          <p:nvSpPr>
            <p:cNvPr id="170" name="Rectangle 169"/>
            <p:cNvSpPr/>
            <p:nvPr userDrawn="1"/>
          </p:nvSpPr>
          <p:spPr>
            <a:xfrm>
              <a:off x="3410293" y="-2016625"/>
              <a:ext cx="457200" cy="228600"/>
            </a:xfrm>
            <a:prstGeom prst="rect">
              <a:avLst/>
            </a:prstGeom>
            <a:solidFill>
              <a:srgbClr val="E3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sp>
          <p:nvSpPr>
            <p:cNvPr id="177" name="Rectangle 176"/>
            <p:cNvSpPr/>
            <p:nvPr userDrawn="1"/>
          </p:nvSpPr>
          <p:spPr>
            <a:xfrm>
              <a:off x="3410293" y="-1805169"/>
              <a:ext cx="457200" cy="228600"/>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sp>
          <p:nvSpPr>
            <p:cNvPr id="183" name="Rectangle 182"/>
            <p:cNvSpPr/>
            <p:nvPr userDrawn="1"/>
          </p:nvSpPr>
          <p:spPr>
            <a:xfrm>
              <a:off x="3410293" y="-1593713"/>
              <a:ext cx="457200" cy="228600"/>
            </a:xfrm>
            <a:prstGeom prst="rect">
              <a:avLst/>
            </a:prstGeom>
            <a:solidFill>
              <a:srgbClr val="5C00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grpSp>
      <p:grpSp>
        <p:nvGrpSpPr>
          <p:cNvPr id="11" name="Group 10"/>
          <p:cNvGrpSpPr/>
          <p:nvPr userDrawn="1"/>
        </p:nvGrpSpPr>
        <p:grpSpPr>
          <a:xfrm>
            <a:off x="13019435" y="3473"/>
            <a:ext cx="388640" cy="381638"/>
            <a:chOff x="5638724" y="-1319654"/>
            <a:chExt cx="457200" cy="449027"/>
          </a:xfrm>
        </p:grpSpPr>
        <p:sp>
          <p:nvSpPr>
            <p:cNvPr id="178" name="Rectangle 177"/>
            <p:cNvSpPr/>
            <p:nvPr userDrawn="1"/>
          </p:nvSpPr>
          <p:spPr>
            <a:xfrm>
              <a:off x="5638724" y="-1319654"/>
              <a:ext cx="457200" cy="228600"/>
            </a:xfrm>
            <a:prstGeom prst="rect">
              <a:avLst/>
            </a:prstGeom>
            <a:solidFill>
              <a:srgbClr val="E811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sp>
          <p:nvSpPr>
            <p:cNvPr id="184" name="Rectangle 183"/>
            <p:cNvSpPr/>
            <p:nvPr userDrawn="1"/>
          </p:nvSpPr>
          <p:spPr>
            <a:xfrm>
              <a:off x="5638724" y="-1099227"/>
              <a:ext cx="457200" cy="228600"/>
            </a:xfrm>
            <a:prstGeom prst="rect">
              <a:avLst/>
            </a:prstGeom>
            <a:solidFill>
              <a:srgbClr val="A8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grpSp>
      <p:grpSp>
        <p:nvGrpSpPr>
          <p:cNvPr id="4" name="Group 3"/>
          <p:cNvGrpSpPr/>
          <p:nvPr userDrawn="1"/>
        </p:nvGrpSpPr>
        <p:grpSpPr>
          <a:xfrm>
            <a:off x="12495223" y="1"/>
            <a:ext cx="388640" cy="555147"/>
            <a:chOff x="296917" y="-1379669"/>
            <a:chExt cx="457200" cy="653173"/>
          </a:xfrm>
        </p:grpSpPr>
        <p:sp>
          <p:nvSpPr>
            <p:cNvPr id="173" name="Rectangle 172"/>
            <p:cNvSpPr/>
            <p:nvPr userDrawn="1"/>
          </p:nvSpPr>
          <p:spPr>
            <a:xfrm>
              <a:off x="296917" y="-1379669"/>
              <a:ext cx="457200" cy="228600"/>
            </a:xfrm>
            <a:prstGeom prst="rect">
              <a:avLst/>
            </a:prstGeom>
            <a:solidFill>
              <a:srgbClr val="BAD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sp>
          <p:nvSpPr>
            <p:cNvPr id="181" name="Rectangle 180"/>
            <p:cNvSpPr/>
            <p:nvPr userDrawn="1"/>
          </p:nvSpPr>
          <p:spPr>
            <a:xfrm>
              <a:off x="296917" y="-1167447"/>
              <a:ext cx="457200" cy="228600"/>
            </a:xfrm>
            <a:prstGeom prst="rect">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sp>
          <p:nvSpPr>
            <p:cNvPr id="187" name="Rectangle 186"/>
            <p:cNvSpPr/>
            <p:nvPr userDrawn="1"/>
          </p:nvSpPr>
          <p:spPr>
            <a:xfrm>
              <a:off x="296917" y="-955096"/>
              <a:ext cx="457200" cy="228600"/>
            </a:xfrm>
            <a:prstGeom prst="rect">
              <a:avLst/>
            </a:prstGeom>
            <a:solidFill>
              <a:srgbClr val="004B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grpSp>
      <p:grpSp>
        <p:nvGrpSpPr>
          <p:cNvPr id="5" name="Group 4"/>
          <p:cNvGrpSpPr/>
          <p:nvPr userDrawn="1"/>
        </p:nvGrpSpPr>
        <p:grpSpPr>
          <a:xfrm>
            <a:off x="12491650" y="721709"/>
            <a:ext cx="388640" cy="935324"/>
            <a:chOff x="1016432" y="-1311817"/>
            <a:chExt cx="457200" cy="1100481"/>
          </a:xfrm>
        </p:grpSpPr>
        <p:sp>
          <p:nvSpPr>
            <p:cNvPr id="142" name="Rectangle 141"/>
            <p:cNvSpPr/>
            <p:nvPr userDrawn="1"/>
          </p:nvSpPr>
          <p:spPr>
            <a:xfrm>
              <a:off x="1016432" y="-1311817"/>
              <a:ext cx="457200" cy="228600"/>
            </a:xfrm>
            <a:prstGeom prst="rect">
              <a:avLst/>
            </a:prstGeom>
            <a:solidFill>
              <a:srgbClr val="1ABD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sp>
          <p:nvSpPr>
            <p:cNvPr id="143" name="Rectangle 142"/>
            <p:cNvSpPr/>
            <p:nvPr userDrawn="1"/>
          </p:nvSpPr>
          <p:spPr>
            <a:xfrm>
              <a:off x="1016432" y="-867342"/>
              <a:ext cx="457200" cy="228600"/>
            </a:xfrm>
            <a:prstGeom prst="rect">
              <a:avLst/>
            </a:prstGeom>
            <a:solidFill>
              <a:srgbClr val="159F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sp>
          <p:nvSpPr>
            <p:cNvPr id="174" name="Rectangle 173"/>
            <p:cNvSpPr/>
            <p:nvPr userDrawn="1"/>
          </p:nvSpPr>
          <p:spPr>
            <a:xfrm>
              <a:off x="1016432" y="-1086758"/>
              <a:ext cx="457200" cy="228600"/>
            </a:xfrm>
            <a:prstGeom prst="rect">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sp>
          <p:nvSpPr>
            <p:cNvPr id="182" name="Rectangle 181"/>
            <p:cNvSpPr/>
            <p:nvPr userDrawn="1"/>
          </p:nvSpPr>
          <p:spPr>
            <a:xfrm>
              <a:off x="1016432" y="-651392"/>
              <a:ext cx="457200" cy="2286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sp>
          <p:nvSpPr>
            <p:cNvPr id="188" name="Rectangle 187"/>
            <p:cNvSpPr/>
            <p:nvPr userDrawn="1"/>
          </p:nvSpPr>
          <p:spPr>
            <a:xfrm>
              <a:off x="1016432" y="-439936"/>
              <a:ext cx="457200" cy="228600"/>
            </a:xfrm>
            <a:prstGeom prst="rect">
              <a:avLst/>
            </a:prstGeom>
            <a:solidFill>
              <a:srgbClr val="004B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grpSp>
      <p:grpSp>
        <p:nvGrpSpPr>
          <p:cNvPr id="10" name="Group 9"/>
          <p:cNvGrpSpPr/>
          <p:nvPr userDrawn="1"/>
        </p:nvGrpSpPr>
        <p:grpSpPr>
          <a:xfrm>
            <a:off x="12491650" y="4080871"/>
            <a:ext cx="388640" cy="748027"/>
            <a:chOff x="7618919" y="-1964200"/>
            <a:chExt cx="457200" cy="880112"/>
          </a:xfrm>
        </p:grpSpPr>
        <p:sp>
          <p:nvSpPr>
            <p:cNvPr id="171" name="Rectangle 170"/>
            <p:cNvSpPr/>
            <p:nvPr userDrawn="1"/>
          </p:nvSpPr>
          <p:spPr>
            <a:xfrm>
              <a:off x="7618919" y="-1964200"/>
              <a:ext cx="457200" cy="2286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sp>
          <p:nvSpPr>
            <p:cNvPr id="179" name="Rectangle 178"/>
            <p:cNvSpPr/>
            <p:nvPr userDrawn="1"/>
          </p:nvSpPr>
          <p:spPr>
            <a:xfrm>
              <a:off x="7618919" y="-1752744"/>
              <a:ext cx="457200" cy="22860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sp>
          <p:nvSpPr>
            <p:cNvPr id="185" name="Rectangle 184"/>
            <p:cNvSpPr/>
            <p:nvPr userDrawn="1"/>
          </p:nvSpPr>
          <p:spPr>
            <a:xfrm>
              <a:off x="7618919" y="-1541288"/>
              <a:ext cx="457200" cy="228600"/>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sp>
          <p:nvSpPr>
            <p:cNvPr id="189" name="Rectangle 188"/>
            <p:cNvSpPr/>
            <p:nvPr userDrawn="1"/>
          </p:nvSpPr>
          <p:spPr>
            <a:xfrm>
              <a:off x="7618919" y="-1312688"/>
              <a:ext cx="457200" cy="228600"/>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grpSp>
      <p:grpSp>
        <p:nvGrpSpPr>
          <p:cNvPr id="9" name="Group 8"/>
          <p:cNvGrpSpPr/>
          <p:nvPr userDrawn="1"/>
        </p:nvGrpSpPr>
        <p:grpSpPr>
          <a:xfrm>
            <a:off x="12491650" y="2964393"/>
            <a:ext cx="388640" cy="915154"/>
            <a:chOff x="2624959" y="-2015149"/>
            <a:chExt cx="457200" cy="1076750"/>
          </a:xfrm>
        </p:grpSpPr>
        <p:sp>
          <p:nvSpPr>
            <p:cNvPr id="154" name="Rectangle 153"/>
            <p:cNvSpPr/>
            <p:nvPr userDrawn="1"/>
          </p:nvSpPr>
          <p:spPr>
            <a:xfrm>
              <a:off x="2624959" y="-2015149"/>
              <a:ext cx="457200" cy="228600"/>
            </a:xfrm>
            <a:prstGeom prst="rect">
              <a:avLst/>
            </a:prstGeom>
            <a:solidFill>
              <a:srgbClr val="9C59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sp>
          <p:nvSpPr>
            <p:cNvPr id="155" name="Rectangle 154"/>
            <p:cNvSpPr/>
            <p:nvPr userDrawn="1"/>
          </p:nvSpPr>
          <p:spPr>
            <a:xfrm>
              <a:off x="2624959" y="-1788025"/>
              <a:ext cx="457200" cy="228600"/>
            </a:xfrm>
            <a:prstGeom prst="rect">
              <a:avLst/>
            </a:prstGeom>
            <a:solidFill>
              <a:srgbClr val="8F44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sp>
          <p:nvSpPr>
            <p:cNvPr id="193" name="Rectangle 192"/>
            <p:cNvSpPr/>
            <p:nvPr userDrawn="1"/>
          </p:nvSpPr>
          <p:spPr>
            <a:xfrm>
              <a:off x="2624959" y="-1571489"/>
              <a:ext cx="457200" cy="228600"/>
            </a:xfrm>
            <a:prstGeom prst="rect">
              <a:avLst/>
            </a:prstGeom>
            <a:solidFill>
              <a:srgbClr val="6C46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sp>
          <p:nvSpPr>
            <p:cNvPr id="194" name="Rectangle 193"/>
            <p:cNvSpPr/>
            <p:nvPr userDrawn="1"/>
          </p:nvSpPr>
          <p:spPr>
            <a:xfrm>
              <a:off x="2624959" y="-1344365"/>
              <a:ext cx="457200" cy="228600"/>
            </a:xfrm>
            <a:prstGeom prst="rect">
              <a:avLst/>
            </a:prstGeom>
            <a:solidFill>
              <a:srgbClr val="5638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sp>
          <p:nvSpPr>
            <p:cNvPr id="195" name="Rectangle 194"/>
            <p:cNvSpPr/>
            <p:nvPr userDrawn="1"/>
          </p:nvSpPr>
          <p:spPr>
            <a:xfrm>
              <a:off x="2624959" y="-1166999"/>
              <a:ext cx="457200" cy="228600"/>
            </a:xfrm>
            <a:prstGeom prst="rect">
              <a:avLst/>
            </a:prstGeom>
            <a:solidFill>
              <a:srgbClr val="3522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grpSp>
      <p:grpSp>
        <p:nvGrpSpPr>
          <p:cNvPr id="66" name="Group 65"/>
          <p:cNvGrpSpPr/>
          <p:nvPr userDrawn="1"/>
        </p:nvGrpSpPr>
        <p:grpSpPr>
          <a:xfrm>
            <a:off x="13019435" y="2736935"/>
            <a:ext cx="388640" cy="374014"/>
            <a:chOff x="6835963" y="-1737996"/>
            <a:chExt cx="457200" cy="440056"/>
          </a:xfrm>
        </p:grpSpPr>
        <p:sp>
          <p:nvSpPr>
            <p:cNvPr id="67" name="Rectangle 66"/>
            <p:cNvSpPr/>
            <p:nvPr userDrawn="1"/>
          </p:nvSpPr>
          <p:spPr>
            <a:xfrm>
              <a:off x="6835963" y="-1737996"/>
              <a:ext cx="457200" cy="22860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sp>
          <p:nvSpPr>
            <p:cNvPr id="68" name="Rectangle 67"/>
            <p:cNvSpPr/>
            <p:nvPr userDrawn="1"/>
          </p:nvSpPr>
          <p:spPr>
            <a:xfrm>
              <a:off x="6835963" y="-1526540"/>
              <a:ext cx="457200" cy="228600"/>
            </a:xfrm>
            <a:prstGeom prst="rect">
              <a:avLst/>
            </a:prstGeom>
            <a:solidFill>
              <a:srgbClr val="3214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dirty="0">
                <a:solidFill>
                  <a:prstClr val="white"/>
                </a:solidFill>
              </a:endParaRPr>
            </a:p>
          </p:txBody>
        </p:sp>
      </p:grpSp>
    </p:spTree>
    <p:extLst>
      <p:ext uri="{BB962C8B-B14F-4D97-AF65-F5344CB8AC3E}">
        <p14:creationId xmlns:p14="http://schemas.microsoft.com/office/powerpoint/2010/main" val="112447666"/>
      </p:ext>
    </p:extLst>
  </p:cSld>
  <p:clrMap bg1="lt1" tx1="dk1" bg2="lt2" tx2="dk2" accent1="accent1" accent2="accent2" accent3="accent3" accent4="accent4" accent5="accent5" accent6="accent6" hlink="hlink" folHlink="folHlink"/>
  <p:sldLayoutIdLst>
    <p:sldLayoutId id="2147484334" r:id="rId1"/>
    <p:sldLayoutId id="2147484335" r:id="rId2"/>
    <p:sldLayoutId id="2147484336" r:id="rId3"/>
    <p:sldLayoutId id="2147484337" r:id="rId4"/>
    <p:sldLayoutId id="2147484338" r:id="rId5"/>
    <p:sldLayoutId id="2147484339" r:id="rId6"/>
    <p:sldLayoutId id="2147484340" r:id="rId7"/>
  </p:sldLayoutIdLst>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txStyles>
    <p:titleStyle>
      <a:lvl1pPr algn="l" defTabSz="932399" rtl="0" eaLnBrk="1" latinLnBrk="0" hangingPunct="1">
        <a:lnSpc>
          <a:spcPct val="90000"/>
        </a:lnSpc>
        <a:spcBef>
          <a:spcPct val="0"/>
        </a:spcBef>
        <a:buNone/>
        <a:defRPr sz="4487" kern="1200">
          <a:solidFill>
            <a:schemeClr val="tx1"/>
          </a:solidFill>
          <a:latin typeface="+mj-lt"/>
          <a:ea typeface="+mj-ea"/>
          <a:cs typeface="+mj-cs"/>
        </a:defRPr>
      </a:lvl1pPr>
    </p:titleStyle>
    <p:bodyStyle>
      <a:lvl1pPr marL="233100" indent="-233100" algn="l" defTabSz="932399" rtl="0" eaLnBrk="1" latinLnBrk="0" hangingPunct="1">
        <a:lnSpc>
          <a:spcPct val="90000"/>
        </a:lnSpc>
        <a:spcBef>
          <a:spcPts val="1020"/>
        </a:spcBef>
        <a:buClr>
          <a:schemeClr val="accent1"/>
        </a:buClr>
        <a:buFont typeface="Arial" panose="020B0604020202020204" pitchFamily="34" charset="0"/>
        <a:buChar char="•"/>
        <a:defRPr sz="2856" kern="1200">
          <a:solidFill>
            <a:schemeClr val="tx1"/>
          </a:solidFill>
          <a:latin typeface="+mn-lt"/>
          <a:ea typeface="+mn-ea"/>
          <a:cs typeface="+mn-cs"/>
        </a:defRPr>
      </a:lvl1pPr>
      <a:lvl2pPr marL="699300" indent="-233100" algn="l" defTabSz="932399" rtl="0" eaLnBrk="1" latinLnBrk="0" hangingPunct="1">
        <a:lnSpc>
          <a:spcPct val="90000"/>
        </a:lnSpc>
        <a:spcBef>
          <a:spcPts val="510"/>
        </a:spcBef>
        <a:buClr>
          <a:schemeClr val="accent1"/>
        </a:buClr>
        <a:buFont typeface="Arial" panose="020B0604020202020204" pitchFamily="34" charset="0"/>
        <a:buChar char="•"/>
        <a:defRPr sz="2448" kern="1200">
          <a:solidFill>
            <a:schemeClr val="tx1"/>
          </a:solidFill>
          <a:latin typeface="+mn-lt"/>
          <a:ea typeface="+mn-ea"/>
          <a:cs typeface="+mn-cs"/>
        </a:defRPr>
      </a:lvl2pPr>
      <a:lvl3pPr marL="1165499" indent="-233100" algn="l" defTabSz="932399" rtl="0" eaLnBrk="1" latinLnBrk="0" hangingPunct="1">
        <a:lnSpc>
          <a:spcPct val="90000"/>
        </a:lnSpc>
        <a:spcBef>
          <a:spcPts val="510"/>
        </a:spcBef>
        <a:buClr>
          <a:schemeClr val="accent1"/>
        </a:buClr>
        <a:buFont typeface="Arial" panose="020B0604020202020204" pitchFamily="34" charset="0"/>
        <a:buChar char="•"/>
        <a:defRPr sz="2040" kern="1200">
          <a:solidFill>
            <a:schemeClr val="tx1"/>
          </a:solidFill>
          <a:latin typeface="+mn-lt"/>
          <a:ea typeface="+mn-ea"/>
          <a:cs typeface="+mn-cs"/>
        </a:defRPr>
      </a:lvl3pPr>
      <a:lvl4pPr marL="1631698" indent="-233100" algn="l" defTabSz="932399" rtl="0" eaLnBrk="1" latinLnBrk="0" hangingPunct="1">
        <a:lnSpc>
          <a:spcPct val="90000"/>
        </a:lnSpc>
        <a:spcBef>
          <a:spcPts val="510"/>
        </a:spcBef>
        <a:buClr>
          <a:schemeClr val="accent1"/>
        </a:buClr>
        <a:buFont typeface="Arial" panose="020B0604020202020204" pitchFamily="34" charset="0"/>
        <a:buChar char="•"/>
        <a:defRPr sz="1836" kern="1200">
          <a:solidFill>
            <a:schemeClr val="tx1"/>
          </a:solidFill>
          <a:latin typeface="+mn-lt"/>
          <a:ea typeface="+mn-ea"/>
          <a:cs typeface="+mn-cs"/>
        </a:defRPr>
      </a:lvl4pPr>
      <a:lvl5pPr marL="2097898" indent="-233100" algn="l" defTabSz="932399" rtl="0" eaLnBrk="1" latinLnBrk="0" hangingPunct="1">
        <a:lnSpc>
          <a:spcPct val="90000"/>
        </a:lnSpc>
        <a:spcBef>
          <a:spcPts val="510"/>
        </a:spcBef>
        <a:buClr>
          <a:schemeClr val="accent1"/>
        </a:buClr>
        <a:buFont typeface="Arial" panose="020B0604020202020204" pitchFamily="34" charset="0"/>
        <a:buChar char="•"/>
        <a:defRPr sz="1836" kern="1200">
          <a:solidFill>
            <a:schemeClr val="tx1"/>
          </a:solidFill>
          <a:latin typeface="+mn-lt"/>
          <a:ea typeface="+mn-ea"/>
          <a:cs typeface="+mn-cs"/>
        </a:defRPr>
      </a:lvl5pPr>
      <a:lvl6pPr marL="2564098" indent="-233100" algn="l" defTabSz="93239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297" indent="-233100" algn="l" defTabSz="93239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6498" indent="-233100" algn="l" defTabSz="93239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2697" indent="-233100" algn="l" defTabSz="93239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399" rtl="0" eaLnBrk="1" latinLnBrk="0" hangingPunct="1">
        <a:defRPr sz="1836" kern="1200">
          <a:solidFill>
            <a:schemeClr val="tx1"/>
          </a:solidFill>
          <a:latin typeface="+mn-lt"/>
          <a:ea typeface="+mn-ea"/>
          <a:cs typeface="+mn-cs"/>
        </a:defRPr>
      </a:lvl1pPr>
      <a:lvl2pPr marL="466199" algn="l" defTabSz="932399" rtl="0" eaLnBrk="1" latinLnBrk="0" hangingPunct="1">
        <a:defRPr sz="1836" kern="1200">
          <a:solidFill>
            <a:schemeClr val="tx1"/>
          </a:solidFill>
          <a:latin typeface="+mn-lt"/>
          <a:ea typeface="+mn-ea"/>
          <a:cs typeface="+mn-cs"/>
        </a:defRPr>
      </a:lvl2pPr>
      <a:lvl3pPr marL="932399" algn="l" defTabSz="932399" rtl="0" eaLnBrk="1" latinLnBrk="0" hangingPunct="1">
        <a:defRPr sz="1836" kern="1200">
          <a:solidFill>
            <a:schemeClr val="tx1"/>
          </a:solidFill>
          <a:latin typeface="+mn-lt"/>
          <a:ea typeface="+mn-ea"/>
          <a:cs typeface="+mn-cs"/>
        </a:defRPr>
      </a:lvl3pPr>
      <a:lvl4pPr marL="1398598" algn="l" defTabSz="932399" rtl="0" eaLnBrk="1" latinLnBrk="0" hangingPunct="1">
        <a:defRPr sz="1836" kern="1200">
          <a:solidFill>
            <a:schemeClr val="tx1"/>
          </a:solidFill>
          <a:latin typeface="+mn-lt"/>
          <a:ea typeface="+mn-ea"/>
          <a:cs typeface="+mn-cs"/>
        </a:defRPr>
      </a:lvl4pPr>
      <a:lvl5pPr marL="1864798" algn="l" defTabSz="932399" rtl="0" eaLnBrk="1" latinLnBrk="0" hangingPunct="1">
        <a:defRPr sz="1836" kern="1200">
          <a:solidFill>
            <a:schemeClr val="tx1"/>
          </a:solidFill>
          <a:latin typeface="+mn-lt"/>
          <a:ea typeface="+mn-ea"/>
          <a:cs typeface="+mn-cs"/>
        </a:defRPr>
      </a:lvl5pPr>
      <a:lvl6pPr marL="2330999" algn="l" defTabSz="932399" rtl="0" eaLnBrk="1" latinLnBrk="0" hangingPunct="1">
        <a:defRPr sz="1836" kern="1200">
          <a:solidFill>
            <a:schemeClr val="tx1"/>
          </a:solidFill>
          <a:latin typeface="+mn-lt"/>
          <a:ea typeface="+mn-ea"/>
          <a:cs typeface="+mn-cs"/>
        </a:defRPr>
      </a:lvl6pPr>
      <a:lvl7pPr marL="2797198" algn="l" defTabSz="932399" rtl="0" eaLnBrk="1" latinLnBrk="0" hangingPunct="1">
        <a:defRPr sz="1836" kern="1200">
          <a:solidFill>
            <a:schemeClr val="tx1"/>
          </a:solidFill>
          <a:latin typeface="+mn-lt"/>
          <a:ea typeface="+mn-ea"/>
          <a:cs typeface="+mn-cs"/>
        </a:defRPr>
      </a:lvl7pPr>
      <a:lvl8pPr marL="3263397" algn="l" defTabSz="932399" rtl="0" eaLnBrk="1" latinLnBrk="0" hangingPunct="1">
        <a:defRPr sz="1836" kern="1200">
          <a:solidFill>
            <a:schemeClr val="tx1"/>
          </a:solidFill>
          <a:latin typeface="+mn-lt"/>
          <a:ea typeface="+mn-ea"/>
          <a:cs typeface="+mn-cs"/>
        </a:defRPr>
      </a:lvl8pPr>
      <a:lvl9pPr marL="3729597" algn="l" defTabSz="932399" rtl="0" eaLnBrk="1" latinLnBrk="0" hangingPunct="1">
        <a:defRPr sz="183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92">
          <p15:clr>
            <a:srgbClr val="F26B43"/>
          </p15:clr>
        </p15:guide>
        <p15:guide id="2" pos="46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r>
              <a:rPr lang="en-US"/>
              <a:t>1/24/2017</a:t>
            </a:r>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DE4871EC-B911-45AC-A39F-10D8D40D3F06}" type="slidenum">
              <a:rPr lang="en-US" smtClean="0"/>
              <a:t>‹#›</a:t>
            </a:fld>
            <a:endParaRPr lang="en-US"/>
          </a:p>
        </p:txBody>
      </p:sp>
    </p:spTree>
    <p:extLst>
      <p:ext uri="{BB962C8B-B14F-4D97-AF65-F5344CB8AC3E}">
        <p14:creationId xmlns:p14="http://schemas.microsoft.com/office/powerpoint/2010/main" val="3595491737"/>
      </p:ext>
    </p:extLst>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 id="2147484352" r:id="rId11"/>
    <p:sldLayoutId id="2147484353" r:id="rId12"/>
  </p:sldLayoutIdLst>
  <p:hf hdr="0" ftr="0"/>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0"/>
            <a:ext cx="12436475" cy="1351952"/>
          </a:xfrm>
          <a:prstGeom prst="rect">
            <a:avLst/>
          </a:prstGeom>
        </p:spPr>
        <p:txBody>
          <a:bodyPr vert="horz" lIns="274320" tIns="22860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0" y="1379209"/>
            <a:ext cx="10726460" cy="4437962"/>
          </a:xfrm>
          <a:prstGeom prst="rect">
            <a:avLst/>
          </a:prstGeom>
        </p:spPr>
        <p:txBody>
          <a:bodyPr vert="horz" lIns="27432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77503241"/>
      </p:ext>
    </p:extLst>
  </p:cSld>
  <p:clrMap bg1="lt1" tx1="dk1" bg2="lt2" tx2="dk2" accent1="accent1" accent2="accent2" accent3="accent3" accent4="accent4" accent5="accent5" accent6="accent6" hlink="hlink" folHlink="folHlink"/>
  <p:sldLayoutIdLst>
    <p:sldLayoutId id="2147484355" r:id="rId1"/>
    <p:sldLayoutId id="2147484356" r:id="rId2"/>
    <p:sldLayoutId id="2147484357" r:id="rId3"/>
    <p:sldLayoutId id="2147484358" r:id="rId4"/>
    <p:sldLayoutId id="2147484359" r:id="rId5"/>
    <p:sldLayoutId id="2147484360" r:id="rId6"/>
    <p:sldLayoutId id="2147484361" r:id="rId7"/>
    <p:sldLayoutId id="2147484362" r:id="rId8"/>
    <p:sldLayoutId id="2147484363" r:id="rId9"/>
    <p:sldLayoutId id="2147484364" r:id="rId10"/>
    <p:sldLayoutId id="2147484365" r:id="rId11"/>
    <p:sldLayoutId id="2147484366" r:id="rId12"/>
    <p:sldLayoutId id="2147484367" r:id="rId13"/>
    <p:sldLayoutId id="2147484368" r:id="rId14"/>
    <p:sldLayoutId id="2147484369" r:id="rId15"/>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0" indent="0" algn="l" defTabSz="932597" rtl="0" eaLnBrk="1" latinLnBrk="0" hangingPunct="1">
        <a:lnSpc>
          <a:spcPct val="90000"/>
        </a:lnSpc>
        <a:spcBef>
          <a:spcPts val="1020"/>
        </a:spcBef>
        <a:buFont typeface="Arial" panose="020B0604020202020204" pitchFamily="34" charset="0"/>
        <a:buNone/>
        <a:defRPr sz="2856" kern="1200">
          <a:solidFill>
            <a:schemeClr val="tx1"/>
          </a:solidFill>
          <a:latin typeface="+mj-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j-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1632"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428"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020"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31.svg"/></Relationships>
</file>

<file path=ppt/slides/_rels/slide1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2.xml"/><Relationship Id="rId1" Type="http://schemas.openxmlformats.org/officeDocument/2006/relationships/slideLayout" Target="../slideLayouts/slideLayout1.xml"/><Relationship Id="rId4" Type="http://schemas.openxmlformats.org/officeDocument/2006/relationships/image" Target="../media/image33.png"/></Relationships>
</file>

<file path=ppt/slides/_rels/slide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4.xml"/><Relationship Id="rId1" Type="http://schemas.openxmlformats.org/officeDocument/2006/relationships/slideLayout" Target="../slideLayouts/slideLayout44.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5.xml"/><Relationship Id="rId1" Type="http://schemas.openxmlformats.org/officeDocument/2006/relationships/slideLayout" Target="../slideLayouts/slideLayout44.xml"/><Relationship Id="rId4" Type="http://schemas.openxmlformats.org/officeDocument/2006/relationships/image" Target="../media/image39.png"/></Relationships>
</file>

<file path=ppt/slides/_rels/slide1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6.xml"/><Relationship Id="rId1" Type="http://schemas.openxmlformats.org/officeDocument/2006/relationships/slideLayout" Target="../slideLayouts/slideLayout55.xml"/></Relationships>
</file>

<file path=ppt/slides/_rels/slide17.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17.xml"/><Relationship Id="rId1" Type="http://schemas.openxmlformats.org/officeDocument/2006/relationships/slideLayout" Target="../slideLayouts/slideLayout45.xml"/><Relationship Id="rId6" Type="http://schemas.openxmlformats.org/officeDocument/2006/relationships/image" Target="../media/image44.png"/><Relationship Id="rId5" Type="http://schemas.openxmlformats.org/officeDocument/2006/relationships/image" Target="../media/image43.png"/><Relationship Id="rId10" Type="http://schemas.openxmlformats.org/officeDocument/2006/relationships/image" Target="../media/image18.png"/><Relationship Id="rId4" Type="http://schemas.openxmlformats.org/officeDocument/2006/relationships/image" Target="../media/image42.png"/><Relationship Id="rId9" Type="http://schemas.openxmlformats.org/officeDocument/2006/relationships/image" Target="../media/image47.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0.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44.xml"/><Relationship Id="rId7" Type="http://schemas.openxmlformats.org/officeDocument/2006/relationships/image" Target="../media/image48.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0.xml"/><Relationship Id="rId1" Type="http://schemas.openxmlformats.org/officeDocument/2006/relationships/slideLayout" Target="../slideLayouts/slideLayout44.xml"/><Relationship Id="rId5" Type="http://schemas.openxmlformats.org/officeDocument/2006/relationships/image" Target="../media/image51.png"/><Relationship Id="rId4" Type="http://schemas.openxmlformats.org/officeDocument/2006/relationships/image" Target="../media/image50.png"/></Relationships>
</file>

<file path=ppt/slides/_rels/slide2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1.xml"/><Relationship Id="rId1" Type="http://schemas.openxmlformats.org/officeDocument/2006/relationships/slideLayout" Target="../slideLayouts/slideLayout44.xml"/><Relationship Id="rId4" Type="http://schemas.openxmlformats.org/officeDocument/2006/relationships/image" Target="../media/image18.png"/></Relationships>
</file>

<file path=ppt/slides/_rels/slide2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2.xml"/><Relationship Id="rId1" Type="http://schemas.openxmlformats.org/officeDocument/2006/relationships/slideLayout" Target="../slideLayouts/slideLayout44.xml"/><Relationship Id="rId5" Type="http://schemas.openxmlformats.org/officeDocument/2006/relationships/image" Target="../media/image55.png"/><Relationship Id="rId4" Type="http://schemas.openxmlformats.org/officeDocument/2006/relationships/image" Target="../media/image54.png"/></Relationships>
</file>

<file path=ppt/slides/_rels/slide23.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6.png"/><Relationship Id="rId7" Type="http://schemas.openxmlformats.org/officeDocument/2006/relationships/image" Target="../media/image59.png"/><Relationship Id="rId2" Type="http://schemas.openxmlformats.org/officeDocument/2006/relationships/notesSlide" Target="../notesSlides/notesSlide23.xml"/><Relationship Id="rId1" Type="http://schemas.openxmlformats.org/officeDocument/2006/relationships/slideLayout" Target="../slideLayouts/slideLayout44.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18.png"/></Relationships>
</file>

<file path=ppt/slides/_rels/slide2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4.xml"/><Relationship Id="rId1" Type="http://schemas.openxmlformats.org/officeDocument/2006/relationships/slideLayout" Target="../slideLayouts/slideLayout44.xml"/><Relationship Id="rId4" Type="http://schemas.openxmlformats.org/officeDocument/2006/relationships/image" Target="../media/image18.png"/></Relationships>
</file>

<file path=ppt/slides/_rels/slide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5.xml"/><Relationship Id="rId1" Type="http://schemas.openxmlformats.org/officeDocument/2006/relationships/slideLayout" Target="../slideLayouts/slideLayout44.xml"/></Relationships>
</file>

<file path=ppt/slides/_rels/slide2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6.xml"/><Relationship Id="rId1" Type="http://schemas.openxmlformats.org/officeDocument/2006/relationships/slideLayout" Target="../slideLayouts/slideLayout44.xml"/><Relationship Id="rId5" Type="http://schemas.openxmlformats.org/officeDocument/2006/relationships/image" Target="../media/image64.png"/><Relationship Id="rId4" Type="http://schemas.openxmlformats.org/officeDocument/2006/relationships/image" Target="../media/image63.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5.xml"/></Relationships>
</file>

<file path=ppt/slides/_rels/slide40.xml.rels><?xml version="1.0" encoding="UTF-8" standalone="yes"?>
<Relationships xmlns="http://schemas.openxmlformats.org/package/2006/relationships"><Relationship Id="rId8" Type="http://schemas.openxmlformats.org/officeDocument/2006/relationships/notesSlide" Target="../notesSlides/notesSlide40.xml"/><Relationship Id="rId3" Type="http://schemas.openxmlformats.org/officeDocument/2006/relationships/tags" Target="../tags/tag8.xml"/><Relationship Id="rId7" Type="http://schemas.openxmlformats.org/officeDocument/2006/relationships/slideLayout" Target="../slideLayouts/slideLayout3.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5" Type="http://schemas.openxmlformats.org/officeDocument/2006/relationships/tags" Target="../tags/tag10.xml"/><Relationship Id="rId4" Type="http://schemas.openxmlformats.org/officeDocument/2006/relationships/tags" Target="../tags/tag9.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64.xml"/><Relationship Id="rId4" Type="http://schemas.openxmlformats.org/officeDocument/2006/relationships/image" Target="../media/image16.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png"/><Relationship Id="rId3" Type="http://schemas.openxmlformats.org/officeDocument/2006/relationships/image" Target="../media/image30.png"/><Relationship Id="rId7" Type="http://schemas.openxmlformats.org/officeDocument/2006/relationships/image" Target="../media/image67.png"/><Relationship Id="rId12" Type="http://schemas.openxmlformats.org/officeDocument/2006/relationships/image" Target="../media/image72.svg"/><Relationship Id="rId2" Type="http://schemas.openxmlformats.org/officeDocument/2006/relationships/notesSlide" Target="../notesSlides/notesSlide56.xml"/><Relationship Id="rId1" Type="http://schemas.openxmlformats.org/officeDocument/2006/relationships/slideLayout" Target="../slideLayouts/slideLayout3.xml"/><Relationship Id="rId6" Type="http://schemas.openxmlformats.org/officeDocument/2006/relationships/image" Target="../media/image66.svg"/><Relationship Id="rId11" Type="http://schemas.openxmlformats.org/officeDocument/2006/relationships/image" Target="../media/image71.png"/><Relationship Id="rId5" Type="http://schemas.openxmlformats.org/officeDocument/2006/relationships/image" Target="../media/image65.png"/><Relationship Id="rId10" Type="http://schemas.openxmlformats.org/officeDocument/2006/relationships/image" Target="../media/image70.png"/><Relationship Id="rId4" Type="http://schemas.openxmlformats.org/officeDocument/2006/relationships/image" Target="../media/image31.svg"/><Relationship Id="rId9" Type="http://schemas.openxmlformats.org/officeDocument/2006/relationships/image" Target="../media/image69.png"/><Relationship Id="rId14" Type="http://schemas.microsoft.com/office/2007/relationships/hdphoto" Target="../media/hdphoto2.wdp"/></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2.xml"/><Relationship Id="rId1" Type="http://schemas.openxmlformats.org/officeDocument/2006/relationships/tags" Target="../tags/tag4.xml"/><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image" Target="../media/image19.emf"/><Relationship Id="rId7"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2.emf"/><Relationship Id="rId5" Type="http://schemas.openxmlformats.org/officeDocument/2006/relationships/image" Target="../media/image21.emf"/><Relationship Id="rId4" Type="http://schemas.openxmlformats.org/officeDocument/2006/relationships/image" Target="../media/image20.emf"/><Relationship Id="rId9" Type="http://schemas.openxmlformats.org/officeDocument/2006/relationships/image" Target="../media/image25.wmf"/></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44.xml"/></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9.xml"/><Relationship Id="rId1" Type="http://schemas.openxmlformats.org/officeDocument/2006/relationships/slideLayout" Target="../slideLayouts/slideLayout44.xml"/><Relationship Id="rId5" Type="http://schemas.openxmlformats.org/officeDocument/2006/relationships/image" Target="../media/image29.gif"/><Relationship Id="rId4"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Subtitle 2"/>
          <p:cNvSpPr txBox="1">
            <a:spLocks/>
          </p:cNvSpPr>
          <p:nvPr/>
        </p:nvSpPr>
        <p:spPr>
          <a:xfrm>
            <a:off x="195174" y="3602887"/>
            <a:ext cx="12046126" cy="1554339"/>
          </a:xfrm>
          <a:prstGeom prst="rect">
            <a:avLst/>
          </a:prstGeom>
          <a:noFill/>
          <a:ln>
            <a:noFill/>
          </a:ln>
        </p:spPr>
        <p:txBody>
          <a:bodyPr vert="horz" lIns="93260" tIns="46630" rIns="93260" bIns="46630" rtlCol="0" anchor="t"/>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77149" rtl="0" eaLnBrk="1" fontAlgn="auto" latinLnBrk="0" hangingPunct="1">
              <a:lnSpc>
                <a:spcPct val="100000"/>
              </a:lnSpc>
              <a:spcBef>
                <a:spcPts val="0"/>
              </a:spcBef>
              <a:spcAft>
                <a:spcPts val="0"/>
              </a:spcAft>
              <a:buClrTx/>
              <a:buSzTx/>
              <a:buFontTx/>
              <a:buNone/>
              <a:tabLst/>
              <a:defRPr/>
            </a:pPr>
            <a:endParaRPr kumimoji="0" lang="en-US" sz="2720" b="0" i="0" u="none" strike="noStrike" kern="1200" cap="none" spc="0" normalizeH="0" baseline="0" noProof="0" dirty="0">
              <a:ln>
                <a:noFill/>
              </a:ln>
              <a:solidFill>
                <a:schemeClr val="bg1"/>
              </a:solidFill>
              <a:effectLst/>
              <a:uLnTx/>
              <a:uFillTx/>
              <a:latin typeface="+mj-lt"/>
              <a:ea typeface="+mn-ea"/>
              <a:cs typeface="+mn-cs"/>
            </a:endParaRPr>
          </a:p>
        </p:txBody>
      </p:sp>
      <p:sp>
        <p:nvSpPr>
          <p:cNvPr id="3" name="Title 1"/>
          <p:cNvSpPr txBox="1">
            <a:spLocks/>
          </p:cNvSpPr>
          <p:nvPr/>
        </p:nvSpPr>
        <p:spPr>
          <a:xfrm>
            <a:off x="195174" y="1659963"/>
            <a:ext cx="12046126" cy="1942924"/>
          </a:xfrm>
          <a:prstGeom prst="rect">
            <a:avLst/>
          </a:prstGeom>
          <a:noFill/>
          <a:ln>
            <a:noFill/>
          </a:ln>
        </p:spPr>
        <p:txBody>
          <a:bodyPr anchor="b"/>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777149" rtl="0" eaLnBrk="1" fontAlgn="auto" latinLnBrk="0" hangingPunct="1">
              <a:lnSpc>
                <a:spcPct val="90000"/>
              </a:lnSpc>
              <a:spcBef>
                <a:spcPct val="0"/>
              </a:spcBef>
              <a:spcAft>
                <a:spcPts val="0"/>
              </a:spcAft>
              <a:buClrTx/>
              <a:buSzTx/>
              <a:buFontTx/>
              <a:buNone/>
              <a:tabLst/>
              <a:defRPr/>
            </a:pPr>
            <a:r>
              <a:rPr kumimoji="0" lang="en-US" sz="5609" b="0" i="0" u="none" strike="noStrike" kern="1200" cap="none" spc="-127" normalizeH="0" baseline="0" noProof="0" dirty="0">
                <a:ln>
                  <a:noFill/>
                </a:ln>
                <a:solidFill>
                  <a:schemeClr val="bg1"/>
                </a:solidFill>
                <a:effectLst/>
                <a:uLnTx/>
                <a:uFillTx/>
                <a:latin typeface="+mj-lt"/>
                <a:ea typeface="+mj-ea"/>
                <a:cs typeface="+mj-cs"/>
              </a:rPr>
              <a:t>Azure Data Lake Overview</a:t>
            </a:r>
          </a:p>
        </p:txBody>
      </p:sp>
      <p:sp>
        <p:nvSpPr>
          <p:cNvPr id="5" name="Rectangle 4"/>
          <p:cNvSpPr/>
          <p:nvPr/>
        </p:nvSpPr>
        <p:spPr>
          <a:xfrm>
            <a:off x="195173" y="6023063"/>
            <a:ext cx="12046127" cy="777169"/>
          </a:xfrm>
          <a:prstGeom prst="rect">
            <a:avLst/>
          </a:prstGeom>
          <a:noFill/>
          <a:ln>
            <a:noFill/>
          </a:ln>
        </p:spPr>
        <p:txBody>
          <a:bodyPr vert="horz" lIns="93260" tIns="46630" rIns="93260" bIns="46630" rtlCol="0" anchor="ctr"/>
          <a:lstStyle/>
          <a:p>
            <a:pPr marL="0" marR="0" lvl="0" indent="0" defTabSz="777149" eaLnBrk="1" fontAlgn="auto" latinLnBrk="0" hangingPunct="1">
              <a:lnSpc>
                <a:spcPct val="100000"/>
              </a:lnSpc>
              <a:spcBef>
                <a:spcPts val="0"/>
              </a:spcBef>
              <a:spcAft>
                <a:spcPts val="0"/>
              </a:spcAft>
              <a:buClrTx/>
              <a:buSzTx/>
              <a:buFontTx/>
              <a:buNone/>
              <a:tabLst/>
              <a:defRPr/>
            </a:pPr>
            <a:endParaRPr kumimoji="0" lang="en-US" sz="3400" b="0" i="0" u="none" strike="noStrike" kern="0" cap="none" spc="0" normalizeH="0" baseline="0" noProof="0" dirty="0">
              <a:ln>
                <a:noFill/>
              </a:ln>
              <a:solidFill>
                <a:schemeClr val="bg1"/>
              </a:solidFill>
              <a:effectLst/>
              <a:uLnTx/>
              <a:uFillTx/>
              <a:latin typeface="+mj-lt"/>
            </a:endParaRPr>
          </a:p>
        </p:txBody>
      </p:sp>
    </p:spTree>
    <p:extLst>
      <p:ext uri="{BB962C8B-B14F-4D97-AF65-F5344CB8AC3E}">
        <p14:creationId xmlns:p14="http://schemas.microsoft.com/office/powerpoint/2010/main" val="41023019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20D33F3F-BFCC-4D74-AC9D-BC5A0FAB74DD}"/>
              </a:ext>
            </a:extLst>
          </p:cNvPr>
          <p:cNvGrpSpPr/>
          <p:nvPr/>
        </p:nvGrpSpPr>
        <p:grpSpPr>
          <a:xfrm>
            <a:off x="-4370" y="1554445"/>
            <a:ext cx="12440845" cy="4594548"/>
            <a:chOff x="-4370" y="1730889"/>
            <a:chExt cx="12440845" cy="3249485"/>
          </a:xfrm>
        </p:grpSpPr>
        <p:sp>
          <p:nvSpPr>
            <p:cNvPr id="4" name="Rectangle 3">
              <a:extLst>
                <a:ext uri="{FF2B5EF4-FFF2-40B4-BE49-F238E27FC236}">
                  <a16:creationId xmlns:a16="http://schemas.microsoft.com/office/drawing/2014/main" id="{3576E6E3-69FB-47C2-BA5F-B1F2AA781946}"/>
                </a:ext>
              </a:extLst>
            </p:cNvPr>
            <p:cNvSpPr/>
            <p:nvPr/>
          </p:nvSpPr>
          <p:spPr>
            <a:xfrm>
              <a:off x="5214614" y="1730889"/>
              <a:ext cx="7221861" cy="32494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5" name="Arrow: Pentagon 44"/>
            <p:cNvSpPr/>
            <p:nvPr/>
          </p:nvSpPr>
          <p:spPr>
            <a:xfrm>
              <a:off x="-4370" y="1730889"/>
              <a:ext cx="7959947" cy="3249485"/>
            </a:xfrm>
            <a:prstGeom prst="homePlate">
              <a:avLst>
                <a:gd name="adj" fmla="val 2438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 name="Title 1"/>
          <p:cNvSpPr>
            <a:spLocks noGrp="1"/>
          </p:cNvSpPr>
          <p:nvPr>
            <p:ph type="title"/>
          </p:nvPr>
        </p:nvSpPr>
        <p:spPr>
          <a:xfrm>
            <a:off x="194320" y="194292"/>
            <a:ext cx="12047836" cy="831607"/>
          </a:xfrm>
        </p:spPr>
        <p:txBody>
          <a:bodyPr>
            <a:normAutofit/>
          </a:bodyPr>
          <a:lstStyle/>
          <a:p>
            <a:pPr lvl="0" algn="ctr">
              <a:defRPr/>
            </a:pPr>
            <a:r>
              <a:rPr lang="en-US" sz="4400" dirty="0">
                <a:latin typeface="Segoe UI Light" panose="020B0502040204020203" pitchFamily="34" charset="0"/>
                <a:cs typeface="Segoe UI Light" panose="020B0502040204020203" pitchFamily="34" charset="0"/>
              </a:rPr>
              <a:t>Options for Big Data in Azure</a:t>
            </a:r>
          </a:p>
        </p:txBody>
      </p:sp>
      <p:sp>
        <p:nvSpPr>
          <p:cNvPr id="17" name="Rectangle 16"/>
          <p:cNvSpPr/>
          <p:nvPr/>
        </p:nvSpPr>
        <p:spPr>
          <a:xfrm>
            <a:off x="4202212" y="3911387"/>
            <a:ext cx="2564659" cy="58738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marL="0" marR="0" lvl="0" indent="0" algn="ctr" defTabSz="777149"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tx1"/>
                </a:solidFill>
                <a:effectLst/>
                <a:uLnTx/>
                <a:uFillTx/>
                <a:latin typeface="Segoe UI Light" panose="020B0502040204020203" pitchFamily="34" charset="0"/>
                <a:ea typeface="+mn-ea"/>
                <a:cs typeface="Segoe UI Light" panose="020B0502040204020203" pitchFamily="34" charset="0"/>
              </a:rPr>
              <a:t>HDInsight</a:t>
            </a:r>
          </a:p>
        </p:txBody>
      </p:sp>
      <p:sp>
        <p:nvSpPr>
          <p:cNvPr id="5" name="Rectangle 4"/>
          <p:cNvSpPr/>
          <p:nvPr/>
        </p:nvSpPr>
        <p:spPr>
          <a:xfrm>
            <a:off x="4202212" y="4550256"/>
            <a:ext cx="2564659" cy="7556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777149"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tx1"/>
                </a:solidFill>
                <a:effectLst/>
                <a:uLnTx/>
                <a:uFillTx/>
                <a:latin typeface="Segoe UI Light" panose="020B0502040204020203" pitchFamily="34" charset="0"/>
                <a:ea typeface="+mn-ea"/>
                <a:cs typeface="Segoe UI Light" panose="020B0502040204020203" pitchFamily="34" charset="0"/>
              </a:rPr>
              <a:t>Azure-managed VM cluster running Hadoop</a:t>
            </a:r>
          </a:p>
        </p:txBody>
      </p:sp>
      <p:sp>
        <p:nvSpPr>
          <p:cNvPr id="19" name="Rectangle 18"/>
          <p:cNvSpPr/>
          <p:nvPr/>
        </p:nvSpPr>
        <p:spPr>
          <a:xfrm>
            <a:off x="8729689" y="3911387"/>
            <a:ext cx="2821125" cy="58738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marL="0" marR="0" lvl="0" indent="0" algn="ctr" defTabSz="777149"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tx1"/>
                </a:solidFill>
                <a:effectLst/>
                <a:uLnTx/>
                <a:uFillTx/>
                <a:latin typeface="Segoe UI Light" panose="020B0502040204020203" pitchFamily="34" charset="0"/>
                <a:ea typeface="+mn-ea"/>
                <a:cs typeface="Segoe UI Light" panose="020B0502040204020203" pitchFamily="34" charset="0"/>
              </a:rPr>
              <a:t>Data Lake</a:t>
            </a:r>
          </a:p>
          <a:p>
            <a:pPr marL="0" marR="0" lvl="0" indent="0" algn="ctr" defTabSz="777149"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tx1"/>
              </a:solidFill>
              <a:effectLst/>
              <a:uLnTx/>
              <a:uFillTx/>
              <a:latin typeface="Segoe UI Light" panose="020B0502040204020203" pitchFamily="34" charset="0"/>
              <a:ea typeface="+mn-ea"/>
              <a:cs typeface="Segoe UI Light" panose="020B0502040204020203" pitchFamily="34" charset="0"/>
            </a:endParaRPr>
          </a:p>
        </p:txBody>
      </p:sp>
      <p:sp>
        <p:nvSpPr>
          <p:cNvPr id="20" name="Rectangle 19"/>
          <p:cNvSpPr/>
          <p:nvPr/>
        </p:nvSpPr>
        <p:spPr>
          <a:xfrm>
            <a:off x="8974497" y="4550256"/>
            <a:ext cx="2331508" cy="7556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777149"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tx1"/>
                </a:solidFill>
                <a:effectLst/>
                <a:uLnTx/>
                <a:uFillTx/>
                <a:latin typeface="Segoe UI Light" panose="020B0502040204020203" pitchFamily="34" charset="0"/>
                <a:ea typeface="+mn-ea"/>
                <a:cs typeface="Segoe UI Light" panose="020B0502040204020203" pitchFamily="34" charset="0"/>
              </a:rPr>
              <a:t>Big Data as a Service</a:t>
            </a:r>
          </a:p>
          <a:p>
            <a:pPr marL="0" marR="0" lvl="0" indent="0" algn="ctr" defTabSz="777149" rtl="0" eaLnBrk="1" fontAlgn="auto" latinLnBrk="0" hangingPunct="1">
              <a:lnSpc>
                <a:spcPct val="100000"/>
              </a:lnSpc>
              <a:spcBef>
                <a:spcPts val="0"/>
              </a:spcBef>
              <a:spcAft>
                <a:spcPts val="0"/>
              </a:spcAft>
              <a:buClrTx/>
              <a:buSzTx/>
              <a:buFontTx/>
              <a:buNone/>
              <a:tabLst/>
              <a:defRPr/>
            </a:pPr>
            <a:endParaRPr lang="en-US" kern="0" dirty="0">
              <a:solidFill>
                <a:schemeClr val="tx1"/>
              </a:solidFill>
              <a:latin typeface="Segoe UI Light" panose="020B0502040204020203" pitchFamily="34" charset="0"/>
              <a:cs typeface="Segoe UI Light" panose="020B0502040204020203" pitchFamily="34" charset="0"/>
            </a:endParaRPr>
          </a:p>
          <a:p>
            <a:pPr marL="0" marR="0" lvl="0" indent="0" algn="ctr" defTabSz="777149"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tx1"/>
                </a:solidFill>
                <a:effectLst/>
                <a:uLnTx/>
                <a:uFillTx/>
                <a:latin typeface="Segoe UI Light" panose="020B0502040204020203" pitchFamily="34" charset="0"/>
                <a:ea typeface="+mn-ea"/>
                <a:cs typeface="Segoe UI Light" panose="020B0502040204020203" pitchFamily="34" charset="0"/>
              </a:rPr>
              <a:t>Data Lake Analytics</a:t>
            </a:r>
          </a:p>
          <a:p>
            <a:pPr marL="0" marR="0" lvl="0" indent="0" algn="ctr" defTabSz="777149" rtl="0" eaLnBrk="1" fontAlgn="auto" latinLnBrk="0" hangingPunct="1">
              <a:lnSpc>
                <a:spcPct val="100000"/>
              </a:lnSpc>
              <a:spcBef>
                <a:spcPts val="0"/>
              </a:spcBef>
              <a:spcAft>
                <a:spcPts val="0"/>
              </a:spcAft>
              <a:buClrTx/>
              <a:buSzTx/>
              <a:buFontTx/>
              <a:buNone/>
              <a:tabLst/>
              <a:defRPr/>
            </a:pPr>
            <a:r>
              <a:rPr lang="en-US" kern="0" dirty="0">
                <a:solidFill>
                  <a:schemeClr val="tx1"/>
                </a:solidFill>
                <a:latin typeface="Segoe UI Light" panose="020B0502040204020203" pitchFamily="34" charset="0"/>
                <a:cs typeface="Segoe UI Light" panose="020B0502040204020203" pitchFamily="34" charset="0"/>
              </a:rPr>
              <a:t>Data Lake Store</a:t>
            </a:r>
            <a:endParaRPr kumimoji="0" lang="en-US" sz="1800" b="0" i="0" u="none" strike="noStrike" kern="0" cap="none" spc="0" normalizeH="0" baseline="0" noProof="0" dirty="0">
              <a:ln>
                <a:noFill/>
              </a:ln>
              <a:solidFill>
                <a:schemeClr val="tx1"/>
              </a:solidFill>
              <a:effectLst/>
              <a:uLnTx/>
              <a:uFillTx/>
              <a:latin typeface="Segoe UI Light" panose="020B0502040204020203" pitchFamily="34" charset="0"/>
              <a:cs typeface="Segoe UI Light" panose="020B0502040204020203" pitchFamily="34" charset="0"/>
            </a:endParaRPr>
          </a:p>
        </p:txBody>
      </p:sp>
      <p:sp>
        <p:nvSpPr>
          <p:cNvPr id="36" name="Rectangle 35"/>
          <p:cNvSpPr/>
          <p:nvPr/>
        </p:nvSpPr>
        <p:spPr>
          <a:xfrm>
            <a:off x="731897" y="3911387"/>
            <a:ext cx="2564659" cy="58738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marL="0" marR="0" lvl="0" indent="0" algn="ctr" defTabSz="777149"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tx1"/>
                </a:solidFill>
                <a:effectLst/>
                <a:uLnTx/>
                <a:uFillTx/>
                <a:latin typeface="Segoe UI Light" panose="020B0502040204020203" pitchFamily="34" charset="0"/>
                <a:ea typeface="+mn-ea"/>
                <a:cs typeface="Segoe UI Light" panose="020B0502040204020203" pitchFamily="34" charset="0"/>
              </a:rPr>
              <a:t>Virtual Machines</a:t>
            </a:r>
          </a:p>
        </p:txBody>
      </p:sp>
      <p:sp>
        <p:nvSpPr>
          <p:cNvPr id="37" name="Rectangle 36"/>
          <p:cNvSpPr/>
          <p:nvPr/>
        </p:nvSpPr>
        <p:spPr>
          <a:xfrm>
            <a:off x="731897" y="4550256"/>
            <a:ext cx="2564659" cy="7556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777149"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tx1"/>
                </a:solidFill>
                <a:effectLst/>
                <a:uLnTx/>
                <a:uFillTx/>
                <a:latin typeface="Segoe UI Light" panose="020B0502040204020203" pitchFamily="34" charset="0"/>
                <a:ea typeface="+mn-ea"/>
                <a:cs typeface="Segoe UI Light" panose="020B0502040204020203" pitchFamily="34" charset="0"/>
              </a:rPr>
              <a:t>User-managed VM cluster running Hadoop</a:t>
            </a:r>
          </a:p>
        </p:txBody>
      </p:sp>
      <p:grpSp>
        <p:nvGrpSpPr>
          <p:cNvPr id="31" name="Group 30"/>
          <p:cNvGrpSpPr/>
          <p:nvPr/>
        </p:nvGrpSpPr>
        <p:grpSpPr>
          <a:xfrm>
            <a:off x="4711502" y="2696854"/>
            <a:ext cx="1546079" cy="1146076"/>
            <a:chOff x="1358900" y="3878263"/>
            <a:chExt cx="1638300" cy="1214438"/>
          </a:xfrm>
          <a:effectLst/>
        </p:grpSpPr>
        <p:sp>
          <p:nvSpPr>
            <p:cNvPr id="33" name="Freeform 41"/>
            <p:cNvSpPr>
              <a:spLocks/>
            </p:cNvSpPr>
            <p:nvPr/>
          </p:nvSpPr>
          <p:spPr bwMode="auto">
            <a:xfrm>
              <a:off x="1376363" y="3897313"/>
              <a:ext cx="1606550" cy="1179513"/>
            </a:xfrm>
            <a:custGeom>
              <a:avLst/>
              <a:gdLst>
                <a:gd name="T0" fmla="*/ 5241 w 15187"/>
                <a:gd name="T1" fmla="*/ 9710 h 11142"/>
                <a:gd name="T2" fmla="*/ 5233 w 15187"/>
                <a:gd name="T3" fmla="*/ 9178 h 11142"/>
                <a:gd name="T4" fmla="*/ 4434 w 15187"/>
                <a:gd name="T5" fmla="*/ 9449 h 11142"/>
                <a:gd name="T6" fmla="*/ 3641 w 15187"/>
                <a:gd name="T7" fmla="*/ 11126 h 11142"/>
                <a:gd name="T8" fmla="*/ 1789 w 15187"/>
                <a:gd name="T9" fmla="*/ 10455 h 11142"/>
                <a:gd name="T10" fmla="*/ 1450 w 15187"/>
                <a:gd name="T11" fmla="*/ 9774 h 11142"/>
                <a:gd name="T12" fmla="*/ 225 w 15187"/>
                <a:gd name="T13" fmla="*/ 8805 h 11142"/>
                <a:gd name="T14" fmla="*/ 275 w 15187"/>
                <a:gd name="T15" fmla="*/ 8036 h 11142"/>
                <a:gd name="T16" fmla="*/ 1064 w 15187"/>
                <a:gd name="T17" fmla="*/ 5894 h 11142"/>
                <a:gd name="T18" fmla="*/ 587 w 15187"/>
                <a:gd name="T19" fmla="*/ 5637 h 11142"/>
                <a:gd name="T20" fmla="*/ 0 w 15187"/>
                <a:gd name="T21" fmla="*/ 4241 h 11142"/>
                <a:gd name="T22" fmla="*/ 737 w 15187"/>
                <a:gd name="T23" fmla="*/ 3467 h 11142"/>
                <a:gd name="T24" fmla="*/ 967 w 15187"/>
                <a:gd name="T25" fmla="*/ 3962 h 11142"/>
                <a:gd name="T26" fmla="*/ 1235 w 15187"/>
                <a:gd name="T27" fmla="*/ 4658 h 11142"/>
                <a:gd name="T28" fmla="*/ 2180 w 15187"/>
                <a:gd name="T29" fmla="*/ 3525 h 11142"/>
                <a:gd name="T30" fmla="*/ 4772 w 15187"/>
                <a:gd name="T31" fmla="*/ 2368 h 11142"/>
                <a:gd name="T32" fmla="*/ 4796 w 15187"/>
                <a:gd name="T33" fmla="*/ 2366 h 11142"/>
                <a:gd name="T34" fmla="*/ 5902 w 15187"/>
                <a:gd name="T35" fmla="*/ 1584 h 11142"/>
                <a:gd name="T36" fmla="*/ 7475 w 15187"/>
                <a:gd name="T37" fmla="*/ 320 h 11142"/>
                <a:gd name="T38" fmla="*/ 10463 w 15187"/>
                <a:gd name="T39" fmla="*/ 444 h 11142"/>
                <a:gd name="T40" fmla="*/ 12229 w 15187"/>
                <a:gd name="T41" fmla="*/ 2322 h 11142"/>
                <a:gd name="T42" fmla="*/ 11919 w 15187"/>
                <a:gd name="T43" fmla="*/ 2784 h 11142"/>
                <a:gd name="T44" fmla="*/ 12748 w 15187"/>
                <a:gd name="T45" fmla="*/ 1952 h 11142"/>
                <a:gd name="T46" fmla="*/ 12808 w 15187"/>
                <a:gd name="T47" fmla="*/ 1312 h 11142"/>
                <a:gd name="T48" fmla="*/ 14117 w 15187"/>
                <a:gd name="T49" fmla="*/ 374 h 11142"/>
                <a:gd name="T50" fmla="*/ 15054 w 15187"/>
                <a:gd name="T51" fmla="*/ 1820 h 11142"/>
                <a:gd name="T52" fmla="*/ 15074 w 15187"/>
                <a:gd name="T53" fmla="*/ 4582 h 11142"/>
                <a:gd name="T54" fmla="*/ 13760 w 15187"/>
                <a:gd name="T55" fmla="*/ 6707 h 11142"/>
                <a:gd name="T56" fmla="*/ 11787 w 15187"/>
                <a:gd name="T57" fmla="*/ 6939 h 11142"/>
                <a:gd name="T58" fmla="*/ 11079 w 15187"/>
                <a:gd name="T59" fmla="*/ 7951 h 11142"/>
                <a:gd name="T60" fmla="*/ 9991 w 15187"/>
                <a:gd name="T61" fmla="*/ 7940 h 11142"/>
                <a:gd name="T62" fmla="*/ 9225 w 15187"/>
                <a:gd name="T63" fmla="*/ 7666 h 11142"/>
                <a:gd name="T64" fmla="*/ 9246 w 15187"/>
                <a:gd name="T65" fmla="*/ 7826 h 11142"/>
                <a:gd name="T66" fmla="*/ 9561 w 15187"/>
                <a:gd name="T67" fmla="*/ 8267 h 11142"/>
                <a:gd name="T68" fmla="*/ 9893 w 15187"/>
                <a:gd name="T69" fmla="*/ 9776 h 11142"/>
                <a:gd name="T70" fmla="*/ 9523 w 15187"/>
                <a:gd name="T71" fmla="*/ 10699 h 11142"/>
                <a:gd name="T72" fmla="*/ 8033 w 15187"/>
                <a:gd name="T73" fmla="*/ 10573 h 11142"/>
                <a:gd name="T74" fmla="*/ 7942 w 15187"/>
                <a:gd name="T75" fmla="*/ 10378 h 11142"/>
                <a:gd name="T76" fmla="*/ 7218 w 15187"/>
                <a:gd name="T77" fmla="*/ 10650 h 11142"/>
                <a:gd name="T78" fmla="*/ 5285 w 15187"/>
                <a:gd name="T79" fmla="*/ 10028 h 11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87" h="11142">
                  <a:moveTo>
                    <a:pt x="5285" y="10028"/>
                  </a:moveTo>
                  <a:lnTo>
                    <a:pt x="5241" y="9710"/>
                  </a:lnTo>
                  <a:lnTo>
                    <a:pt x="5370" y="9432"/>
                  </a:lnTo>
                  <a:lnTo>
                    <a:pt x="5233" y="9178"/>
                  </a:lnTo>
                  <a:lnTo>
                    <a:pt x="4621" y="9040"/>
                  </a:lnTo>
                  <a:lnTo>
                    <a:pt x="4434" y="9449"/>
                  </a:lnTo>
                  <a:lnTo>
                    <a:pt x="3963" y="10867"/>
                  </a:lnTo>
                  <a:lnTo>
                    <a:pt x="3641" y="11126"/>
                  </a:lnTo>
                  <a:lnTo>
                    <a:pt x="2596" y="10940"/>
                  </a:lnTo>
                  <a:lnTo>
                    <a:pt x="1789" y="10455"/>
                  </a:lnTo>
                  <a:lnTo>
                    <a:pt x="1960" y="9717"/>
                  </a:lnTo>
                  <a:lnTo>
                    <a:pt x="1450" y="9774"/>
                  </a:lnTo>
                  <a:lnTo>
                    <a:pt x="575" y="9268"/>
                  </a:lnTo>
                  <a:lnTo>
                    <a:pt x="225" y="8805"/>
                  </a:lnTo>
                  <a:lnTo>
                    <a:pt x="214" y="8787"/>
                  </a:lnTo>
                  <a:lnTo>
                    <a:pt x="275" y="8036"/>
                  </a:lnTo>
                  <a:lnTo>
                    <a:pt x="1041" y="7093"/>
                  </a:lnTo>
                  <a:lnTo>
                    <a:pt x="1064" y="5894"/>
                  </a:lnTo>
                  <a:lnTo>
                    <a:pt x="902" y="5720"/>
                  </a:lnTo>
                  <a:lnTo>
                    <a:pt x="587" y="5637"/>
                  </a:lnTo>
                  <a:lnTo>
                    <a:pt x="95" y="4814"/>
                  </a:lnTo>
                  <a:lnTo>
                    <a:pt x="0" y="4241"/>
                  </a:lnTo>
                  <a:lnTo>
                    <a:pt x="725" y="3473"/>
                  </a:lnTo>
                  <a:lnTo>
                    <a:pt x="737" y="3467"/>
                  </a:lnTo>
                  <a:lnTo>
                    <a:pt x="1357" y="3094"/>
                  </a:lnTo>
                  <a:lnTo>
                    <a:pt x="967" y="3962"/>
                  </a:lnTo>
                  <a:lnTo>
                    <a:pt x="958" y="4542"/>
                  </a:lnTo>
                  <a:lnTo>
                    <a:pt x="1235" y="4658"/>
                  </a:lnTo>
                  <a:lnTo>
                    <a:pt x="1557" y="4271"/>
                  </a:lnTo>
                  <a:lnTo>
                    <a:pt x="2180" y="3525"/>
                  </a:lnTo>
                  <a:lnTo>
                    <a:pt x="3357" y="2764"/>
                  </a:lnTo>
                  <a:lnTo>
                    <a:pt x="4772" y="2368"/>
                  </a:lnTo>
                  <a:lnTo>
                    <a:pt x="4775" y="2368"/>
                  </a:lnTo>
                  <a:lnTo>
                    <a:pt x="4796" y="2366"/>
                  </a:lnTo>
                  <a:lnTo>
                    <a:pt x="5235" y="2245"/>
                  </a:lnTo>
                  <a:lnTo>
                    <a:pt x="5902" y="1584"/>
                  </a:lnTo>
                  <a:lnTo>
                    <a:pt x="6314" y="1487"/>
                  </a:lnTo>
                  <a:lnTo>
                    <a:pt x="7475" y="320"/>
                  </a:lnTo>
                  <a:lnTo>
                    <a:pt x="9153" y="0"/>
                  </a:lnTo>
                  <a:lnTo>
                    <a:pt x="10463" y="444"/>
                  </a:lnTo>
                  <a:lnTo>
                    <a:pt x="11733" y="1687"/>
                  </a:lnTo>
                  <a:lnTo>
                    <a:pt x="12229" y="2322"/>
                  </a:lnTo>
                  <a:lnTo>
                    <a:pt x="12086" y="2641"/>
                  </a:lnTo>
                  <a:lnTo>
                    <a:pt x="11919" y="2784"/>
                  </a:lnTo>
                  <a:lnTo>
                    <a:pt x="12928" y="3514"/>
                  </a:lnTo>
                  <a:lnTo>
                    <a:pt x="12748" y="1952"/>
                  </a:lnTo>
                  <a:lnTo>
                    <a:pt x="12797" y="1323"/>
                  </a:lnTo>
                  <a:lnTo>
                    <a:pt x="12808" y="1312"/>
                  </a:lnTo>
                  <a:lnTo>
                    <a:pt x="14099" y="374"/>
                  </a:lnTo>
                  <a:lnTo>
                    <a:pt x="14117" y="374"/>
                  </a:lnTo>
                  <a:lnTo>
                    <a:pt x="14715" y="690"/>
                  </a:lnTo>
                  <a:lnTo>
                    <a:pt x="15054" y="1820"/>
                  </a:lnTo>
                  <a:lnTo>
                    <a:pt x="15187" y="2929"/>
                  </a:lnTo>
                  <a:lnTo>
                    <a:pt x="15074" y="4582"/>
                  </a:lnTo>
                  <a:lnTo>
                    <a:pt x="14612" y="5722"/>
                  </a:lnTo>
                  <a:lnTo>
                    <a:pt x="13760" y="6707"/>
                  </a:lnTo>
                  <a:lnTo>
                    <a:pt x="12558" y="7029"/>
                  </a:lnTo>
                  <a:lnTo>
                    <a:pt x="11787" y="6939"/>
                  </a:lnTo>
                  <a:lnTo>
                    <a:pt x="11439" y="7550"/>
                  </a:lnTo>
                  <a:lnTo>
                    <a:pt x="11079" y="7951"/>
                  </a:lnTo>
                  <a:lnTo>
                    <a:pt x="10469" y="8057"/>
                  </a:lnTo>
                  <a:lnTo>
                    <a:pt x="9991" y="7940"/>
                  </a:lnTo>
                  <a:lnTo>
                    <a:pt x="9483" y="7596"/>
                  </a:lnTo>
                  <a:lnTo>
                    <a:pt x="9225" y="7666"/>
                  </a:lnTo>
                  <a:lnTo>
                    <a:pt x="9222" y="7674"/>
                  </a:lnTo>
                  <a:lnTo>
                    <a:pt x="9246" y="7826"/>
                  </a:lnTo>
                  <a:lnTo>
                    <a:pt x="9489" y="8150"/>
                  </a:lnTo>
                  <a:lnTo>
                    <a:pt x="9561" y="8267"/>
                  </a:lnTo>
                  <a:lnTo>
                    <a:pt x="9838" y="8848"/>
                  </a:lnTo>
                  <a:lnTo>
                    <a:pt x="9893" y="9776"/>
                  </a:lnTo>
                  <a:lnTo>
                    <a:pt x="10032" y="10435"/>
                  </a:lnTo>
                  <a:lnTo>
                    <a:pt x="9523" y="10699"/>
                  </a:lnTo>
                  <a:lnTo>
                    <a:pt x="8339" y="10696"/>
                  </a:lnTo>
                  <a:lnTo>
                    <a:pt x="8033" y="10573"/>
                  </a:lnTo>
                  <a:lnTo>
                    <a:pt x="8018" y="10556"/>
                  </a:lnTo>
                  <a:lnTo>
                    <a:pt x="7942" y="10378"/>
                  </a:lnTo>
                  <a:lnTo>
                    <a:pt x="7674" y="10271"/>
                  </a:lnTo>
                  <a:lnTo>
                    <a:pt x="7218" y="10650"/>
                  </a:lnTo>
                  <a:lnTo>
                    <a:pt x="6386" y="11142"/>
                  </a:lnTo>
                  <a:lnTo>
                    <a:pt x="5285" y="10028"/>
                  </a:lnTo>
                  <a:close/>
                </a:path>
              </a:pathLst>
            </a:custGeom>
            <a:solidFill>
              <a:srgbClr val="FAD1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 name="Freeform 42"/>
            <p:cNvSpPr>
              <a:spLocks/>
            </p:cNvSpPr>
            <p:nvPr/>
          </p:nvSpPr>
          <p:spPr bwMode="auto">
            <a:xfrm>
              <a:off x="1376363" y="4618038"/>
              <a:ext cx="246062" cy="330200"/>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 name="Freeform 43"/>
            <p:cNvSpPr>
              <a:spLocks/>
            </p:cNvSpPr>
            <p:nvPr/>
          </p:nvSpPr>
          <p:spPr bwMode="auto">
            <a:xfrm>
              <a:off x="2203450" y="4699000"/>
              <a:ext cx="254000" cy="346075"/>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8" name="Freeform 44"/>
            <p:cNvSpPr>
              <a:spLocks noEditPoints="1"/>
            </p:cNvSpPr>
            <p:nvPr/>
          </p:nvSpPr>
          <p:spPr bwMode="auto">
            <a:xfrm>
              <a:off x="1358900" y="3878263"/>
              <a:ext cx="1638300" cy="121443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9" name="Freeform 45"/>
            <p:cNvSpPr>
              <a:spLocks/>
            </p:cNvSpPr>
            <p:nvPr/>
          </p:nvSpPr>
          <p:spPr bwMode="auto">
            <a:xfrm>
              <a:off x="1971675" y="4108450"/>
              <a:ext cx="220662" cy="225425"/>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8" name="Group 17"/>
          <p:cNvGrpSpPr/>
          <p:nvPr/>
        </p:nvGrpSpPr>
        <p:grpSpPr>
          <a:xfrm>
            <a:off x="1544079" y="2890994"/>
            <a:ext cx="940295" cy="867175"/>
            <a:chOff x="9816874" y="3665611"/>
            <a:chExt cx="1163308" cy="1072845"/>
          </a:xfrm>
        </p:grpSpPr>
        <p:sp>
          <p:nvSpPr>
            <p:cNvPr id="21" name="Freeform 31"/>
            <p:cNvSpPr>
              <a:spLocks/>
            </p:cNvSpPr>
            <p:nvPr/>
          </p:nvSpPr>
          <p:spPr bwMode="auto">
            <a:xfrm>
              <a:off x="10016842" y="4516269"/>
              <a:ext cx="760197" cy="222187"/>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78" tIns="38088" rIns="76178" bIns="38088" numCol="1" anchor="t" anchorCtr="0" compatLnSpc="1">
              <a:prstTxWarp prst="textNoShape">
                <a:avLst/>
              </a:prstTxWarp>
            </a:bodyPr>
            <a:lstStyle/>
            <a:p>
              <a:pPr marL="0" marR="0" lvl="0" indent="0" algn="l" defTabSz="76167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0B0F0"/>
                </a:solidFill>
                <a:effectLst/>
                <a:uLnTx/>
                <a:uFillTx/>
                <a:latin typeface="Segoe UI"/>
                <a:ea typeface="+mn-ea"/>
                <a:cs typeface="+mn-cs"/>
              </a:endParaRPr>
            </a:p>
          </p:txBody>
        </p:sp>
        <p:sp>
          <p:nvSpPr>
            <p:cNvPr id="22" name="Freeform 32"/>
            <p:cNvSpPr>
              <a:spLocks noEditPoints="1"/>
            </p:cNvSpPr>
            <p:nvPr/>
          </p:nvSpPr>
          <p:spPr bwMode="auto">
            <a:xfrm>
              <a:off x="9816874" y="3665611"/>
              <a:ext cx="1163308" cy="85065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78" tIns="38088" rIns="76178" bIns="38088" numCol="1" anchor="t" anchorCtr="0" compatLnSpc="1">
              <a:prstTxWarp prst="textNoShape">
                <a:avLst/>
              </a:prstTxWarp>
            </a:bodyPr>
            <a:lstStyle/>
            <a:p>
              <a:pPr marL="0" marR="0" lvl="0" indent="0" algn="l" defTabSz="76167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0B0F0"/>
                </a:solidFill>
                <a:effectLst/>
                <a:uLnTx/>
                <a:uFillTx/>
                <a:latin typeface="Segoe UI"/>
                <a:ea typeface="+mn-ea"/>
                <a:cs typeface="+mn-cs"/>
              </a:endParaRPr>
            </a:p>
          </p:txBody>
        </p:sp>
        <p:sp>
          <p:nvSpPr>
            <p:cNvPr id="24" name="Freeform 33"/>
            <p:cNvSpPr>
              <a:spLocks/>
            </p:cNvSpPr>
            <p:nvPr/>
          </p:nvSpPr>
          <p:spPr bwMode="auto">
            <a:xfrm>
              <a:off x="9904162" y="3754485"/>
              <a:ext cx="985558" cy="671322"/>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78" tIns="38088" rIns="76178" bIns="38088" numCol="1" anchor="t" anchorCtr="0" compatLnSpc="1">
              <a:prstTxWarp prst="textNoShape">
                <a:avLst/>
              </a:prstTxWarp>
            </a:bodyPr>
            <a:lstStyle/>
            <a:p>
              <a:pPr marL="0" marR="0" lvl="0" indent="0" algn="l" defTabSz="76167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0B0F0"/>
                </a:solidFill>
                <a:effectLst/>
                <a:uLnTx/>
                <a:uFillTx/>
                <a:latin typeface="Segoe UI"/>
                <a:ea typeface="+mn-ea"/>
                <a:cs typeface="+mn-cs"/>
              </a:endParaRPr>
            </a:p>
          </p:txBody>
        </p:sp>
        <p:sp>
          <p:nvSpPr>
            <p:cNvPr id="25" name="Freeform 34"/>
            <p:cNvSpPr>
              <a:spLocks/>
            </p:cNvSpPr>
            <p:nvPr/>
          </p:nvSpPr>
          <p:spPr bwMode="auto">
            <a:xfrm>
              <a:off x="9904162" y="3754485"/>
              <a:ext cx="985558" cy="671322"/>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76178" tIns="38088" rIns="76178" bIns="38088" numCol="1" anchor="t" anchorCtr="0" compatLnSpc="1">
              <a:prstTxWarp prst="textNoShape">
                <a:avLst/>
              </a:prstTxWarp>
            </a:bodyPr>
            <a:lstStyle/>
            <a:p>
              <a:pPr marL="0" marR="0" lvl="0" indent="0" algn="l" defTabSz="76167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0B0F0"/>
                </a:solidFill>
                <a:effectLst/>
                <a:uLnTx/>
                <a:uFillTx/>
                <a:latin typeface="Segoe UI"/>
                <a:ea typeface="+mn-ea"/>
                <a:cs typeface="+mn-cs"/>
              </a:endParaRPr>
            </a:p>
          </p:txBody>
        </p:sp>
        <p:sp>
          <p:nvSpPr>
            <p:cNvPr id="26" name="Freeform 35"/>
            <p:cNvSpPr>
              <a:spLocks/>
            </p:cNvSpPr>
            <p:nvPr/>
          </p:nvSpPr>
          <p:spPr bwMode="auto">
            <a:xfrm>
              <a:off x="9816874" y="3665611"/>
              <a:ext cx="1091891" cy="85065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78" tIns="38088" rIns="76178" bIns="38088" numCol="1" anchor="t" anchorCtr="0" compatLnSpc="1">
              <a:prstTxWarp prst="textNoShape">
                <a:avLst/>
              </a:prstTxWarp>
            </a:bodyPr>
            <a:lstStyle/>
            <a:p>
              <a:pPr marL="0" marR="0" lvl="0" indent="0" algn="l" defTabSz="76167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0B0F0"/>
                </a:solidFill>
                <a:effectLst/>
                <a:uLnTx/>
                <a:uFillTx/>
                <a:latin typeface="Segoe UI"/>
                <a:ea typeface="+mn-ea"/>
                <a:cs typeface="+mn-cs"/>
              </a:endParaRPr>
            </a:p>
          </p:txBody>
        </p:sp>
        <p:sp>
          <p:nvSpPr>
            <p:cNvPr id="27" name="Freeform 36"/>
            <p:cNvSpPr>
              <a:spLocks/>
            </p:cNvSpPr>
            <p:nvPr/>
          </p:nvSpPr>
          <p:spPr bwMode="auto">
            <a:xfrm>
              <a:off x="9904162" y="3754485"/>
              <a:ext cx="901445" cy="671322"/>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78" tIns="38088" rIns="76178" bIns="38088" numCol="1" anchor="t" anchorCtr="0" compatLnSpc="1">
              <a:prstTxWarp prst="textNoShape">
                <a:avLst/>
              </a:prstTxWarp>
            </a:bodyPr>
            <a:lstStyle/>
            <a:p>
              <a:pPr marL="0" marR="0" lvl="0" indent="0" algn="l" defTabSz="76167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0B0F0"/>
                </a:solidFill>
                <a:effectLst/>
                <a:uLnTx/>
                <a:uFillTx/>
                <a:latin typeface="Segoe UI"/>
                <a:ea typeface="+mn-ea"/>
                <a:cs typeface="+mn-cs"/>
              </a:endParaRPr>
            </a:p>
          </p:txBody>
        </p:sp>
        <p:sp>
          <p:nvSpPr>
            <p:cNvPr id="28" name="Rectangle 37"/>
            <p:cNvSpPr>
              <a:spLocks noChangeArrowheads="1"/>
            </p:cNvSpPr>
            <p:nvPr/>
          </p:nvSpPr>
          <p:spPr bwMode="auto">
            <a:xfrm>
              <a:off x="10016842" y="4668626"/>
              <a:ext cx="760197" cy="69830"/>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178" tIns="38088" rIns="76178" bIns="38088" numCol="1" anchor="t" anchorCtr="0" compatLnSpc="1">
              <a:prstTxWarp prst="textNoShape">
                <a:avLst/>
              </a:prstTxWarp>
            </a:bodyPr>
            <a:lstStyle/>
            <a:p>
              <a:pPr marL="0" marR="0" lvl="0" indent="0" algn="l" defTabSz="76167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0B0F0"/>
                </a:solidFill>
                <a:effectLst/>
                <a:uLnTx/>
                <a:uFillTx/>
                <a:latin typeface="Segoe UI"/>
                <a:ea typeface="+mn-ea"/>
                <a:cs typeface="+mn-cs"/>
              </a:endParaRPr>
            </a:p>
          </p:txBody>
        </p:sp>
        <p:sp>
          <p:nvSpPr>
            <p:cNvPr id="29" name="Oval 38"/>
            <p:cNvSpPr>
              <a:spLocks noChangeArrowheads="1"/>
            </p:cNvSpPr>
            <p:nvPr/>
          </p:nvSpPr>
          <p:spPr bwMode="auto">
            <a:xfrm>
              <a:off x="10377103" y="3697352"/>
              <a:ext cx="31741" cy="33328"/>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78" tIns="38088" rIns="76178" bIns="38088" numCol="1" anchor="t" anchorCtr="0" compatLnSpc="1">
              <a:prstTxWarp prst="textNoShape">
                <a:avLst/>
              </a:prstTxWarp>
            </a:bodyPr>
            <a:lstStyle/>
            <a:p>
              <a:pPr marL="0" marR="0" lvl="0" indent="0" algn="l" defTabSz="76167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0B0F0"/>
                </a:solidFill>
                <a:effectLst/>
                <a:uLnTx/>
                <a:uFillTx/>
                <a:latin typeface="Segoe UI"/>
                <a:ea typeface="+mn-ea"/>
                <a:cs typeface="+mn-cs"/>
              </a:endParaRPr>
            </a:p>
          </p:txBody>
        </p:sp>
        <p:sp>
          <p:nvSpPr>
            <p:cNvPr id="32" name="Freeform 39"/>
            <p:cNvSpPr>
              <a:spLocks/>
            </p:cNvSpPr>
            <p:nvPr/>
          </p:nvSpPr>
          <p:spPr bwMode="auto">
            <a:xfrm>
              <a:off x="10186657" y="3832251"/>
              <a:ext cx="418981" cy="245993"/>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78" tIns="38088" rIns="76178" bIns="38088" numCol="1" anchor="t" anchorCtr="0" compatLnSpc="1">
              <a:prstTxWarp prst="textNoShape">
                <a:avLst/>
              </a:prstTxWarp>
            </a:bodyPr>
            <a:lstStyle/>
            <a:p>
              <a:pPr marL="0" marR="0" lvl="0" indent="0" algn="l" defTabSz="76167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0B0F0"/>
                </a:solidFill>
                <a:effectLst/>
                <a:uLnTx/>
                <a:uFillTx/>
                <a:latin typeface="Segoe UI"/>
                <a:ea typeface="+mn-ea"/>
                <a:cs typeface="+mn-cs"/>
              </a:endParaRPr>
            </a:p>
          </p:txBody>
        </p:sp>
        <p:sp>
          <p:nvSpPr>
            <p:cNvPr id="40" name="Freeform 40"/>
            <p:cNvSpPr>
              <a:spLocks/>
            </p:cNvSpPr>
            <p:nvPr/>
          </p:nvSpPr>
          <p:spPr bwMode="auto">
            <a:xfrm>
              <a:off x="10158090" y="3998891"/>
              <a:ext cx="215839" cy="368196"/>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78" tIns="38088" rIns="76178" bIns="38088" numCol="1" anchor="t" anchorCtr="0" compatLnSpc="1">
              <a:prstTxWarp prst="textNoShape">
                <a:avLst/>
              </a:prstTxWarp>
            </a:bodyPr>
            <a:lstStyle/>
            <a:p>
              <a:pPr marL="0" marR="0" lvl="0" indent="0" algn="l" defTabSz="76167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0B0F0"/>
                </a:solidFill>
                <a:effectLst/>
                <a:uLnTx/>
                <a:uFillTx/>
                <a:latin typeface="Segoe UI"/>
                <a:ea typeface="+mn-ea"/>
                <a:cs typeface="+mn-cs"/>
              </a:endParaRPr>
            </a:p>
          </p:txBody>
        </p:sp>
        <p:sp>
          <p:nvSpPr>
            <p:cNvPr id="41" name="Freeform 41"/>
            <p:cNvSpPr>
              <a:spLocks/>
            </p:cNvSpPr>
            <p:nvPr/>
          </p:nvSpPr>
          <p:spPr bwMode="auto">
            <a:xfrm>
              <a:off x="10419953" y="4000478"/>
              <a:ext cx="215839" cy="366609"/>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78" tIns="38088" rIns="76178" bIns="38088" numCol="1" anchor="t" anchorCtr="0" compatLnSpc="1">
              <a:prstTxWarp prst="textNoShape">
                <a:avLst/>
              </a:prstTxWarp>
            </a:bodyPr>
            <a:lstStyle/>
            <a:p>
              <a:pPr marL="0" marR="0" lvl="0" indent="0" algn="l" defTabSz="76167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0B0F0"/>
                </a:solidFill>
                <a:effectLst/>
                <a:uLnTx/>
                <a:uFillTx/>
                <a:latin typeface="Segoe UI"/>
                <a:ea typeface="+mn-ea"/>
                <a:cs typeface="+mn-cs"/>
              </a:endParaRPr>
            </a:p>
          </p:txBody>
        </p:sp>
      </p:grpSp>
      <p:sp>
        <p:nvSpPr>
          <p:cNvPr id="43" name="Rectangle 42"/>
          <p:cNvSpPr/>
          <p:nvPr/>
        </p:nvSpPr>
        <p:spPr>
          <a:xfrm>
            <a:off x="811400" y="1739833"/>
            <a:ext cx="6047334" cy="7556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777149"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rPr>
              <a:t>Clusters of Servers</a:t>
            </a:r>
          </a:p>
        </p:txBody>
      </p:sp>
      <p:sp>
        <p:nvSpPr>
          <p:cNvPr id="44" name="Rectangle 43"/>
          <p:cNvSpPr/>
          <p:nvPr/>
        </p:nvSpPr>
        <p:spPr>
          <a:xfrm>
            <a:off x="7740293" y="1739833"/>
            <a:ext cx="4543451" cy="7556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777149"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err="1">
                <a:ln>
                  <a:noFill/>
                </a:ln>
                <a:solidFill>
                  <a:prstClr val="black"/>
                </a:solidFill>
                <a:effectLst/>
                <a:uLnTx/>
                <a:uFillTx/>
                <a:latin typeface="Segoe UI"/>
                <a:ea typeface="+mn-ea"/>
                <a:cs typeface="Segoe UI Light" panose="020B0502040204020203" pitchFamily="34" charset="0"/>
              </a:rPr>
              <a:t>Serverless</a:t>
            </a:r>
            <a:endParaRPr kumimoji="0" lang="en-US" sz="32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endParaRPr>
          </a:p>
        </p:txBody>
      </p:sp>
      <p:grpSp>
        <p:nvGrpSpPr>
          <p:cNvPr id="42" name="Group 41"/>
          <p:cNvGrpSpPr/>
          <p:nvPr/>
        </p:nvGrpSpPr>
        <p:grpSpPr>
          <a:xfrm>
            <a:off x="9696554" y="2635644"/>
            <a:ext cx="887395" cy="1177757"/>
            <a:chOff x="2294644" y="680860"/>
            <a:chExt cx="3596824" cy="4773730"/>
          </a:xfrm>
        </p:grpSpPr>
        <p:sp>
          <p:nvSpPr>
            <p:cNvPr id="46" name="Freeform 83"/>
            <p:cNvSpPr/>
            <p:nvPr/>
          </p:nvSpPr>
          <p:spPr>
            <a:xfrm>
              <a:off x="2294644" y="1330208"/>
              <a:ext cx="3596824" cy="4115394"/>
            </a:xfrm>
            <a:custGeom>
              <a:avLst/>
              <a:gdLst>
                <a:gd name="connsiteX0" fmla="*/ 0 w 3596824"/>
                <a:gd name="connsiteY0" fmla="*/ 0 h 4115394"/>
                <a:gd name="connsiteX1" fmla="*/ 3596823 w 3596824"/>
                <a:gd name="connsiteY1" fmla="*/ 0 h 4115394"/>
                <a:gd name="connsiteX2" fmla="*/ 3596823 w 3596824"/>
                <a:gd name="connsiteY2" fmla="*/ 3465793 h 4115394"/>
                <a:gd name="connsiteX3" fmla="*/ 3596824 w 3596824"/>
                <a:gd name="connsiteY3" fmla="*/ 3465800 h 4115394"/>
                <a:gd name="connsiteX4" fmla="*/ 3596823 w 3596824"/>
                <a:gd name="connsiteY4" fmla="*/ 3465808 h 4115394"/>
                <a:gd name="connsiteX5" fmla="*/ 3596823 w 3596824"/>
                <a:gd name="connsiteY5" fmla="*/ 3473042 h 4115394"/>
                <a:gd name="connsiteX6" fmla="*/ 3595812 w 3596824"/>
                <a:gd name="connsiteY6" fmla="*/ 3473042 h 4115394"/>
                <a:gd name="connsiteX7" fmla="*/ 3587539 w 3596824"/>
                <a:gd name="connsiteY7" fmla="*/ 3532217 h 4115394"/>
                <a:gd name="connsiteX8" fmla="*/ 1798412 w 3596824"/>
                <a:gd name="connsiteY8" fmla="*/ 4115394 h 4115394"/>
                <a:gd name="connsiteX9" fmla="*/ 9285 w 3596824"/>
                <a:gd name="connsiteY9" fmla="*/ 3532217 h 4115394"/>
                <a:gd name="connsiteX10" fmla="*/ 1013 w 3596824"/>
                <a:gd name="connsiteY10" fmla="*/ 3473042 h 4115394"/>
                <a:gd name="connsiteX11" fmla="*/ 0 w 3596824"/>
                <a:gd name="connsiteY11" fmla="*/ 3473042 h 4115394"/>
                <a:gd name="connsiteX12" fmla="*/ 0 w 3596824"/>
                <a:gd name="connsiteY12" fmla="*/ 3465800 h 4115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6824" h="4115394">
                  <a:moveTo>
                    <a:pt x="0" y="0"/>
                  </a:moveTo>
                  <a:lnTo>
                    <a:pt x="3596823" y="0"/>
                  </a:lnTo>
                  <a:lnTo>
                    <a:pt x="3596823" y="3465793"/>
                  </a:lnTo>
                  <a:lnTo>
                    <a:pt x="3596824" y="3465800"/>
                  </a:lnTo>
                  <a:lnTo>
                    <a:pt x="3596823" y="3465808"/>
                  </a:lnTo>
                  <a:lnTo>
                    <a:pt x="3596823" y="3473042"/>
                  </a:lnTo>
                  <a:lnTo>
                    <a:pt x="3595812" y="3473042"/>
                  </a:lnTo>
                  <a:lnTo>
                    <a:pt x="3587539" y="3532217"/>
                  </a:lnTo>
                  <a:cubicBezTo>
                    <a:pt x="3495443" y="3859779"/>
                    <a:pt x="2729571" y="4115394"/>
                    <a:pt x="1798412" y="4115394"/>
                  </a:cubicBezTo>
                  <a:cubicBezTo>
                    <a:pt x="867253" y="4115394"/>
                    <a:pt x="101382" y="3859779"/>
                    <a:pt x="9285" y="3532217"/>
                  </a:cubicBezTo>
                  <a:lnTo>
                    <a:pt x="1013" y="3473042"/>
                  </a:lnTo>
                  <a:lnTo>
                    <a:pt x="0" y="3473042"/>
                  </a:lnTo>
                  <a:lnTo>
                    <a:pt x="0" y="3465800"/>
                  </a:lnTo>
                  <a:close/>
                </a:path>
              </a:pathLst>
            </a:custGeom>
            <a:solidFill>
              <a:srgbClr val="A59B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7" name="Freeform 84"/>
            <p:cNvSpPr/>
            <p:nvPr/>
          </p:nvSpPr>
          <p:spPr>
            <a:xfrm>
              <a:off x="2294644" y="1319318"/>
              <a:ext cx="1798413" cy="4115394"/>
            </a:xfrm>
            <a:custGeom>
              <a:avLst/>
              <a:gdLst>
                <a:gd name="connsiteX0" fmla="*/ 0 w 1798413"/>
                <a:gd name="connsiteY0" fmla="*/ 0 h 4115394"/>
                <a:gd name="connsiteX1" fmla="*/ 1798413 w 1798413"/>
                <a:gd name="connsiteY1" fmla="*/ 0 h 4115394"/>
                <a:gd name="connsiteX2" fmla="*/ 1798413 w 1798413"/>
                <a:gd name="connsiteY2" fmla="*/ 4115394 h 4115394"/>
                <a:gd name="connsiteX3" fmla="*/ 1798412 w 1798413"/>
                <a:gd name="connsiteY3" fmla="*/ 4115394 h 4115394"/>
                <a:gd name="connsiteX4" fmla="*/ 9285 w 1798413"/>
                <a:gd name="connsiteY4" fmla="*/ 3532217 h 4115394"/>
                <a:gd name="connsiteX5" fmla="*/ 1013 w 1798413"/>
                <a:gd name="connsiteY5" fmla="*/ 3473042 h 4115394"/>
                <a:gd name="connsiteX6" fmla="*/ 0 w 1798413"/>
                <a:gd name="connsiteY6" fmla="*/ 3473042 h 4115394"/>
                <a:gd name="connsiteX7" fmla="*/ 0 w 1798413"/>
                <a:gd name="connsiteY7" fmla="*/ 3465800 h 4115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8413" h="4115394">
                  <a:moveTo>
                    <a:pt x="0" y="0"/>
                  </a:moveTo>
                  <a:lnTo>
                    <a:pt x="1798413" y="0"/>
                  </a:lnTo>
                  <a:lnTo>
                    <a:pt x="1798413" y="4115394"/>
                  </a:lnTo>
                  <a:lnTo>
                    <a:pt x="1798412" y="4115394"/>
                  </a:lnTo>
                  <a:cubicBezTo>
                    <a:pt x="867253" y="4115394"/>
                    <a:pt x="101382" y="3859779"/>
                    <a:pt x="9285" y="3532217"/>
                  </a:cubicBezTo>
                  <a:lnTo>
                    <a:pt x="1013" y="3473042"/>
                  </a:lnTo>
                  <a:lnTo>
                    <a:pt x="0" y="3473042"/>
                  </a:lnTo>
                  <a:lnTo>
                    <a:pt x="0" y="3465800"/>
                  </a:lnTo>
                  <a:close/>
                </a:path>
              </a:pathLst>
            </a:custGeom>
            <a:solidFill>
              <a:srgbClr val="4741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 name="Oval 47"/>
            <p:cNvSpPr/>
            <p:nvPr/>
          </p:nvSpPr>
          <p:spPr>
            <a:xfrm>
              <a:off x="2294645" y="680860"/>
              <a:ext cx="3596823" cy="1299187"/>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9" name="Oval 48"/>
            <p:cNvSpPr/>
            <p:nvPr/>
          </p:nvSpPr>
          <p:spPr>
            <a:xfrm>
              <a:off x="2666927" y="898175"/>
              <a:ext cx="2852258" cy="864066"/>
            </a:xfrm>
            <a:prstGeom prst="ellipse">
              <a:avLst/>
            </a:prstGeom>
            <a:solidFill>
              <a:srgbClr val="B5CD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0" name="Freeform 87"/>
            <p:cNvSpPr/>
            <p:nvPr/>
          </p:nvSpPr>
          <p:spPr>
            <a:xfrm>
              <a:off x="2920902" y="1388931"/>
              <a:ext cx="2344306" cy="373310"/>
            </a:xfrm>
            <a:custGeom>
              <a:avLst/>
              <a:gdLst>
                <a:gd name="connsiteX0" fmla="*/ 1172153 w 2344306"/>
                <a:gd name="connsiteY0" fmla="*/ 0 h 373310"/>
                <a:gd name="connsiteX1" fmla="*/ 2180579 w 2344306"/>
                <a:gd name="connsiteY1" fmla="*/ 126540 h 373310"/>
                <a:gd name="connsiteX2" fmla="*/ 2344306 w 2344306"/>
                <a:gd name="connsiteY2" fmla="*/ 186655 h 373310"/>
                <a:gd name="connsiteX3" fmla="*/ 2180579 w 2344306"/>
                <a:gd name="connsiteY3" fmla="*/ 246770 h 373310"/>
                <a:gd name="connsiteX4" fmla="*/ 1172153 w 2344306"/>
                <a:gd name="connsiteY4" fmla="*/ 373310 h 373310"/>
                <a:gd name="connsiteX5" fmla="*/ 163728 w 2344306"/>
                <a:gd name="connsiteY5" fmla="*/ 246770 h 373310"/>
                <a:gd name="connsiteX6" fmla="*/ 0 w 2344306"/>
                <a:gd name="connsiteY6" fmla="*/ 186655 h 373310"/>
                <a:gd name="connsiteX7" fmla="*/ 163728 w 2344306"/>
                <a:gd name="connsiteY7" fmla="*/ 126540 h 373310"/>
                <a:gd name="connsiteX8" fmla="*/ 1172153 w 2344306"/>
                <a:gd name="connsiteY8" fmla="*/ 0 h 373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4306" h="373310">
                  <a:moveTo>
                    <a:pt x="1172153" y="0"/>
                  </a:moveTo>
                  <a:cubicBezTo>
                    <a:pt x="1565968" y="0"/>
                    <a:pt x="1922500" y="48357"/>
                    <a:pt x="2180579" y="126540"/>
                  </a:cubicBezTo>
                  <a:lnTo>
                    <a:pt x="2344306" y="186655"/>
                  </a:lnTo>
                  <a:lnTo>
                    <a:pt x="2180579" y="246770"/>
                  </a:lnTo>
                  <a:cubicBezTo>
                    <a:pt x="1922500" y="324953"/>
                    <a:pt x="1565968" y="373310"/>
                    <a:pt x="1172153" y="373310"/>
                  </a:cubicBezTo>
                  <a:cubicBezTo>
                    <a:pt x="778339" y="373310"/>
                    <a:pt x="421806" y="324953"/>
                    <a:pt x="163728" y="246770"/>
                  </a:cubicBezTo>
                  <a:lnTo>
                    <a:pt x="0" y="186655"/>
                  </a:lnTo>
                  <a:lnTo>
                    <a:pt x="163728" y="126540"/>
                  </a:lnTo>
                  <a:cubicBezTo>
                    <a:pt x="421806" y="48357"/>
                    <a:pt x="778339" y="0"/>
                    <a:pt x="1172153" y="0"/>
                  </a:cubicBezTo>
                  <a:close/>
                </a:path>
              </a:pathLst>
            </a:custGeom>
            <a:solidFill>
              <a:srgbClr val="7FB2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1" name="Freeform 88"/>
            <p:cNvSpPr/>
            <p:nvPr/>
          </p:nvSpPr>
          <p:spPr>
            <a:xfrm>
              <a:off x="2294644" y="3274582"/>
              <a:ext cx="3596824" cy="2180008"/>
            </a:xfrm>
            <a:custGeom>
              <a:avLst/>
              <a:gdLst>
                <a:gd name="connsiteX0" fmla="*/ 1167538 w 3596824"/>
                <a:gd name="connsiteY0" fmla="*/ 0 h 2180008"/>
                <a:gd name="connsiteX1" fmla="*/ 1213645 w 3596824"/>
                <a:gd name="connsiteY1" fmla="*/ 78247 h 2180008"/>
                <a:gd name="connsiteX2" fmla="*/ 1798412 w 3596824"/>
                <a:gd name="connsiteY2" fmla="*/ 364647 h 2180008"/>
                <a:gd name="connsiteX3" fmla="*/ 2383179 w 3596824"/>
                <a:gd name="connsiteY3" fmla="*/ 78247 h 2180008"/>
                <a:gd name="connsiteX4" fmla="*/ 2429285 w 3596824"/>
                <a:gd name="connsiteY4" fmla="*/ 1 h 2180008"/>
                <a:gd name="connsiteX5" fmla="*/ 2475392 w 3596824"/>
                <a:gd name="connsiteY5" fmla="*/ 78247 h 2180008"/>
                <a:gd name="connsiteX6" fmla="*/ 3060159 w 3596824"/>
                <a:gd name="connsiteY6" fmla="*/ 364647 h 2180008"/>
                <a:gd name="connsiteX7" fmla="*/ 3558814 w 3596824"/>
                <a:gd name="connsiteY7" fmla="*/ 174385 h 2180008"/>
                <a:gd name="connsiteX8" fmla="*/ 3596823 w 3596824"/>
                <a:gd name="connsiteY8" fmla="*/ 131951 h 2180008"/>
                <a:gd name="connsiteX9" fmla="*/ 3596823 w 3596824"/>
                <a:gd name="connsiteY9" fmla="*/ 1530407 h 2180008"/>
                <a:gd name="connsiteX10" fmla="*/ 3596824 w 3596824"/>
                <a:gd name="connsiteY10" fmla="*/ 1530414 h 2180008"/>
                <a:gd name="connsiteX11" fmla="*/ 3596823 w 3596824"/>
                <a:gd name="connsiteY11" fmla="*/ 1530422 h 2180008"/>
                <a:gd name="connsiteX12" fmla="*/ 3596823 w 3596824"/>
                <a:gd name="connsiteY12" fmla="*/ 1537656 h 2180008"/>
                <a:gd name="connsiteX13" fmla="*/ 3595812 w 3596824"/>
                <a:gd name="connsiteY13" fmla="*/ 1537656 h 2180008"/>
                <a:gd name="connsiteX14" fmla="*/ 3587539 w 3596824"/>
                <a:gd name="connsiteY14" fmla="*/ 1596831 h 2180008"/>
                <a:gd name="connsiteX15" fmla="*/ 1798412 w 3596824"/>
                <a:gd name="connsiteY15" fmla="*/ 2180008 h 2180008"/>
                <a:gd name="connsiteX16" fmla="*/ 9285 w 3596824"/>
                <a:gd name="connsiteY16" fmla="*/ 1596831 h 2180008"/>
                <a:gd name="connsiteX17" fmla="*/ 1013 w 3596824"/>
                <a:gd name="connsiteY17" fmla="*/ 1537656 h 2180008"/>
                <a:gd name="connsiteX18" fmla="*/ 0 w 3596824"/>
                <a:gd name="connsiteY18" fmla="*/ 1537656 h 2180008"/>
                <a:gd name="connsiteX19" fmla="*/ 0 w 3596824"/>
                <a:gd name="connsiteY19" fmla="*/ 1530414 h 2180008"/>
                <a:gd name="connsiteX20" fmla="*/ 0 w 3596824"/>
                <a:gd name="connsiteY20" fmla="*/ 131951 h 2180008"/>
                <a:gd name="connsiteX21" fmla="*/ 38009 w 3596824"/>
                <a:gd name="connsiteY21" fmla="*/ 174385 h 2180008"/>
                <a:gd name="connsiteX22" fmla="*/ 536664 w 3596824"/>
                <a:gd name="connsiteY22" fmla="*/ 364647 h 2180008"/>
                <a:gd name="connsiteX23" fmla="*/ 1121431 w 3596824"/>
                <a:gd name="connsiteY23" fmla="*/ 78247 h 2180008"/>
                <a:gd name="connsiteX24" fmla="*/ 1167538 w 3596824"/>
                <a:gd name="connsiteY24" fmla="*/ 0 h 2180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96824" h="2180008">
                  <a:moveTo>
                    <a:pt x="1167538" y="0"/>
                  </a:moveTo>
                  <a:lnTo>
                    <a:pt x="1213645" y="78247"/>
                  </a:lnTo>
                  <a:cubicBezTo>
                    <a:pt x="1340376" y="251040"/>
                    <a:pt x="1554991" y="364647"/>
                    <a:pt x="1798412" y="364647"/>
                  </a:cubicBezTo>
                  <a:cubicBezTo>
                    <a:pt x="2041833" y="364647"/>
                    <a:pt x="2256449" y="251040"/>
                    <a:pt x="2383179" y="78247"/>
                  </a:cubicBezTo>
                  <a:lnTo>
                    <a:pt x="2429285" y="1"/>
                  </a:lnTo>
                  <a:lnTo>
                    <a:pt x="2475392" y="78247"/>
                  </a:lnTo>
                  <a:cubicBezTo>
                    <a:pt x="2602122" y="251040"/>
                    <a:pt x="2816738" y="364647"/>
                    <a:pt x="3060159" y="364647"/>
                  </a:cubicBezTo>
                  <a:cubicBezTo>
                    <a:pt x="3254896" y="364647"/>
                    <a:pt x="3431197" y="291939"/>
                    <a:pt x="3558814" y="174385"/>
                  </a:cubicBezTo>
                  <a:lnTo>
                    <a:pt x="3596823" y="131951"/>
                  </a:lnTo>
                  <a:lnTo>
                    <a:pt x="3596823" y="1530407"/>
                  </a:lnTo>
                  <a:lnTo>
                    <a:pt x="3596824" y="1530414"/>
                  </a:lnTo>
                  <a:lnTo>
                    <a:pt x="3596823" y="1530422"/>
                  </a:lnTo>
                  <a:lnTo>
                    <a:pt x="3596823" y="1537656"/>
                  </a:lnTo>
                  <a:lnTo>
                    <a:pt x="3595812" y="1537656"/>
                  </a:lnTo>
                  <a:lnTo>
                    <a:pt x="3587539" y="1596831"/>
                  </a:lnTo>
                  <a:cubicBezTo>
                    <a:pt x="3495443" y="1924393"/>
                    <a:pt x="2729571" y="2180008"/>
                    <a:pt x="1798412" y="2180008"/>
                  </a:cubicBezTo>
                  <a:cubicBezTo>
                    <a:pt x="867253" y="2180008"/>
                    <a:pt x="101382" y="1924393"/>
                    <a:pt x="9285" y="1596831"/>
                  </a:cubicBezTo>
                  <a:lnTo>
                    <a:pt x="1013" y="1537656"/>
                  </a:lnTo>
                  <a:lnTo>
                    <a:pt x="0" y="1537656"/>
                  </a:lnTo>
                  <a:lnTo>
                    <a:pt x="0" y="1530414"/>
                  </a:lnTo>
                  <a:lnTo>
                    <a:pt x="0" y="131951"/>
                  </a:lnTo>
                  <a:lnTo>
                    <a:pt x="38009" y="174385"/>
                  </a:lnTo>
                  <a:cubicBezTo>
                    <a:pt x="165626" y="291939"/>
                    <a:pt x="341927" y="364647"/>
                    <a:pt x="536664" y="364647"/>
                  </a:cubicBezTo>
                  <a:cubicBezTo>
                    <a:pt x="780086" y="364647"/>
                    <a:pt x="994701" y="251040"/>
                    <a:pt x="1121431" y="78247"/>
                  </a:cubicBezTo>
                  <a:lnTo>
                    <a:pt x="1167538" y="0"/>
                  </a:lnTo>
                  <a:close/>
                </a:path>
              </a:pathLst>
            </a:custGeom>
            <a:solidFill>
              <a:srgbClr val="73AD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2" name="Freeform 89"/>
            <p:cNvSpPr/>
            <p:nvPr/>
          </p:nvSpPr>
          <p:spPr>
            <a:xfrm>
              <a:off x="2294645" y="3274582"/>
              <a:ext cx="1798413" cy="2171020"/>
            </a:xfrm>
            <a:custGeom>
              <a:avLst/>
              <a:gdLst>
                <a:gd name="connsiteX0" fmla="*/ 1167537 w 1798413"/>
                <a:gd name="connsiteY0" fmla="*/ 0 h 2171020"/>
                <a:gd name="connsiteX1" fmla="*/ 1213644 w 1798413"/>
                <a:gd name="connsiteY1" fmla="*/ 78247 h 2171020"/>
                <a:gd name="connsiteX2" fmla="*/ 1798411 w 1798413"/>
                <a:gd name="connsiteY2" fmla="*/ 364647 h 2171020"/>
                <a:gd name="connsiteX3" fmla="*/ 1798413 w 1798413"/>
                <a:gd name="connsiteY3" fmla="*/ 364647 h 2171020"/>
                <a:gd name="connsiteX4" fmla="*/ 1798413 w 1798413"/>
                <a:gd name="connsiteY4" fmla="*/ 2171020 h 2171020"/>
                <a:gd name="connsiteX5" fmla="*/ 1798412 w 1798413"/>
                <a:gd name="connsiteY5" fmla="*/ 2171020 h 2171020"/>
                <a:gd name="connsiteX6" fmla="*/ 9285 w 1798413"/>
                <a:gd name="connsiteY6" fmla="*/ 1587843 h 2171020"/>
                <a:gd name="connsiteX7" fmla="*/ 1013 w 1798413"/>
                <a:gd name="connsiteY7" fmla="*/ 1528668 h 2171020"/>
                <a:gd name="connsiteX8" fmla="*/ 0 w 1798413"/>
                <a:gd name="connsiteY8" fmla="*/ 1528668 h 2171020"/>
                <a:gd name="connsiteX9" fmla="*/ 0 w 1798413"/>
                <a:gd name="connsiteY9" fmla="*/ 1521426 h 2171020"/>
                <a:gd name="connsiteX10" fmla="*/ 0 w 1798413"/>
                <a:gd name="connsiteY10" fmla="*/ 131952 h 2171020"/>
                <a:gd name="connsiteX11" fmla="*/ 38008 w 1798413"/>
                <a:gd name="connsiteY11" fmla="*/ 174385 h 2171020"/>
                <a:gd name="connsiteX12" fmla="*/ 536663 w 1798413"/>
                <a:gd name="connsiteY12" fmla="*/ 364647 h 2171020"/>
                <a:gd name="connsiteX13" fmla="*/ 1121430 w 1798413"/>
                <a:gd name="connsiteY13" fmla="*/ 78247 h 2171020"/>
                <a:gd name="connsiteX14" fmla="*/ 1167537 w 1798413"/>
                <a:gd name="connsiteY14" fmla="*/ 0 h 2171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98413" h="2171020">
                  <a:moveTo>
                    <a:pt x="1167537" y="0"/>
                  </a:moveTo>
                  <a:lnTo>
                    <a:pt x="1213644" y="78247"/>
                  </a:lnTo>
                  <a:cubicBezTo>
                    <a:pt x="1340375" y="251040"/>
                    <a:pt x="1554990" y="364647"/>
                    <a:pt x="1798411" y="364647"/>
                  </a:cubicBezTo>
                  <a:lnTo>
                    <a:pt x="1798413" y="364647"/>
                  </a:lnTo>
                  <a:lnTo>
                    <a:pt x="1798413" y="2171020"/>
                  </a:lnTo>
                  <a:lnTo>
                    <a:pt x="1798412" y="2171020"/>
                  </a:lnTo>
                  <a:cubicBezTo>
                    <a:pt x="867253" y="2171020"/>
                    <a:pt x="101382" y="1915405"/>
                    <a:pt x="9285" y="1587843"/>
                  </a:cubicBezTo>
                  <a:lnTo>
                    <a:pt x="1013" y="1528668"/>
                  </a:lnTo>
                  <a:lnTo>
                    <a:pt x="0" y="1528668"/>
                  </a:lnTo>
                  <a:lnTo>
                    <a:pt x="0" y="1521426"/>
                  </a:lnTo>
                  <a:lnTo>
                    <a:pt x="0" y="131952"/>
                  </a:lnTo>
                  <a:lnTo>
                    <a:pt x="38008" y="174385"/>
                  </a:lnTo>
                  <a:cubicBezTo>
                    <a:pt x="165625" y="291939"/>
                    <a:pt x="341926" y="364647"/>
                    <a:pt x="536663" y="364647"/>
                  </a:cubicBezTo>
                  <a:cubicBezTo>
                    <a:pt x="780085" y="364647"/>
                    <a:pt x="994700" y="251040"/>
                    <a:pt x="1121430" y="78247"/>
                  </a:cubicBezTo>
                  <a:lnTo>
                    <a:pt x="1167537" y="0"/>
                  </a:lnTo>
                  <a:close/>
                </a:path>
              </a:pathLst>
            </a:custGeom>
            <a:solidFill>
              <a:srgbClr val="5A91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207359778"/>
      </p:ext>
    </p:extLst>
  </p:cSld>
  <p:clrMapOvr>
    <a:masterClrMapping/>
  </p:clrMapOvr>
  <mc:AlternateContent xmlns:mc="http://schemas.openxmlformats.org/markup-compatibility/2006" xmlns:p14="http://schemas.microsoft.com/office/powerpoint/2010/main">
    <mc:Choice Requires="p14">
      <p:transition p14:dur="0" advTm="5000"/>
    </mc:Choice>
    <mc:Fallback xmlns="">
      <p:transition advTm="500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Rectangle 1"/>
          <p:cNvSpPr/>
          <p:nvPr/>
        </p:nvSpPr>
        <p:spPr>
          <a:xfrm>
            <a:off x="882" y="123053"/>
            <a:ext cx="12434711" cy="8401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3200" kern="0" dirty="0">
                <a:solidFill>
                  <a:schemeClr val="tx1"/>
                </a:solidFill>
                <a:latin typeface="+mj-lt"/>
              </a:rPr>
              <a:t>Cloud Data Warehouse Solution</a:t>
            </a:r>
          </a:p>
        </p:txBody>
      </p:sp>
      <p:sp>
        <p:nvSpPr>
          <p:cNvPr id="62" name="Rectangle 61">
            <a:extLst>
              <a:ext uri="{FF2B5EF4-FFF2-40B4-BE49-F238E27FC236}">
                <a16:creationId xmlns:a16="http://schemas.microsoft.com/office/drawing/2014/main" id="{51445ABD-3792-40B6-82C6-73D2231B1A20}"/>
              </a:ext>
            </a:extLst>
          </p:cNvPr>
          <p:cNvSpPr/>
          <p:nvPr/>
        </p:nvSpPr>
        <p:spPr bwMode="auto">
          <a:xfrm>
            <a:off x="1737139" y="1524254"/>
            <a:ext cx="8329697" cy="4348851"/>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solidFill>
                <a:schemeClr val="tx1"/>
              </a:solidFill>
              <a:latin typeface="Segoe UI Semilight"/>
              <a:ea typeface="Segoe UI" pitchFamily="34" charset="0"/>
              <a:cs typeface="Segoe UI" pitchFamily="34" charset="0"/>
            </a:endParaRPr>
          </a:p>
        </p:txBody>
      </p:sp>
      <p:sp>
        <p:nvSpPr>
          <p:cNvPr id="63" name="Rectangle 62">
            <a:extLst>
              <a:ext uri="{FF2B5EF4-FFF2-40B4-BE49-F238E27FC236}">
                <a16:creationId xmlns:a16="http://schemas.microsoft.com/office/drawing/2014/main" id="{65B31190-87E2-4ECD-8798-D28C553FE5C2}"/>
              </a:ext>
            </a:extLst>
          </p:cNvPr>
          <p:cNvSpPr/>
          <p:nvPr/>
        </p:nvSpPr>
        <p:spPr bwMode="auto">
          <a:xfrm>
            <a:off x="8097952" y="1746545"/>
            <a:ext cx="2093380" cy="340392"/>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3260" tIns="46630" rIns="93260" bIns="46630" numCol="1" spcCol="1270" anchor="t" anchorCtr="0">
            <a:spAutoFit/>
          </a:bodyPr>
          <a:lstStyle/>
          <a:p>
            <a:pPr algn="ctr" defTabSz="724734">
              <a:spcBef>
                <a:spcPct val="0"/>
              </a:spcBef>
              <a:spcAft>
                <a:spcPct val="35000"/>
              </a:spcAft>
              <a:defRPr/>
            </a:pPr>
            <a:r>
              <a:rPr lang="en-US" sz="1600" kern="0" dirty="0">
                <a:solidFill>
                  <a:schemeClr val="tx1"/>
                </a:solidFill>
                <a:latin typeface="Segoe UI Semibold" panose="020B0702040204020203" pitchFamily="34" charset="0"/>
                <a:cs typeface="Segoe UI Semibold" panose="020B0702040204020203" pitchFamily="34" charset="0"/>
              </a:rPr>
              <a:t>Model &amp; Serve</a:t>
            </a:r>
          </a:p>
        </p:txBody>
      </p:sp>
      <p:sp>
        <p:nvSpPr>
          <p:cNvPr id="64" name="Rectangle 63">
            <a:extLst>
              <a:ext uri="{FF2B5EF4-FFF2-40B4-BE49-F238E27FC236}">
                <a16:creationId xmlns:a16="http://schemas.microsoft.com/office/drawing/2014/main" id="{87988856-DADD-4AB8-923D-D51D0A19492F}"/>
              </a:ext>
            </a:extLst>
          </p:cNvPr>
          <p:cNvSpPr/>
          <p:nvPr/>
        </p:nvSpPr>
        <p:spPr bwMode="auto">
          <a:xfrm>
            <a:off x="6303420" y="1731036"/>
            <a:ext cx="1404875" cy="340392"/>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3260" tIns="46630" rIns="93260" bIns="46630" numCol="1" spcCol="1270" anchor="t" anchorCtr="0">
            <a:spAutoFit/>
          </a:bodyPr>
          <a:lstStyle/>
          <a:p>
            <a:pPr algn="ctr" defTabSz="724734">
              <a:spcBef>
                <a:spcPct val="0"/>
              </a:spcBef>
              <a:spcAft>
                <a:spcPct val="35000"/>
              </a:spcAft>
              <a:defRPr/>
            </a:pPr>
            <a:r>
              <a:rPr lang="en-US" sz="1600" kern="0" dirty="0">
                <a:solidFill>
                  <a:schemeClr val="tx1"/>
                </a:solidFill>
                <a:latin typeface="Segoe UI Semibold" panose="020B0702040204020203" pitchFamily="34" charset="0"/>
                <a:cs typeface="Segoe UI Semibold" panose="020B0702040204020203" pitchFamily="34" charset="0"/>
              </a:rPr>
              <a:t>Prep &amp; Train</a:t>
            </a:r>
          </a:p>
        </p:txBody>
      </p:sp>
      <p:sp>
        <p:nvSpPr>
          <p:cNvPr id="65" name="Rectangle 64">
            <a:extLst>
              <a:ext uri="{FF2B5EF4-FFF2-40B4-BE49-F238E27FC236}">
                <a16:creationId xmlns:a16="http://schemas.microsoft.com/office/drawing/2014/main" id="{FE794945-438C-47D2-AAC8-AA7BE1073628}"/>
              </a:ext>
            </a:extLst>
          </p:cNvPr>
          <p:cNvSpPr/>
          <p:nvPr/>
        </p:nvSpPr>
        <p:spPr>
          <a:xfrm>
            <a:off x="6694984" y="3204963"/>
            <a:ext cx="1400334" cy="1384995"/>
          </a:xfrm>
          <a:prstGeom prst="rect">
            <a:avLst/>
          </a:prstGeom>
        </p:spPr>
        <p:txBody>
          <a:bodyPr wrap="square">
            <a:spAutoFit/>
          </a:bodyPr>
          <a:lstStyle/>
          <a:p>
            <a:pPr defTabSz="932384">
              <a:defRPr/>
            </a:pPr>
            <a:r>
              <a:rPr lang="en-US" sz="1200" kern="0" dirty="0">
                <a:latin typeface="Segoe UI Semibold" panose="020B0702040204020203" pitchFamily="34" charset="0"/>
                <a:ea typeface="MS PGothic" panose="020B0600070205080204" pitchFamily="34" charset="-128"/>
                <a:cs typeface="Segoe UI Semibold" panose="020B0702040204020203" pitchFamily="34" charset="0"/>
              </a:rPr>
              <a:t>Data Lake Analytics</a:t>
            </a:r>
          </a:p>
          <a:p>
            <a:pPr defTabSz="932384">
              <a:defRPr/>
            </a:pPr>
            <a:endParaRPr lang="en-US" sz="1200" kern="0" dirty="0">
              <a:latin typeface="Segoe UI Semibold" panose="020B0702040204020203" pitchFamily="34" charset="0"/>
              <a:ea typeface="MS PGothic" panose="020B0600070205080204" pitchFamily="34" charset="-128"/>
              <a:cs typeface="Segoe UI Semibold" panose="020B0702040204020203" pitchFamily="34" charset="0"/>
            </a:endParaRPr>
          </a:p>
          <a:p>
            <a:pPr defTabSz="932384">
              <a:defRPr/>
            </a:pPr>
            <a:endParaRPr lang="en-US" sz="1200" kern="0" dirty="0">
              <a:latin typeface="Segoe UI Semibold" panose="020B0702040204020203" pitchFamily="34" charset="0"/>
              <a:ea typeface="MS PGothic" panose="020B0600070205080204" pitchFamily="34" charset="-128"/>
              <a:cs typeface="Segoe UI Semibold" panose="020B0702040204020203" pitchFamily="34" charset="0"/>
            </a:endParaRPr>
          </a:p>
          <a:p>
            <a:pPr defTabSz="932384">
              <a:defRPr/>
            </a:pPr>
            <a:r>
              <a:rPr lang="en-US" sz="1200" kern="0" dirty="0">
                <a:latin typeface="Segoe UI Semibold" panose="020B0702040204020203" pitchFamily="34" charset="0"/>
                <a:ea typeface="MS PGothic" panose="020B0600070205080204" pitchFamily="34" charset="-128"/>
                <a:cs typeface="Segoe UI Semibold" panose="020B0702040204020203" pitchFamily="34" charset="0"/>
              </a:rPr>
              <a:t>HDInsight / Spark</a:t>
            </a:r>
          </a:p>
          <a:p>
            <a:pPr defTabSz="932384">
              <a:defRPr/>
            </a:pPr>
            <a:endParaRPr lang="en-US" sz="1200" kern="0" dirty="0">
              <a:latin typeface="Segoe UI Semibold" panose="020B0702040204020203" pitchFamily="34" charset="0"/>
              <a:ea typeface="MS PGothic" panose="020B0600070205080204" pitchFamily="34" charset="-128"/>
              <a:cs typeface="Segoe UI Semibold" panose="020B0702040204020203" pitchFamily="34" charset="0"/>
            </a:endParaRPr>
          </a:p>
        </p:txBody>
      </p:sp>
      <p:sp>
        <p:nvSpPr>
          <p:cNvPr id="66" name="Rectangle 65">
            <a:extLst>
              <a:ext uri="{FF2B5EF4-FFF2-40B4-BE49-F238E27FC236}">
                <a16:creationId xmlns:a16="http://schemas.microsoft.com/office/drawing/2014/main" id="{7AA006ED-8728-4B3B-8A17-7896C3789A6B}"/>
              </a:ext>
            </a:extLst>
          </p:cNvPr>
          <p:cNvSpPr/>
          <p:nvPr/>
        </p:nvSpPr>
        <p:spPr>
          <a:xfrm>
            <a:off x="709852" y="6068952"/>
            <a:ext cx="837730" cy="400110"/>
          </a:xfrm>
          <a:prstGeom prst="rect">
            <a:avLst/>
          </a:prstGeom>
          <a:ln>
            <a:noFill/>
          </a:ln>
        </p:spPr>
        <p:txBody>
          <a:bodyPr wrap="none">
            <a:spAutoFit/>
          </a:bodyPr>
          <a:lstStyle/>
          <a:p>
            <a:pPr algn="ctr" defTabSz="724734">
              <a:spcBef>
                <a:spcPct val="0"/>
              </a:spcBef>
              <a:spcAft>
                <a:spcPct val="35000"/>
              </a:spcAft>
              <a:defRPr/>
            </a:pPr>
            <a:r>
              <a:rPr lang="en-US" sz="2000" kern="0" spc="-30" dirty="0">
                <a:latin typeface="Segoe UI Semibold" panose="020B0702040204020203" pitchFamily="34" charset="0"/>
                <a:ea typeface="MS PGothic" panose="020B0600070205080204" pitchFamily="34" charset="-128"/>
                <a:cs typeface="Segoe UI Semibold" panose="020B0702040204020203" pitchFamily="34" charset="0"/>
              </a:rPr>
              <a:t>DATA</a:t>
            </a:r>
          </a:p>
        </p:txBody>
      </p:sp>
      <p:sp>
        <p:nvSpPr>
          <p:cNvPr id="67" name="TextBox 66">
            <a:extLst>
              <a:ext uri="{FF2B5EF4-FFF2-40B4-BE49-F238E27FC236}">
                <a16:creationId xmlns:a16="http://schemas.microsoft.com/office/drawing/2014/main" id="{ED9D63EF-B6B9-45AC-927E-DB589EB2188E}"/>
              </a:ext>
            </a:extLst>
          </p:cNvPr>
          <p:cNvSpPr txBox="1"/>
          <p:nvPr/>
        </p:nvSpPr>
        <p:spPr>
          <a:xfrm>
            <a:off x="790617" y="2207467"/>
            <a:ext cx="788682" cy="430309"/>
          </a:xfrm>
          <a:prstGeom prst="rect">
            <a:avLst/>
          </a:prstGeom>
          <a:noFill/>
        </p:spPr>
        <p:txBody>
          <a:bodyPr wrap="square" lIns="93260" tIns="46630" rIns="93260" bIns="46630" rtlCol="0">
            <a:spAutoFit/>
          </a:bodyPr>
          <a:lstStyle/>
          <a:p>
            <a:pPr defTabSz="951156">
              <a:defRPr/>
            </a:pPr>
            <a:r>
              <a:rPr lang="en-US" sz="1071" kern="0" dirty="0">
                <a:latin typeface="Segoe UI Semibold" panose="020B0702040204020203" pitchFamily="34" charset="0"/>
                <a:cs typeface="Segoe UI Semibold" panose="020B0702040204020203" pitchFamily="34" charset="0"/>
              </a:rPr>
              <a:t>Business </a:t>
            </a:r>
            <a:br>
              <a:rPr lang="en-US" sz="1071" kern="0" dirty="0">
                <a:latin typeface="Segoe UI Semibold" panose="020B0702040204020203" pitchFamily="34" charset="0"/>
                <a:cs typeface="Segoe UI Semibold" panose="020B0702040204020203" pitchFamily="34" charset="0"/>
              </a:rPr>
            </a:br>
            <a:r>
              <a:rPr lang="en-US" sz="1071" kern="0" dirty="0">
                <a:latin typeface="Segoe UI Semibold" panose="020B0702040204020203" pitchFamily="34" charset="0"/>
                <a:cs typeface="Segoe UI Semibold" panose="020B0702040204020203" pitchFamily="34" charset="0"/>
              </a:rPr>
              <a:t>apps</a:t>
            </a:r>
          </a:p>
        </p:txBody>
      </p:sp>
      <p:sp>
        <p:nvSpPr>
          <p:cNvPr id="69" name="TextBox 68">
            <a:extLst>
              <a:ext uri="{FF2B5EF4-FFF2-40B4-BE49-F238E27FC236}">
                <a16:creationId xmlns:a16="http://schemas.microsoft.com/office/drawing/2014/main" id="{37F90566-A92F-4E7A-A07F-BBE95DBF2140}"/>
              </a:ext>
            </a:extLst>
          </p:cNvPr>
          <p:cNvSpPr txBox="1"/>
          <p:nvPr/>
        </p:nvSpPr>
        <p:spPr>
          <a:xfrm>
            <a:off x="786304" y="3720506"/>
            <a:ext cx="788682" cy="430309"/>
          </a:xfrm>
          <a:prstGeom prst="rect">
            <a:avLst/>
          </a:prstGeom>
          <a:noFill/>
        </p:spPr>
        <p:txBody>
          <a:bodyPr wrap="square" lIns="93260" tIns="46630" rIns="93260" bIns="46630" rtlCol="0">
            <a:spAutoFit/>
          </a:bodyPr>
          <a:lstStyle/>
          <a:p>
            <a:pPr defTabSz="951156">
              <a:defRPr/>
            </a:pPr>
            <a:r>
              <a:rPr lang="en-US" sz="1071" kern="0" dirty="0">
                <a:latin typeface="Segoe UI Semibold" panose="020B0702040204020203" pitchFamily="34" charset="0"/>
                <a:cs typeface="Segoe UI Semibold" panose="020B0702040204020203" pitchFamily="34" charset="0"/>
              </a:rPr>
              <a:t>Custom</a:t>
            </a:r>
            <a:br>
              <a:rPr lang="en-US" sz="1071" kern="0" dirty="0">
                <a:latin typeface="Segoe UI Semibold" panose="020B0702040204020203" pitchFamily="34" charset="0"/>
                <a:cs typeface="Segoe UI Semibold" panose="020B0702040204020203" pitchFamily="34" charset="0"/>
              </a:rPr>
            </a:br>
            <a:r>
              <a:rPr lang="en-US" sz="1071" kern="0" dirty="0">
                <a:latin typeface="Segoe UI Semibold" panose="020B0702040204020203" pitchFamily="34" charset="0"/>
                <a:cs typeface="Segoe UI Semibold" panose="020B0702040204020203" pitchFamily="34" charset="0"/>
              </a:rPr>
              <a:t>apps</a:t>
            </a:r>
          </a:p>
        </p:txBody>
      </p:sp>
      <p:sp>
        <p:nvSpPr>
          <p:cNvPr id="70" name="TextBox 69">
            <a:extLst>
              <a:ext uri="{FF2B5EF4-FFF2-40B4-BE49-F238E27FC236}">
                <a16:creationId xmlns:a16="http://schemas.microsoft.com/office/drawing/2014/main" id="{427BF139-CA44-4D19-AEB2-E4ECA70BDE68}"/>
              </a:ext>
            </a:extLst>
          </p:cNvPr>
          <p:cNvSpPr txBox="1"/>
          <p:nvPr/>
        </p:nvSpPr>
        <p:spPr>
          <a:xfrm>
            <a:off x="775899" y="5019728"/>
            <a:ext cx="986677" cy="430309"/>
          </a:xfrm>
          <a:prstGeom prst="rect">
            <a:avLst/>
          </a:prstGeom>
          <a:noFill/>
        </p:spPr>
        <p:txBody>
          <a:bodyPr wrap="square" lIns="93260" tIns="46630" rIns="93260" bIns="46630" rtlCol="0">
            <a:spAutoFit/>
          </a:bodyPr>
          <a:lstStyle/>
          <a:p>
            <a:pPr defTabSz="951156">
              <a:defRPr/>
            </a:pPr>
            <a:r>
              <a:rPr lang="en-US" sz="1071" kern="0" dirty="0">
                <a:latin typeface="Segoe UI Semibold" panose="020B0702040204020203" pitchFamily="34" charset="0"/>
                <a:cs typeface="Segoe UI Semibold" panose="020B0702040204020203" pitchFamily="34" charset="0"/>
              </a:rPr>
              <a:t>Sensors </a:t>
            </a:r>
            <a:br>
              <a:rPr lang="en-US" sz="1071" kern="0" dirty="0">
                <a:latin typeface="Segoe UI Semibold" panose="020B0702040204020203" pitchFamily="34" charset="0"/>
                <a:cs typeface="Segoe UI Semibold" panose="020B0702040204020203" pitchFamily="34" charset="0"/>
              </a:rPr>
            </a:br>
            <a:r>
              <a:rPr lang="en-US" sz="1071" kern="0" dirty="0">
                <a:latin typeface="Segoe UI Semibold" panose="020B0702040204020203" pitchFamily="34" charset="0"/>
                <a:cs typeface="Segoe UI Semibold" panose="020B0702040204020203" pitchFamily="34" charset="0"/>
              </a:rPr>
              <a:t>and devices</a:t>
            </a:r>
          </a:p>
        </p:txBody>
      </p:sp>
      <p:sp>
        <p:nvSpPr>
          <p:cNvPr id="71" name="Rectangle 70">
            <a:extLst>
              <a:ext uri="{FF2B5EF4-FFF2-40B4-BE49-F238E27FC236}">
                <a16:creationId xmlns:a16="http://schemas.microsoft.com/office/drawing/2014/main" id="{2B19E87B-F51C-4459-B34E-87D5F1330C4D}"/>
              </a:ext>
            </a:extLst>
          </p:cNvPr>
          <p:cNvSpPr/>
          <p:nvPr/>
        </p:nvSpPr>
        <p:spPr>
          <a:xfrm>
            <a:off x="5436309" y="6068952"/>
            <a:ext cx="1812036" cy="400110"/>
          </a:xfrm>
          <a:prstGeom prst="rect">
            <a:avLst/>
          </a:prstGeom>
          <a:ln>
            <a:noFill/>
          </a:ln>
        </p:spPr>
        <p:txBody>
          <a:bodyPr wrap="none">
            <a:spAutoFit/>
          </a:bodyPr>
          <a:lstStyle/>
          <a:p>
            <a:pPr algn="ctr" defTabSz="724734">
              <a:spcBef>
                <a:spcPct val="0"/>
              </a:spcBef>
              <a:spcAft>
                <a:spcPct val="35000"/>
              </a:spcAft>
              <a:defRPr/>
            </a:pPr>
            <a:r>
              <a:rPr lang="en-US" sz="2000" kern="0" spc="-30" dirty="0">
                <a:latin typeface="Segoe UI Semibold" panose="020B0702040204020203" pitchFamily="34" charset="0"/>
                <a:ea typeface="MS PGothic" panose="020B0600070205080204" pitchFamily="34" charset="-128"/>
                <a:cs typeface="Segoe UI Semibold" panose="020B0702040204020203" pitchFamily="34" charset="0"/>
              </a:rPr>
              <a:t>INTELLIGENCE</a:t>
            </a:r>
          </a:p>
        </p:txBody>
      </p:sp>
      <p:sp>
        <p:nvSpPr>
          <p:cNvPr id="72" name="Rectangle 71">
            <a:extLst>
              <a:ext uri="{FF2B5EF4-FFF2-40B4-BE49-F238E27FC236}">
                <a16:creationId xmlns:a16="http://schemas.microsoft.com/office/drawing/2014/main" id="{5B44DDCA-FDE2-48EA-98CE-50318FEFE408}"/>
              </a:ext>
            </a:extLst>
          </p:cNvPr>
          <p:cNvSpPr/>
          <p:nvPr/>
        </p:nvSpPr>
        <p:spPr>
          <a:xfrm>
            <a:off x="10483319" y="6068952"/>
            <a:ext cx="1099340" cy="400110"/>
          </a:xfrm>
          <a:prstGeom prst="rect">
            <a:avLst/>
          </a:prstGeom>
          <a:noFill/>
          <a:ln>
            <a:noFill/>
          </a:ln>
        </p:spPr>
        <p:txBody>
          <a:bodyPr wrap="none">
            <a:spAutoFit/>
          </a:bodyPr>
          <a:lstStyle/>
          <a:p>
            <a:pPr algn="ctr" defTabSz="724734">
              <a:spcBef>
                <a:spcPct val="0"/>
              </a:spcBef>
              <a:spcAft>
                <a:spcPct val="35000"/>
              </a:spcAft>
              <a:defRPr/>
            </a:pPr>
            <a:r>
              <a:rPr lang="en-US" sz="2000" kern="0" spc="-30" dirty="0">
                <a:latin typeface="Segoe UI Semibold" panose="020B0702040204020203" pitchFamily="34" charset="0"/>
                <a:ea typeface="MS PGothic" panose="020B0600070205080204" pitchFamily="34" charset="-128"/>
                <a:cs typeface="Segoe UI Semibold" panose="020B0702040204020203" pitchFamily="34" charset="0"/>
              </a:rPr>
              <a:t>ACTION</a:t>
            </a:r>
          </a:p>
        </p:txBody>
      </p:sp>
      <p:sp>
        <p:nvSpPr>
          <p:cNvPr id="73" name="Rectangle 72">
            <a:extLst>
              <a:ext uri="{FF2B5EF4-FFF2-40B4-BE49-F238E27FC236}">
                <a16:creationId xmlns:a16="http://schemas.microsoft.com/office/drawing/2014/main" id="{FCB89F29-5CAE-49FF-B0B5-36451F7D03A9}"/>
              </a:ext>
            </a:extLst>
          </p:cNvPr>
          <p:cNvSpPr/>
          <p:nvPr/>
        </p:nvSpPr>
        <p:spPr bwMode="auto">
          <a:xfrm>
            <a:off x="4343189" y="1731036"/>
            <a:ext cx="1420276" cy="340392"/>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3260" tIns="46630" rIns="93260" bIns="46630" numCol="1" spcCol="1270" anchor="t" anchorCtr="0">
            <a:spAutoFit/>
          </a:bodyPr>
          <a:lstStyle/>
          <a:p>
            <a:pPr algn="ctr" defTabSz="532999">
              <a:spcBef>
                <a:spcPct val="0"/>
              </a:spcBef>
              <a:spcAft>
                <a:spcPct val="35000"/>
              </a:spcAft>
              <a:defRPr/>
            </a:pPr>
            <a:r>
              <a:rPr lang="en-US" sz="1600" kern="0" dirty="0">
                <a:solidFill>
                  <a:schemeClr val="tx1"/>
                </a:solidFill>
                <a:latin typeface="Segoe UI Semibold" panose="020B0702040204020203" pitchFamily="34" charset="0"/>
                <a:cs typeface="Segoe UI Semibold" panose="020B0702040204020203" pitchFamily="34" charset="0"/>
              </a:rPr>
              <a:t>Store</a:t>
            </a:r>
          </a:p>
        </p:txBody>
      </p:sp>
      <p:sp>
        <p:nvSpPr>
          <p:cNvPr id="74" name="Rectangle 73">
            <a:extLst>
              <a:ext uri="{FF2B5EF4-FFF2-40B4-BE49-F238E27FC236}">
                <a16:creationId xmlns:a16="http://schemas.microsoft.com/office/drawing/2014/main" id="{62C9A3D3-F4E5-4906-B7EB-1AF662C22459}"/>
              </a:ext>
            </a:extLst>
          </p:cNvPr>
          <p:cNvSpPr/>
          <p:nvPr/>
        </p:nvSpPr>
        <p:spPr>
          <a:xfrm>
            <a:off x="4767546" y="3200167"/>
            <a:ext cx="1472318" cy="1015663"/>
          </a:xfrm>
          <a:prstGeom prst="rect">
            <a:avLst/>
          </a:prstGeom>
        </p:spPr>
        <p:txBody>
          <a:bodyPr wrap="square">
            <a:spAutoFit/>
          </a:bodyPr>
          <a:lstStyle/>
          <a:p>
            <a:pPr defTabSz="932597">
              <a:defRPr/>
            </a:pPr>
            <a:r>
              <a:rPr lang="en-US" sz="1200" kern="0" dirty="0">
                <a:latin typeface="Segoe UI Semibold" panose="020B0702040204020203" pitchFamily="34" charset="0"/>
                <a:cs typeface="Segoe UI Semibold" panose="020B0702040204020203" pitchFamily="34" charset="0"/>
              </a:rPr>
              <a:t>Data Lake </a:t>
            </a:r>
          </a:p>
          <a:p>
            <a:pPr defTabSz="932597">
              <a:defRPr/>
            </a:pPr>
            <a:r>
              <a:rPr lang="en-US" sz="1200" kern="0" dirty="0">
                <a:latin typeface="Segoe UI Semibold" panose="020B0702040204020203" pitchFamily="34" charset="0"/>
                <a:cs typeface="Segoe UI Semibold" panose="020B0702040204020203" pitchFamily="34" charset="0"/>
              </a:rPr>
              <a:t>Store</a:t>
            </a:r>
          </a:p>
          <a:p>
            <a:pPr defTabSz="932597">
              <a:defRPr/>
            </a:pPr>
            <a:endParaRPr lang="en-US" sz="1200" kern="0" dirty="0">
              <a:latin typeface="Segoe UI Semibold" panose="020B0702040204020203" pitchFamily="34" charset="0"/>
              <a:cs typeface="Segoe UI Semibold" panose="020B0702040204020203" pitchFamily="34" charset="0"/>
            </a:endParaRPr>
          </a:p>
          <a:p>
            <a:pPr defTabSz="932597">
              <a:defRPr/>
            </a:pPr>
            <a:endParaRPr lang="en-US" sz="1200" kern="0" dirty="0">
              <a:latin typeface="Segoe UI Semibold" panose="020B0702040204020203" pitchFamily="34" charset="0"/>
              <a:cs typeface="Segoe UI Semibold" panose="020B0702040204020203" pitchFamily="34" charset="0"/>
            </a:endParaRPr>
          </a:p>
          <a:p>
            <a:pPr defTabSz="932597">
              <a:defRPr/>
            </a:pPr>
            <a:r>
              <a:rPr lang="en-US" sz="1200" kern="0" dirty="0">
                <a:latin typeface="Segoe UI Semibold" panose="020B0702040204020203" pitchFamily="34" charset="0"/>
                <a:cs typeface="Segoe UI Semibold" panose="020B0702040204020203" pitchFamily="34" charset="0"/>
              </a:rPr>
              <a:t>Blobs </a:t>
            </a:r>
          </a:p>
        </p:txBody>
      </p:sp>
      <p:sp>
        <p:nvSpPr>
          <p:cNvPr id="75" name="Rectangle 74">
            <a:extLst>
              <a:ext uri="{FF2B5EF4-FFF2-40B4-BE49-F238E27FC236}">
                <a16:creationId xmlns:a16="http://schemas.microsoft.com/office/drawing/2014/main" id="{CC174417-8565-480E-819A-F0349AD55F6F}"/>
              </a:ext>
            </a:extLst>
          </p:cNvPr>
          <p:cNvSpPr/>
          <p:nvPr/>
        </p:nvSpPr>
        <p:spPr bwMode="auto">
          <a:xfrm>
            <a:off x="2395841" y="1731036"/>
            <a:ext cx="1412261" cy="340392"/>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3260" tIns="46630" rIns="93260" bIns="46630" numCol="1" spcCol="1270" anchor="t" anchorCtr="0">
            <a:spAutoFit/>
          </a:bodyPr>
          <a:lstStyle/>
          <a:p>
            <a:pPr algn="ctr" defTabSz="724734">
              <a:spcBef>
                <a:spcPct val="0"/>
              </a:spcBef>
              <a:spcAft>
                <a:spcPct val="35000"/>
              </a:spcAft>
              <a:defRPr/>
            </a:pPr>
            <a:r>
              <a:rPr lang="en-US" sz="1600" kern="0" dirty="0">
                <a:solidFill>
                  <a:schemeClr val="tx1"/>
                </a:solidFill>
                <a:latin typeface="Segoe UI Semibold" panose="020B0702040204020203" pitchFamily="34" charset="0"/>
                <a:cs typeface="Segoe UI Semibold" panose="020B0702040204020203" pitchFamily="34" charset="0"/>
              </a:rPr>
              <a:t>Ingest</a:t>
            </a:r>
          </a:p>
        </p:txBody>
      </p:sp>
      <p:sp>
        <p:nvSpPr>
          <p:cNvPr id="76" name="Rectangle 75">
            <a:extLst>
              <a:ext uri="{FF2B5EF4-FFF2-40B4-BE49-F238E27FC236}">
                <a16:creationId xmlns:a16="http://schemas.microsoft.com/office/drawing/2014/main" id="{CFAB8E1C-CBB5-421D-8ED7-9ABA8A21B606}"/>
              </a:ext>
            </a:extLst>
          </p:cNvPr>
          <p:cNvSpPr/>
          <p:nvPr/>
        </p:nvSpPr>
        <p:spPr>
          <a:xfrm>
            <a:off x="2733822" y="3608162"/>
            <a:ext cx="1127923" cy="276999"/>
          </a:xfrm>
          <a:prstGeom prst="rect">
            <a:avLst/>
          </a:prstGeom>
        </p:spPr>
        <p:txBody>
          <a:bodyPr wrap="square">
            <a:spAutoFit/>
          </a:bodyPr>
          <a:lstStyle/>
          <a:p>
            <a:pPr defTabSz="932384">
              <a:defRPr/>
            </a:pPr>
            <a:r>
              <a:rPr lang="en-US" sz="1200" kern="0" dirty="0">
                <a:latin typeface="Segoe UI Semibold" panose="020B0702040204020203" pitchFamily="34" charset="0"/>
                <a:ea typeface="MS PGothic" panose="020B0600070205080204" pitchFamily="34" charset="-128"/>
                <a:cs typeface="Segoe UI Semibold" panose="020B0702040204020203" pitchFamily="34" charset="0"/>
              </a:rPr>
              <a:t>Data Factory </a:t>
            </a:r>
          </a:p>
        </p:txBody>
      </p:sp>
      <p:cxnSp>
        <p:nvCxnSpPr>
          <p:cNvPr id="77" name="Straight Arrow Connector 76">
            <a:extLst>
              <a:ext uri="{FF2B5EF4-FFF2-40B4-BE49-F238E27FC236}">
                <a16:creationId xmlns:a16="http://schemas.microsoft.com/office/drawing/2014/main" id="{AE6A1967-CD10-4396-9EA0-7CF639A6079E}"/>
              </a:ext>
            </a:extLst>
          </p:cNvPr>
          <p:cNvCxnSpPr>
            <a:stCxn id="76" idx="3"/>
          </p:cNvCxnSpPr>
          <p:nvPr/>
        </p:nvCxnSpPr>
        <p:spPr>
          <a:xfrm flipV="1">
            <a:off x="3861745" y="3746116"/>
            <a:ext cx="449983" cy="546"/>
          </a:xfrm>
          <a:prstGeom prst="straightConnector1">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3D49AE9C-5EC8-4CC7-AFF8-59768322CA57}"/>
              </a:ext>
            </a:extLst>
          </p:cNvPr>
          <p:cNvCxnSpPr>
            <a:cxnSpLocks/>
          </p:cNvCxnSpPr>
          <p:nvPr/>
        </p:nvCxnSpPr>
        <p:spPr>
          <a:xfrm>
            <a:off x="5591144" y="3746116"/>
            <a:ext cx="347655" cy="545"/>
          </a:xfrm>
          <a:prstGeom prst="straightConnector1">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4A3DBA2F-B424-443F-8AD8-E9DF72718D2B}"/>
              </a:ext>
            </a:extLst>
          </p:cNvPr>
          <p:cNvCxnSpPr>
            <a:cxnSpLocks/>
          </p:cNvCxnSpPr>
          <p:nvPr/>
        </p:nvCxnSpPr>
        <p:spPr>
          <a:xfrm>
            <a:off x="7589707" y="3776741"/>
            <a:ext cx="672506" cy="1069092"/>
          </a:xfrm>
          <a:prstGeom prst="straightConnector1">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EB54A175-6205-4698-9179-F8C1BDFE147B}"/>
              </a:ext>
            </a:extLst>
          </p:cNvPr>
          <p:cNvCxnSpPr>
            <a:cxnSpLocks/>
          </p:cNvCxnSpPr>
          <p:nvPr/>
        </p:nvCxnSpPr>
        <p:spPr>
          <a:xfrm flipV="1">
            <a:off x="7582839" y="2632068"/>
            <a:ext cx="675386" cy="1114048"/>
          </a:xfrm>
          <a:prstGeom prst="straightConnector1">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85" name="Freeform 184">
            <a:extLst>
              <a:ext uri="{FF2B5EF4-FFF2-40B4-BE49-F238E27FC236}">
                <a16:creationId xmlns:a16="http://schemas.microsoft.com/office/drawing/2014/main" id="{CDD81B7B-8DB6-4E83-8FF9-EB9A1F2A8DA1}"/>
              </a:ext>
            </a:extLst>
          </p:cNvPr>
          <p:cNvSpPr/>
          <p:nvPr/>
        </p:nvSpPr>
        <p:spPr bwMode="auto">
          <a:xfrm>
            <a:off x="2395841" y="3488132"/>
            <a:ext cx="385483" cy="384228"/>
          </a:xfrm>
          <a:custGeom>
            <a:avLst/>
            <a:gdLst>
              <a:gd name="connsiteX0" fmla="*/ 3231086 w 4158080"/>
              <a:gd name="connsiteY0" fmla="*/ 3012228 h 4144545"/>
              <a:gd name="connsiteX1" fmla="*/ 3231086 w 4158080"/>
              <a:gd name="connsiteY1" fmla="*/ 3475725 h 4144545"/>
              <a:gd name="connsiteX2" fmla="*/ 3694583 w 4158080"/>
              <a:gd name="connsiteY2" fmla="*/ 3475725 h 4144545"/>
              <a:gd name="connsiteX3" fmla="*/ 3694583 w 4158080"/>
              <a:gd name="connsiteY3" fmla="*/ 3012228 h 4144545"/>
              <a:gd name="connsiteX4" fmla="*/ 2425129 w 4158080"/>
              <a:gd name="connsiteY4" fmla="*/ 3012228 h 4144545"/>
              <a:gd name="connsiteX5" fmla="*/ 2425129 w 4158080"/>
              <a:gd name="connsiteY5" fmla="*/ 3475725 h 4144545"/>
              <a:gd name="connsiteX6" fmla="*/ 2888626 w 4158080"/>
              <a:gd name="connsiteY6" fmla="*/ 3475725 h 4144545"/>
              <a:gd name="connsiteX7" fmla="*/ 2888626 w 4158080"/>
              <a:gd name="connsiteY7" fmla="*/ 3012228 h 4144545"/>
              <a:gd name="connsiteX8" fmla="*/ 1619172 w 4158080"/>
              <a:gd name="connsiteY8" fmla="*/ 3012228 h 4144545"/>
              <a:gd name="connsiteX9" fmla="*/ 1619172 w 4158080"/>
              <a:gd name="connsiteY9" fmla="*/ 3475725 h 4144545"/>
              <a:gd name="connsiteX10" fmla="*/ 2082669 w 4158080"/>
              <a:gd name="connsiteY10" fmla="*/ 3475725 h 4144545"/>
              <a:gd name="connsiteX11" fmla="*/ 2082669 w 4158080"/>
              <a:gd name="connsiteY11" fmla="*/ 3012228 h 4144545"/>
              <a:gd name="connsiteX12" fmla="*/ 1 w 4158080"/>
              <a:gd name="connsiteY12" fmla="*/ 300015 h 4144545"/>
              <a:gd name="connsiteX13" fmla="*/ 1 w 4158080"/>
              <a:gd name="connsiteY13" fmla="*/ 348372 h 4144545"/>
              <a:gd name="connsiteX14" fmla="*/ 1 w 4158080"/>
              <a:gd name="connsiteY14" fmla="*/ 377378 h 4144545"/>
              <a:gd name="connsiteX15" fmla="*/ 0 w 4158080"/>
              <a:gd name="connsiteY15" fmla="*/ 377381 h 4144545"/>
              <a:gd name="connsiteX16" fmla="*/ 1 w 4158080"/>
              <a:gd name="connsiteY16" fmla="*/ 300015 h 4144545"/>
              <a:gd name="connsiteX17" fmla="*/ 925155 w 4158080"/>
              <a:gd name="connsiteY17" fmla="*/ 136141 h 4144545"/>
              <a:gd name="connsiteX18" fmla="*/ 286574 w 4158080"/>
              <a:gd name="connsiteY18" fmla="*/ 323563 h 4144545"/>
              <a:gd name="connsiteX19" fmla="*/ 925155 w 4158080"/>
              <a:gd name="connsiteY19" fmla="*/ 510984 h 4144545"/>
              <a:gd name="connsiteX20" fmla="*/ 1563737 w 4158080"/>
              <a:gd name="connsiteY20" fmla="*/ 323563 h 4144545"/>
              <a:gd name="connsiteX21" fmla="*/ 925155 w 4158080"/>
              <a:gd name="connsiteY21" fmla="*/ 136141 h 4144545"/>
              <a:gd name="connsiteX22" fmla="*/ 925154 w 4158080"/>
              <a:gd name="connsiteY22" fmla="*/ 0 h 4144545"/>
              <a:gd name="connsiteX23" fmla="*/ 1845533 w 4158080"/>
              <a:gd name="connsiteY23" fmla="*/ 338796 h 4144545"/>
              <a:gd name="connsiteX24" fmla="*/ 1848895 w 4158080"/>
              <a:gd name="connsiteY24" fmla="*/ 365965 h 4144545"/>
              <a:gd name="connsiteX25" fmla="*/ 1850308 w 4158080"/>
              <a:gd name="connsiteY25" fmla="*/ 365965 h 4144545"/>
              <a:gd name="connsiteX26" fmla="*/ 1850308 w 4158080"/>
              <a:gd name="connsiteY26" fmla="*/ 377381 h 4144545"/>
              <a:gd name="connsiteX27" fmla="*/ 1850309 w 4158080"/>
              <a:gd name="connsiteY27" fmla="*/ 2420253 h 4144545"/>
              <a:gd name="connsiteX28" fmla="*/ 3004195 w 4158080"/>
              <a:gd name="connsiteY28" fmla="*/ 1412231 h 4144545"/>
              <a:gd name="connsiteX29" fmla="*/ 3004195 w 4158080"/>
              <a:gd name="connsiteY29" fmla="*/ 2420252 h 4144545"/>
              <a:gd name="connsiteX30" fmla="*/ 4158080 w 4158080"/>
              <a:gd name="connsiteY30" fmla="*/ 1412231 h 4144545"/>
              <a:gd name="connsiteX31" fmla="*/ 4158079 w 4158080"/>
              <a:gd name="connsiteY31" fmla="*/ 4144544 h 4144545"/>
              <a:gd name="connsiteX32" fmla="*/ 1 w 4158080"/>
              <a:gd name="connsiteY32" fmla="*/ 4144545 h 4144545"/>
              <a:gd name="connsiteX33" fmla="*/ 1 w 4158080"/>
              <a:gd name="connsiteY33" fmla="*/ 377385 h 4144545"/>
              <a:gd name="connsiteX34" fmla="*/ 1 w 4158080"/>
              <a:gd name="connsiteY34" fmla="*/ 377378 h 4144545"/>
              <a:gd name="connsiteX35" fmla="*/ 4778 w 4158080"/>
              <a:gd name="connsiteY35" fmla="*/ 338796 h 4144545"/>
              <a:gd name="connsiteX36" fmla="*/ 925154 w 4158080"/>
              <a:gd name="connsiteY36" fmla="*/ 0 h 4144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158080" h="4144545">
                <a:moveTo>
                  <a:pt x="3231086" y="3012228"/>
                </a:moveTo>
                <a:lnTo>
                  <a:pt x="3231086" y="3475725"/>
                </a:lnTo>
                <a:lnTo>
                  <a:pt x="3694583" y="3475725"/>
                </a:lnTo>
                <a:lnTo>
                  <a:pt x="3694583" y="3012228"/>
                </a:lnTo>
                <a:close/>
                <a:moveTo>
                  <a:pt x="2425129" y="3012228"/>
                </a:moveTo>
                <a:lnTo>
                  <a:pt x="2425129" y="3475725"/>
                </a:lnTo>
                <a:lnTo>
                  <a:pt x="2888626" y="3475725"/>
                </a:lnTo>
                <a:lnTo>
                  <a:pt x="2888626" y="3012228"/>
                </a:lnTo>
                <a:close/>
                <a:moveTo>
                  <a:pt x="1619172" y="3012228"/>
                </a:moveTo>
                <a:lnTo>
                  <a:pt x="1619172" y="3475725"/>
                </a:lnTo>
                <a:lnTo>
                  <a:pt x="2082669" y="3475725"/>
                </a:lnTo>
                <a:lnTo>
                  <a:pt x="2082669" y="3012228"/>
                </a:lnTo>
                <a:close/>
                <a:moveTo>
                  <a:pt x="1" y="300015"/>
                </a:moveTo>
                <a:lnTo>
                  <a:pt x="1" y="348372"/>
                </a:lnTo>
                <a:lnTo>
                  <a:pt x="1" y="377378"/>
                </a:lnTo>
                <a:cubicBezTo>
                  <a:pt x="1" y="377379"/>
                  <a:pt x="0" y="377380"/>
                  <a:pt x="0" y="377381"/>
                </a:cubicBezTo>
                <a:cubicBezTo>
                  <a:pt x="0" y="377382"/>
                  <a:pt x="0" y="308611"/>
                  <a:pt x="1" y="300015"/>
                </a:cubicBezTo>
                <a:close/>
                <a:moveTo>
                  <a:pt x="925155" y="136141"/>
                </a:moveTo>
                <a:cubicBezTo>
                  <a:pt x="572477" y="136141"/>
                  <a:pt x="286574" y="220052"/>
                  <a:pt x="286574" y="323563"/>
                </a:cubicBezTo>
                <a:cubicBezTo>
                  <a:pt x="286574" y="427073"/>
                  <a:pt x="572477" y="510984"/>
                  <a:pt x="925155" y="510984"/>
                </a:cubicBezTo>
                <a:cubicBezTo>
                  <a:pt x="1277834" y="510984"/>
                  <a:pt x="1563737" y="427073"/>
                  <a:pt x="1563737" y="323563"/>
                </a:cubicBezTo>
                <a:cubicBezTo>
                  <a:pt x="1563737" y="220052"/>
                  <a:pt x="1277834" y="136141"/>
                  <a:pt x="925155" y="136141"/>
                </a:cubicBezTo>
                <a:close/>
                <a:moveTo>
                  <a:pt x="925154" y="0"/>
                </a:moveTo>
                <a:cubicBezTo>
                  <a:pt x="1404168" y="0"/>
                  <a:pt x="1798155" y="148500"/>
                  <a:pt x="1845533" y="338796"/>
                </a:cubicBezTo>
                <a:lnTo>
                  <a:pt x="1848895" y="365965"/>
                </a:lnTo>
                <a:lnTo>
                  <a:pt x="1850308" y="365965"/>
                </a:lnTo>
                <a:lnTo>
                  <a:pt x="1850308" y="377381"/>
                </a:lnTo>
                <a:cubicBezTo>
                  <a:pt x="1850308" y="719762"/>
                  <a:pt x="1850309" y="2051836"/>
                  <a:pt x="1850309" y="2420253"/>
                </a:cubicBezTo>
                <a:lnTo>
                  <a:pt x="3004195" y="1412231"/>
                </a:lnTo>
                <a:lnTo>
                  <a:pt x="3004195" y="2420252"/>
                </a:lnTo>
                <a:lnTo>
                  <a:pt x="4158080" y="1412231"/>
                </a:lnTo>
                <a:cubicBezTo>
                  <a:pt x="4158080" y="2323002"/>
                  <a:pt x="4158079" y="3233773"/>
                  <a:pt x="4158079" y="4144544"/>
                </a:cubicBezTo>
                <a:lnTo>
                  <a:pt x="1" y="4144545"/>
                </a:lnTo>
                <a:lnTo>
                  <a:pt x="1" y="377385"/>
                </a:lnTo>
                <a:lnTo>
                  <a:pt x="1" y="377378"/>
                </a:lnTo>
                <a:lnTo>
                  <a:pt x="4778" y="338796"/>
                </a:lnTo>
                <a:cubicBezTo>
                  <a:pt x="52154" y="148500"/>
                  <a:pt x="446140" y="0"/>
                  <a:pt x="925154" y="0"/>
                </a:cubicBezTo>
                <a:close/>
              </a:path>
            </a:pathLst>
          </a:cu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dirty="0">
              <a:solidFill>
                <a:schemeClr val="tx1"/>
              </a:solidFill>
              <a:latin typeface="Segoe UI Light"/>
              <a:ea typeface="Segoe UI" pitchFamily="34" charset="0"/>
              <a:cs typeface="Segoe UI" pitchFamily="34" charset="0"/>
            </a:endParaRPr>
          </a:p>
        </p:txBody>
      </p:sp>
      <p:grpSp>
        <p:nvGrpSpPr>
          <p:cNvPr id="88" name="Group 87">
            <a:extLst>
              <a:ext uri="{FF2B5EF4-FFF2-40B4-BE49-F238E27FC236}">
                <a16:creationId xmlns:a16="http://schemas.microsoft.com/office/drawing/2014/main" id="{EEDBCB8C-3A6D-40A6-8334-497F3B777ACE}"/>
              </a:ext>
            </a:extLst>
          </p:cNvPr>
          <p:cNvGrpSpPr/>
          <p:nvPr/>
        </p:nvGrpSpPr>
        <p:grpSpPr>
          <a:xfrm>
            <a:off x="6236656" y="2382833"/>
            <a:ext cx="1731127" cy="276999"/>
            <a:chOff x="5817188" y="2201862"/>
            <a:chExt cx="1731127" cy="276999"/>
          </a:xfrm>
        </p:grpSpPr>
        <p:sp>
          <p:nvSpPr>
            <p:cNvPr id="91" name="Rectangle 90">
              <a:extLst>
                <a:ext uri="{FF2B5EF4-FFF2-40B4-BE49-F238E27FC236}">
                  <a16:creationId xmlns:a16="http://schemas.microsoft.com/office/drawing/2014/main" id="{D9CD11BA-2278-4BBF-9BC3-20D135F79F87}"/>
                </a:ext>
              </a:extLst>
            </p:cNvPr>
            <p:cNvSpPr/>
            <p:nvPr/>
          </p:nvSpPr>
          <p:spPr>
            <a:xfrm>
              <a:off x="6067235" y="2201862"/>
              <a:ext cx="1481080" cy="276999"/>
            </a:xfrm>
            <a:prstGeom prst="rect">
              <a:avLst/>
            </a:prstGeom>
            <a:ln>
              <a:noFill/>
            </a:ln>
          </p:spPr>
          <p:txBody>
            <a:bodyPr wrap="square">
              <a:spAutoFit/>
            </a:bodyPr>
            <a:lstStyle/>
            <a:p>
              <a:pPr defTabSz="932384">
                <a:defRPr/>
              </a:pPr>
              <a:r>
                <a:rPr lang="en-US" sz="1200" kern="0" dirty="0">
                  <a:latin typeface="Segoe UI Semibold" panose="020B0702040204020203" pitchFamily="34" charset="0"/>
                  <a:ea typeface="MS PGothic" panose="020B0600070205080204" pitchFamily="34" charset="-128"/>
                  <a:cs typeface="Segoe UI Semibold" panose="020B0702040204020203" pitchFamily="34" charset="0"/>
                </a:rPr>
                <a:t>Machine Learning</a:t>
              </a:r>
            </a:p>
          </p:txBody>
        </p:sp>
        <p:sp>
          <p:nvSpPr>
            <p:cNvPr id="92" name="Freeform 188">
              <a:extLst>
                <a:ext uri="{FF2B5EF4-FFF2-40B4-BE49-F238E27FC236}">
                  <a16:creationId xmlns:a16="http://schemas.microsoft.com/office/drawing/2014/main" id="{A6481229-3EEB-4380-B54A-3A2A74BBB4D4}"/>
                </a:ext>
              </a:extLst>
            </p:cNvPr>
            <p:cNvSpPr/>
            <p:nvPr/>
          </p:nvSpPr>
          <p:spPr bwMode="auto">
            <a:xfrm>
              <a:off x="5817188" y="2201862"/>
              <a:ext cx="248649" cy="261703"/>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dirty="0">
                <a:solidFill>
                  <a:schemeClr val="bg1">
                    <a:lumMod val="50000"/>
                  </a:schemeClr>
                </a:solidFill>
                <a:latin typeface="Segoe UI Light"/>
                <a:ea typeface="Segoe UI" pitchFamily="34" charset="0"/>
                <a:cs typeface="Segoe UI" pitchFamily="34" charset="0"/>
              </a:endParaRPr>
            </a:p>
          </p:txBody>
        </p:sp>
      </p:grpSp>
      <p:sp>
        <p:nvSpPr>
          <p:cNvPr id="95" name="Freeform 163">
            <a:extLst>
              <a:ext uri="{FF2B5EF4-FFF2-40B4-BE49-F238E27FC236}">
                <a16:creationId xmlns:a16="http://schemas.microsoft.com/office/drawing/2014/main" id="{D1E95F60-AC30-4F06-9844-31F28E41217C}"/>
              </a:ext>
            </a:extLst>
          </p:cNvPr>
          <p:cNvSpPr/>
          <p:nvPr/>
        </p:nvSpPr>
        <p:spPr bwMode="auto">
          <a:xfrm>
            <a:off x="4328188" y="3895717"/>
            <a:ext cx="453625" cy="401645"/>
          </a:xfrm>
          <a:custGeom>
            <a:avLst/>
            <a:gdLst>
              <a:gd name="connsiteX0" fmla="*/ 2045820 w 4638512"/>
              <a:gd name="connsiteY0" fmla="*/ 2246179 h 4009962"/>
              <a:gd name="connsiteX1" fmla="*/ 2135116 w 4638512"/>
              <a:gd name="connsiteY1" fmla="*/ 2478723 h 4009962"/>
              <a:gd name="connsiteX2" fmla="*/ 2043959 w 4638512"/>
              <a:gd name="connsiteY2" fmla="*/ 2711267 h 4009962"/>
              <a:gd name="connsiteX3" fmla="*/ 1950477 w 4638512"/>
              <a:gd name="connsiteY3" fmla="*/ 2485699 h 4009962"/>
              <a:gd name="connsiteX4" fmla="*/ 2045820 w 4638512"/>
              <a:gd name="connsiteY4" fmla="*/ 2246179 h 4009962"/>
              <a:gd name="connsiteX5" fmla="*/ 2052331 w 4638512"/>
              <a:gd name="connsiteY5" fmla="*/ 2134093 h 4009962"/>
              <a:gd name="connsiteX6" fmla="*/ 1865598 w 4638512"/>
              <a:gd name="connsiteY6" fmla="*/ 2225018 h 4009962"/>
              <a:gd name="connsiteX7" fmla="*/ 1801183 w 4638512"/>
              <a:gd name="connsiteY7" fmla="*/ 2489420 h 4009962"/>
              <a:gd name="connsiteX8" fmla="*/ 2039308 w 4638512"/>
              <a:gd name="connsiteY8" fmla="*/ 2823818 h 4009962"/>
              <a:gd name="connsiteX9" fmla="*/ 2221390 w 4638512"/>
              <a:gd name="connsiteY9" fmla="*/ 2733591 h 4009962"/>
              <a:gd name="connsiteX10" fmla="*/ 2284875 w 4638512"/>
              <a:gd name="connsiteY10" fmla="*/ 2474072 h 4009962"/>
              <a:gd name="connsiteX11" fmla="*/ 2052331 w 4638512"/>
              <a:gd name="connsiteY11" fmla="*/ 2134093 h 4009962"/>
              <a:gd name="connsiteX12" fmla="*/ 2619664 w 4638512"/>
              <a:gd name="connsiteY12" fmla="*/ 2130372 h 4009962"/>
              <a:gd name="connsiteX13" fmla="*/ 2528041 w 4638512"/>
              <a:gd name="connsiteY13" fmla="*/ 2187578 h 4009962"/>
              <a:gd name="connsiteX14" fmla="*/ 2420141 w 4638512"/>
              <a:gd name="connsiteY14" fmla="*/ 2230366 h 4009962"/>
              <a:gd name="connsiteX15" fmla="*/ 2420141 w 4638512"/>
              <a:gd name="connsiteY15" fmla="*/ 2354080 h 4009962"/>
              <a:gd name="connsiteX16" fmla="*/ 2459673 w 4638512"/>
              <a:gd name="connsiteY16" fmla="*/ 2346406 h 4009962"/>
              <a:gd name="connsiteX17" fmla="*/ 2498276 w 4638512"/>
              <a:gd name="connsiteY17" fmla="*/ 2333383 h 4009962"/>
              <a:gd name="connsiteX18" fmla="*/ 2533390 w 4638512"/>
              <a:gd name="connsiteY18" fmla="*/ 2316175 h 4009962"/>
              <a:gd name="connsiteX19" fmla="*/ 2561993 w 4638512"/>
              <a:gd name="connsiteY19" fmla="*/ 2295944 h 4009962"/>
              <a:gd name="connsiteX20" fmla="*/ 2561993 w 4638512"/>
              <a:gd name="connsiteY20" fmla="*/ 2812191 h 4009962"/>
              <a:gd name="connsiteX21" fmla="*/ 2708495 w 4638512"/>
              <a:gd name="connsiteY21" fmla="*/ 2812191 h 4009962"/>
              <a:gd name="connsiteX22" fmla="*/ 2708495 w 4638512"/>
              <a:gd name="connsiteY22" fmla="*/ 2130372 h 4009962"/>
              <a:gd name="connsiteX23" fmla="*/ 2598269 w 4638512"/>
              <a:gd name="connsiteY23" fmla="*/ 1315451 h 4009962"/>
              <a:gd name="connsiteX24" fmla="*/ 2687566 w 4638512"/>
              <a:gd name="connsiteY24" fmla="*/ 1547995 h 4009962"/>
              <a:gd name="connsiteX25" fmla="*/ 2596409 w 4638512"/>
              <a:gd name="connsiteY25" fmla="*/ 1780539 h 4009962"/>
              <a:gd name="connsiteX26" fmla="*/ 2502926 w 4638512"/>
              <a:gd name="connsiteY26" fmla="*/ 1554971 h 4009962"/>
              <a:gd name="connsiteX27" fmla="*/ 2598269 w 4638512"/>
              <a:gd name="connsiteY27" fmla="*/ 1315451 h 4009962"/>
              <a:gd name="connsiteX28" fmla="*/ 2604781 w 4638512"/>
              <a:gd name="connsiteY28" fmla="*/ 1203365 h 4009962"/>
              <a:gd name="connsiteX29" fmla="*/ 2418048 w 4638512"/>
              <a:gd name="connsiteY29" fmla="*/ 1294290 h 4009962"/>
              <a:gd name="connsiteX30" fmla="*/ 2353633 w 4638512"/>
              <a:gd name="connsiteY30" fmla="*/ 1558692 h 4009962"/>
              <a:gd name="connsiteX31" fmla="*/ 2591758 w 4638512"/>
              <a:gd name="connsiteY31" fmla="*/ 1893090 h 4009962"/>
              <a:gd name="connsiteX32" fmla="*/ 2773840 w 4638512"/>
              <a:gd name="connsiteY32" fmla="*/ 1802863 h 4009962"/>
              <a:gd name="connsiteX33" fmla="*/ 2837325 w 4638512"/>
              <a:gd name="connsiteY33" fmla="*/ 1543344 h 4009962"/>
              <a:gd name="connsiteX34" fmla="*/ 2604781 w 4638512"/>
              <a:gd name="connsiteY34" fmla="*/ 1203365 h 4009962"/>
              <a:gd name="connsiteX35" fmla="*/ 2067214 w 4638512"/>
              <a:gd name="connsiteY35" fmla="*/ 1199644 h 4009962"/>
              <a:gd name="connsiteX36" fmla="*/ 1975591 w 4638512"/>
              <a:gd name="connsiteY36" fmla="*/ 1256850 h 4009962"/>
              <a:gd name="connsiteX37" fmla="*/ 1867691 w 4638512"/>
              <a:gd name="connsiteY37" fmla="*/ 1299638 h 4009962"/>
              <a:gd name="connsiteX38" fmla="*/ 1867691 w 4638512"/>
              <a:gd name="connsiteY38" fmla="*/ 1423352 h 4009962"/>
              <a:gd name="connsiteX39" fmla="*/ 1907223 w 4638512"/>
              <a:gd name="connsiteY39" fmla="*/ 1415678 h 4009962"/>
              <a:gd name="connsiteX40" fmla="*/ 1945826 w 4638512"/>
              <a:gd name="connsiteY40" fmla="*/ 1402655 h 4009962"/>
              <a:gd name="connsiteX41" fmla="*/ 1980940 w 4638512"/>
              <a:gd name="connsiteY41" fmla="*/ 1385447 h 4009962"/>
              <a:gd name="connsiteX42" fmla="*/ 2009543 w 4638512"/>
              <a:gd name="connsiteY42" fmla="*/ 1365216 h 4009962"/>
              <a:gd name="connsiteX43" fmla="*/ 2009543 w 4638512"/>
              <a:gd name="connsiteY43" fmla="*/ 1881463 h 4009962"/>
              <a:gd name="connsiteX44" fmla="*/ 2156045 w 4638512"/>
              <a:gd name="connsiteY44" fmla="*/ 1881463 h 4009962"/>
              <a:gd name="connsiteX45" fmla="*/ 2156045 w 4638512"/>
              <a:gd name="connsiteY45" fmla="*/ 1199644 h 4009962"/>
              <a:gd name="connsiteX46" fmla="*/ 1451717 w 4638512"/>
              <a:gd name="connsiteY46" fmla="*/ 975276 h 4009962"/>
              <a:gd name="connsiteX47" fmla="*/ 2932580 w 4638512"/>
              <a:gd name="connsiteY47" fmla="*/ 975277 h 4009962"/>
              <a:gd name="connsiteX48" fmla="*/ 2932580 w 4638512"/>
              <a:gd name="connsiteY48" fmla="*/ 1360287 h 4009962"/>
              <a:gd name="connsiteX49" fmla="*/ 3300325 w 4638512"/>
              <a:gd name="connsiteY49" fmla="*/ 1360287 h 4009962"/>
              <a:gd name="connsiteX50" fmla="*/ 3300325 w 4638512"/>
              <a:gd name="connsiteY50" fmla="*/ 2920137 h 4009962"/>
              <a:gd name="connsiteX51" fmla="*/ 3185379 w 4638512"/>
              <a:gd name="connsiteY51" fmla="*/ 3035083 h 4009962"/>
              <a:gd name="connsiteX52" fmla="*/ 1451717 w 4638512"/>
              <a:gd name="connsiteY52" fmla="*/ 3035083 h 4009962"/>
              <a:gd name="connsiteX53" fmla="*/ 1336771 w 4638512"/>
              <a:gd name="connsiteY53" fmla="*/ 2920137 h 4009962"/>
              <a:gd name="connsiteX54" fmla="*/ 1336771 w 4638512"/>
              <a:gd name="connsiteY54" fmla="*/ 1090222 h 4009962"/>
              <a:gd name="connsiteX55" fmla="*/ 1451717 w 4638512"/>
              <a:gd name="connsiteY55" fmla="*/ 975276 h 4009962"/>
              <a:gd name="connsiteX56" fmla="*/ 1471468 w 4638512"/>
              <a:gd name="connsiteY56" fmla="*/ 797915 h 4009962"/>
              <a:gd name="connsiteX57" fmla="*/ 1156956 w 4638512"/>
              <a:gd name="connsiteY57" fmla="*/ 1112426 h 4009962"/>
              <a:gd name="connsiteX58" fmla="*/ 1156956 w 4638512"/>
              <a:gd name="connsiteY58" fmla="*/ 2900449 h 4009962"/>
              <a:gd name="connsiteX59" fmla="*/ 1471468 w 4638512"/>
              <a:gd name="connsiteY59" fmla="*/ 3214961 h 4009962"/>
              <a:gd name="connsiteX60" fmla="*/ 3166302 w 4638512"/>
              <a:gd name="connsiteY60" fmla="*/ 3214961 h 4009962"/>
              <a:gd name="connsiteX61" fmla="*/ 3480814 w 4638512"/>
              <a:gd name="connsiteY61" fmla="*/ 2900449 h 4009962"/>
              <a:gd name="connsiteX62" fmla="*/ 3480814 w 4638512"/>
              <a:gd name="connsiteY62" fmla="*/ 1279104 h 4009962"/>
              <a:gd name="connsiteX63" fmla="*/ 2999625 w 4638512"/>
              <a:gd name="connsiteY63" fmla="*/ 797915 h 4009962"/>
              <a:gd name="connsiteX64" fmla="*/ 1168463 w 4638512"/>
              <a:gd name="connsiteY64" fmla="*/ 0 h 4009962"/>
              <a:gd name="connsiteX65" fmla="*/ 3470048 w 4638512"/>
              <a:gd name="connsiteY65" fmla="*/ 0 h 4009962"/>
              <a:gd name="connsiteX66" fmla="*/ 4638512 w 4638512"/>
              <a:gd name="connsiteY66" fmla="*/ 2004981 h 4009962"/>
              <a:gd name="connsiteX67" fmla="*/ 3470048 w 4638512"/>
              <a:gd name="connsiteY67" fmla="*/ 4009962 h 4009962"/>
              <a:gd name="connsiteX68" fmla="*/ 1168463 w 4638512"/>
              <a:gd name="connsiteY68" fmla="*/ 4009962 h 4009962"/>
              <a:gd name="connsiteX69" fmla="*/ 0 w 4638512"/>
              <a:gd name="connsiteY69" fmla="*/ 2004981 h 4009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638512" h="4009962">
                <a:moveTo>
                  <a:pt x="2045820" y="2246179"/>
                </a:moveTo>
                <a:cubicBezTo>
                  <a:pt x="2105351" y="2246179"/>
                  <a:pt x="2135116" y="2323694"/>
                  <a:pt x="2135116" y="2478723"/>
                </a:cubicBezTo>
                <a:cubicBezTo>
                  <a:pt x="2135116" y="2633753"/>
                  <a:pt x="2104731" y="2711267"/>
                  <a:pt x="2043959" y="2711267"/>
                </a:cubicBezTo>
                <a:cubicBezTo>
                  <a:pt x="1981637" y="2711267"/>
                  <a:pt x="1950477" y="2636078"/>
                  <a:pt x="1950477" y="2485699"/>
                </a:cubicBezTo>
                <a:cubicBezTo>
                  <a:pt x="1950477" y="2326019"/>
                  <a:pt x="1982258" y="2246179"/>
                  <a:pt x="2045820" y="2246179"/>
                </a:cubicBezTo>
                <a:close/>
                <a:moveTo>
                  <a:pt x="2052331" y="2134093"/>
                </a:moveTo>
                <a:cubicBezTo>
                  <a:pt x="1970785" y="2134093"/>
                  <a:pt x="1908541" y="2164401"/>
                  <a:pt x="1865598" y="2225018"/>
                </a:cubicBezTo>
                <a:cubicBezTo>
                  <a:pt x="1822655" y="2285634"/>
                  <a:pt x="1801183" y="2373768"/>
                  <a:pt x="1801183" y="2489420"/>
                </a:cubicBezTo>
                <a:cubicBezTo>
                  <a:pt x="1801183" y="2712352"/>
                  <a:pt x="1880558" y="2823818"/>
                  <a:pt x="2039308" y="2823818"/>
                </a:cubicBezTo>
                <a:cubicBezTo>
                  <a:pt x="2118373" y="2823818"/>
                  <a:pt x="2179067" y="2793743"/>
                  <a:pt x="2221390" y="2733591"/>
                </a:cubicBezTo>
                <a:cubicBezTo>
                  <a:pt x="2263713" y="2673440"/>
                  <a:pt x="2284875" y="2586934"/>
                  <a:pt x="2284875" y="2474072"/>
                </a:cubicBezTo>
                <a:cubicBezTo>
                  <a:pt x="2284875" y="2247419"/>
                  <a:pt x="2207360" y="2134093"/>
                  <a:pt x="2052331" y="2134093"/>
                </a:cubicBezTo>
                <a:close/>
                <a:moveTo>
                  <a:pt x="2619664" y="2130372"/>
                </a:moveTo>
                <a:cubicBezTo>
                  <a:pt x="2592378" y="2151146"/>
                  <a:pt x="2561838" y="2170215"/>
                  <a:pt x="2528041" y="2187578"/>
                </a:cubicBezTo>
                <a:cubicBezTo>
                  <a:pt x="2494245" y="2204941"/>
                  <a:pt x="2458278" y="2219204"/>
                  <a:pt x="2420141" y="2230366"/>
                </a:cubicBezTo>
                <a:lnTo>
                  <a:pt x="2420141" y="2354080"/>
                </a:lnTo>
                <a:cubicBezTo>
                  <a:pt x="2433163" y="2352529"/>
                  <a:pt x="2446341" y="2349971"/>
                  <a:pt x="2459673" y="2346406"/>
                </a:cubicBezTo>
                <a:cubicBezTo>
                  <a:pt x="2473006" y="2342840"/>
                  <a:pt x="2485873" y="2338499"/>
                  <a:pt x="2498276" y="2333383"/>
                </a:cubicBezTo>
                <a:cubicBezTo>
                  <a:pt x="2510678" y="2328267"/>
                  <a:pt x="2522383" y="2322531"/>
                  <a:pt x="2533390" y="2316175"/>
                </a:cubicBezTo>
                <a:cubicBezTo>
                  <a:pt x="2544397" y="2309819"/>
                  <a:pt x="2553931" y="2303075"/>
                  <a:pt x="2561993" y="2295944"/>
                </a:cubicBezTo>
                <a:lnTo>
                  <a:pt x="2561993" y="2812191"/>
                </a:lnTo>
                <a:lnTo>
                  <a:pt x="2708495" y="2812191"/>
                </a:lnTo>
                <a:lnTo>
                  <a:pt x="2708495" y="2130372"/>
                </a:lnTo>
                <a:close/>
                <a:moveTo>
                  <a:pt x="2598269" y="1315451"/>
                </a:moveTo>
                <a:cubicBezTo>
                  <a:pt x="2657801" y="1315451"/>
                  <a:pt x="2687566" y="1392966"/>
                  <a:pt x="2687566" y="1547995"/>
                </a:cubicBezTo>
                <a:cubicBezTo>
                  <a:pt x="2687566" y="1703024"/>
                  <a:pt x="2657181" y="1780539"/>
                  <a:pt x="2596409" y="1780539"/>
                </a:cubicBezTo>
                <a:cubicBezTo>
                  <a:pt x="2534087" y="1780539"/>
                  <a:pt x="2502926" y="1705350"/>
                  <a:pt x="2502926" y="1554971"/>
                </a:cubicBezTo>
                <a:cubicBezTo>
                  <a:pt x="2502926" y="1395291"/>
                  <a:pt x="2534707" y="1315451"/>
                  <a:pt x="2598269" y="1315451"/>
                </a:cubicBezTo>
                <a:close/>
                <a:moveTo>
                  <a:pt x="2604781" y="1203365"/>
                </a:moveTo>
                <a:cubicBezTo>
                  <a:pt x="2523235" y="1203365"/>
                  <a:pt x="2460991" y="1233673"/>
                  <a:pt x="2418048" y="1294290"/>
                </a:cubicBezTo>
                <a:cubicBezTo>
                  <a:pt x="2375105" y="1354906"/>
                  <a:pt x="2353633" y="1443040"/>
                  <a:pt x="2353633" y="1558692"/>
                </a:cubicBezTo>
                <a:cubicBezTo>
                  <a:pt x="2353633" y="1781624"/>
                  <a:pt x="2433008" y="1893090"/>
                  <a:pt x="2591758" y="1893090"/>
                </a:cubicBezTo>
                <a:cubicBezTo>
                  <a:pt x="2670823" y="1893090"/>
                  <a:pt x="2731517" y="1863015"/>
                  <a:pt x="2773840" y="1802863"/>
                </a:cubicBezTo>
                <a:cubicBezTo>
                  <a:pt x="2816163" y="1742712"/>
                  <a:pt x="2837325" y="1656206"/>
                  <a:pt x="2837325" y="1543344"/>
                </a:cubicBezTo>
                <a:cubicBezTo>
                  <a:pt x="2837325" y="1316691"/>
                  <a:pt x="2759810" y="1203365"/>
                  <a:pt x="2604781" y="1203365"/>
                </a:cubicBezTo>
                <a:close/>
                <a:moveTo>
                  <a:pt x="2067214" y="1199644"/>
                </a:moveTo>
                <a:cubicBezTo>
                  <a:pt x="2039928" y="1220418"/>
                  <a:pt x="2009388" y="1239487"/>
                  <a:pt x="1975591" y="1256850"/>
                </a:cubicBezTo>
                <a:cubicBezTo>
                  <a:pt x="1941795" y="1274213"/>
                  <a:pt x="1905828" y="1288476"/>
                  <a:pt x="1867691" y="1299638"/>
                </a:cubicBezTo>
                <a:lnTo>
                  <a:pt x="1867691" y="1423352"/>
                </a:lnTo>
                <a:cubicBezTo>
                  <a:pt x="1880713" y="1421801"/>
                  <a:pt x="1893891" y="1419243"/>
                  <a:pt x="1907223" y="1415678"/>
                </a:cubicBezTo>
                <a:cubicBezTo>
                  <a:pt x="1920556" y="1412112"/>
                  <a:pt x="1933423" y="1407771"/>
                  <a:pt x="1945826" y="1402655"/>
                </a:cubicBezTo>
                <a:cubicBezTo>
                  <a:pt x="1958228" y="1397539"/>
                  <a:pt x="1969933" y="1391803"/>
                  <a:pt x="1980940" y="1385447"/>
                </a:cubicBezTo>
                <a:cubicBezTo>
                  <a:pt x="1991947" y="1379091"/>
                  <a:pt x="2001481" y="1372347"/>
                  <a:pt x="2009543" y="1365216"/>
                </a:cubicBezTo>
                <a:lnTo>
                  <a:pt x="2009543" y="1881463"/>
                </a:lnTo>
                <a:lnTo>
                  <a:pt x="2156045" y="1881463"/>
                </a:lnTo>
                <a:lnTo>
                  <a:pt x="2156045" y="1199644"/>
                </a:lnTo>
                <a:close/>
                <a:moveTo>
                  <a:pt x="1451717" y="975276"/>
                </a:moveTo>
                <a:lnTo>
                  <a:pt x="2932580" y="975277"/>
                </a:lnTo>
                <a:lnTo>
                  <a:pt x="2932580" y="1360287"/>
                </a:lnTo>
                <a:lnTo>
                  <a:pt x="3300325" y="1360287"/>
                </a:lnTo>
                <a:lnTo>
                  <a:pt x="3300325" y="2920137"/>
                </a:lnTo>
                <a:cubicBezTo>
                  <a:pt x="3300325" y="2983620"/>
                  <a:pt x="3248862" y="3035083"/>
                  <a:pt x="3185379" y="3035083"/>
                </a:cubicBezTo>
                <a:lnTo>
                  <a:pt x="1451717" y="3035083"/>
                </a:lnTo>
                <a:cubicBezTo>
                  <a:pt x="1388234" y="3035083"/>
                  <a:pt x="1336771" y="2983619"/>
                  <a:pt x="1336771" y="2920137"/>
                </a:cubicBezTo>
                <a:lnTo>
                  <a:pt x="1336771" y="1090222"/>
                </a:lnTo>
                <a:cubicBezTo>
                  <a:pt x="1336771" y="1026739"/>
                  <a:pt x="1388234" y="975276"/>
                  <a:pt x="1451717" y="975276"/>
                </a:cubicBezTo>
                <a:close/>
                <a:moveTo>
                  <a:pt x="1471468" y="797915"/>
                </a:moveTo>
                <a:cubicBezTo>
                  <a:pt x="1297768" y="797915"/>
                  <a:pt x="1156956" y="938726"/>
                  <a:pt x="1156956" y="1112426"/>
                </a:cubicBezTo>
                <a:lnTo>
                  <a:pt x="1156956" y="2900449"/>
                </a:lnTo>
                <a:cubicBezTo>
                  <a:pt x="1156956" y="3074149"/>
                  <a:pt x="1297768" y="3214960"/>
                  <a:pt x="1471468" y="3214961"/>
                </a:cubicBezTo>
                <a:lnTo>
                  <a:pt x="3166302" y="3214961"/>
                </a:lnTo>
                <a:cubicBezTo>
                  <a:pt x="3340003" y="3214960"/>
                  <a:pt x="3480814" y="3074149"/>
                  <a:pt x="3480814" y="2900449"/>
                </a:cubicBezTo>
                <a:lnTo>
                  <a:pt x="3480814" y="1279104"/>
                </a:lnTo>
                <a:lnTo>
                  <a:pt x="2999625" y="797915"/>
                </a:lnTo>
                <a:close/>
                <a:moveTo>
                  <a:pt x="1168463" y="0"/>
                </a:moveTo>
                <a:lnTo>
                  <a:pt x="3470048" y="0"/>
                </a:lnTo>
                <a:lnTo>
                  <a:pt x="4638512" y="2004981"/>
                </a:lnTo>
                <a:lnTo>
                  <a:pt x="3470048" y="4009962"/>
                </a:lnTo>
                <a:lnTo>
                  <a:pt x="1168463" y="4009962"/>
                </a:lnTo>
                <a:lnTo>
                  <a:pt x="0" y="2004981"/>
                </a:lnTo>
                <a:close/>
              </a:path>
            </a:pathLst>
          </a:cu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solidFill>
                <a:schemeClr val="tx1"/>
              </a:solidFill>
              <a:latin typeface="Segoe UI Semilight"/>
              <a:ea typeface="Segoe UI" pitchFamily="34" charset="0"/>
              <a:cs typeface="Segoe UI" pitchFamily="34" charset="0"/>
            </a:endParaRPr>
          </a:p>
        </p:txBody>
      </p:sp>
      <p:sp>
        <p:nvSpPr>
          <p:cNvPr id="96" name="Freeform: Shape 95">
            <a:extLst>
              <a:ext uri="{FF2B5EF4-FFF2-40B4-BE49-F238E27FC236}">
                <a16:creationId xmlns:a16="http://schemas.microsoft.com/office/drawing/2014/main" id="{5AE27146-DFE2-4A06-8C4C-E2C43FD0C35B}"/>
              </a:ext>
            </a:extLst>
          </p:cNvPr>
          <p:cNvSpPr>
            <a:spLocks/>
          </p:cNvSpPr>
          <p:nvPr/>
        </p:nvSpPr>
        <p:spPr bwMode="auto">
          <a:xfrm>
            <a:off x="6138370" y="4055580"/>
            <a:ext cx="466924" cy="335268"/>
          </a:xfrm>
          <a:custGeom>
            <a:avLst/>
            <a:gdLst>
              <a:gd name="connsiteX0" fmla="*/ 3221632 w 5336589"/>
              <a:gd name="connsiteY0" fmla="*/ 2948204 h 3831857"/>
              <a:gd name="connsiteX1" fmla="*/ 3360482 w 5336589"/>
              <a:gd name="connsiteY1" fmla="*/ 3245280 h 3831857"/>
              <a:gd name="connsiteX2" fmla="*/ 3342722 w 5336589"/>
              <a:gd name="connsiteY2" fmla="*/ 3484231 h 3831857"/>
              <a:gd name="connsiteX3" fmla="*/ 3396003 w 5336589"/>
              <a:gd name="connsiteY3" fmla="*/ 3655372 h 3831857"/>
              <a:gd name="connsiteX4" fmla="*/ 3098926 w 5336589"/>
              <a:gd name="connsiteY4" fmla="*/ 3719954 h 3831857"/>
              <a:gd name="connsiteX5" fmla="*/ 2801850 w 5336589"/>
              <a:gd name="connsiteY5" fmla="*/ 3658602 h 3831857"/>
              <a:gd name="connsiteX6" fmla="*/ 3221632 w 5336589"/>
              <a:gd name="connsiteY6" fmla="*/ 2948204 h 3831857"/>
              <a:gd name="connsiteX7" fmla="*/ 325133 w 5336589"/>
              <a:gd name="connsiteY7" fmla="*/ 2651130 h 3831857"/>
              <a:gd name="connsiteX8" fmla="*/ 628668 w 5336589"/>
              <a:gd name="connsiteY8" fmla="*/ 3277571 h 3831857"/>
              <a:gd name="connsiteX9" fmla="*/ 467213 w 5336589"/>
              <a:gd name="connsiteY9" fmla="*/ 3408348 h 3831857"/>
              <a:gd name="connsiteX10" fmla="*/ 78108 w 5336589"/>
              <a:gd name="connsiteY10" fmla="*/ 3017631 h 3831857"/>
              <a:gd name="connsiteX11" fmla="*/ 325133 w 5336589"/>
              <a:gd name="connsiteY11" fmla="*/ 2651130 h 3831857"/>
              <a:gd name="connsiteX12" fmla="*/ 3683393 w 5336589"/>
              <a:gd name="connsiteY12" fmla="*/ 922762 h 3831857"/>
              <a:gd name="connsiteX13" fmla="*/ 3249079 w 5336589"/>
              <a:gd name="connsiteY13" fmla="*/ 1251322 h 3831857"/>
              <a:gd name="connsiteX14" fmla="*/ 3336263 w 5336589"/>
              <a:gd name="connsiteY14" fmla="*/ 1177862 h 3831857"/>
              <a:gd name="connsiteX15" fmla="*/ 3477115 w 5336589"/>
              <a:gd name="connsiteY15" fmla="*/ 1303862 h 3831857"/>
              <a:gd name="connsiteX16" fmla="*/ 3386316 w 5336589"/>
              <a:gd name="connsiteY16" fmla="*/ 1441839 h 3831857"/>
              <a:gd name="connsiteX17" fmla="*/ 3860993 w 5336589"/>
              <a:gd name="connsiteY17" fmla="*/ 1094711 h 3831857"/>
              <a:gd name="connsiteX18" fmla="*/ 3736440 w 5336589"/>
              <a:gd name="connsiteY18" fmla="*/ 1125953 h 3831857"/>
              <a:gd name="connsiteX19" fmla="*/ 3611142 w 5336589"/>
              <a:gd name="connsiteY19" fmla="*/ 974427 h 3831857"/>
              <a:gd name="connsiteX20" fmla="*/ 3683393 w 5336589"/>
              <a:gd name="connsiteY20" fmla="*/ 922762 h 3831857"/>
              <a:gd name="connsiteX21" fmla="*/ 3202477 w 5336589"/>
              <a:gd name="connsiteY21" fmla="*/ 625701 h 3831857"/>
              <a:gd name="connsiteX22" fmla="*/ 3048875 w 5336589"/>
              <a:gd name="connsiteY22" fmla="*/ 991380 h 3831857"/>
              <a:gd name="connsiteX23" fmla="*/ 3391159 w 5336589"/>
              <a:gd name="connsiteY23" fmla="*/ 649097 h 3831857"/>
              <a:gd name="connsiteX24" fmla="*/ 3243832 w 5336589"/>
              <a:gd name="connsiteY24" fmla="*/ 626367 h 3831857"/>
              <a:gd name="connsiteX25" fmla="*/ 3202477 w 5336589"/>
              <a:gd name="connsiteY25" fmla="*/ 625701 h 3831857"/>
              <a:gd name="connsiteX26" fmla="*/ 2674610 w 5336589"/>
              <a:gd name="connsiteY26" fmla="*/ 621340 h 3831857"/>
              <a:gd name="connsiteX27" fmla="*/ 2673929 w 5336589"/>
              <a:gd name="connsiteY27" fmla="*/ 621683 h 3831857"/>
              <a:gd name="connsiteX28" fmla="*/ 2673248 w 5336589"/>
              <a:gd name="connsiteY28" fmla="*/ 621683 h 3831857"/>
              <a:gd name="connsiteX29" fmla="*/ 2671886 w 5336589"/>
              <a:gd name="connsiteY29" fmla="*/ 622370 h 3831857"/>
              <a:gd name="connsiteX30" fmla="*/ 2670184 w 5336589"/>
              <a:gd name="connsiteY30" fmla="*/ 622713 h 3831857"/>
              <a:gd name="connsiteX31" fmla="*/ 2667800 w 5336589"/>
              <a:gd name="connsiteY31" fmla="*/ 623400 h 3831857"/>
              <a:gd name="connsiteX32" fmla="*/ 2665416 w 5336589"/>
              <a:gd name="connsiteY32" fmla="*/ 624087 h 3831857"/>
              <a:gd name="connsiteX33" fmla="*/ 2662692 w 5336589"/>
              <a:gd name="connsiteY33" fmla="*/ 624773 h 3831857"/>
              <a:gd name="connsiteX34" fmla="*/ 2659628 w 5336589"/>
              <a:gd name="connsiteY34" fmla="*/ 625803 h 3831857"/>
              <a:gd name="connsiteX35" fmla="*/ 2655542 w 5336589"/>
              <a:gd name="connsiteY35" fmla="*/ 627176 h 3831857"/>
              <a:gd name="connsiteX36" fmla="*/ 2651796 w 5336589"/>
              <a:gd name="connsiteY36" fmla="*/ 628206 h 3831857"/>
              <a:gd name="connsiteX37" fmla="*/ 2647029 w 5336589"/>
              <a:gd name="connsiteY37" fmla="*/ 629236 h 3831857"/>
              <a:gd name="connsiteX38" fmla="*/ 2642602 w 5336589"/>
              <a:gd name="connsiteY38" fmla="*/ 630610 h 3831857"/>
              <a:gd name="connsiteX39" fmla="*/ 2637495 w 5336589"/>
              <a:gd name="connsiteY39" fmla="*/ 631983 h 3831857"/>
              <a:gd name="connsiteX40" fmla="*/ 2631706 w 5336589"/>
              <a:gd name="connsiteY40" fmla="*/ 633356 h 3831857"/>
              <a:gd name="connsiteX41" fmla="*/ 2625577 w 5336589"/>
              <a:gd name="connsiteY41" fmla="*/ 634729 h 3831857"/>
              <a:gd name="connsiteX42" fmla="*/ 2619448 w 5336589"/>
              <a:gd name="connsiteY42" fmla="*/ 636103 h 3831857"/>
              <a:gd name="connsiteX43" fmla="*/ 2612297 w 5336589"/>
              <a:gd name="connsiteY43" fmla="*/ 637819 h 3831857"/>
              <a:gd name="connsiteX44" fmla="*/ 2605487 w 5336589"/>
              <a:gd name="connsiteY44" fmla="*/ 639536 h 3831857"/>
              <a:gd name="connsiteX45" fmla="*/ 2597655 w 5336589"/>
              <a:gd name="connsiteY45" fmla="*/ 641252 h 3831857"/>
              <a:gd name="connsiteX46" fmla="*/ 2589483 w 5336589"/>
              <a:gd name="connsiteY46" fmla="*/ 642969 h 3831857"/>
              <a:gd name="connsiteX47" fmla="*/ 2580970 w 5336589"/>
              <a:gd name="connsiteY47" fmla="*/ 644685 h 3831857"/>
              <a:gd name="connsiteX48" fmla="*/ 2572458 w 5336589"/>
              <a:gd name="connsiteY48" fmla="*/ 646402 h 3831857"/>
              <a:gd name="connsiteX49" fmla="*/ 2562923 w 5336589"/>
              <a:gd name="connsiteY49" fmla="*/ 648462 h 3831857"/>
              <a:gd name="connsiteX50" fmla="*/ 2553049 w 5336589"/>
              <a:gd name="connsiteY50" fmla="*/ 650522 h 3831857"/>
              <a:gd name="connsiteX51" fmla="*/ 2543174 w 5336589"/>
              <a:gd name="connsiteY51" fmla="*/ 652238 h 3831857"/>
              <a:gd name="connsiteX52" fmla="*/ 2532618 w 5336589"/>
              <a:gd name="connsiteY52" fmla="*/ 654298 h 3831857"/>
              <a:gd name="connsiteX53" fmla="*/ 2521381 w 5336589"/>
              <a:gd name="connsiteY53" fmla="*/ 656358 h 3831857"/>
              <a:gd name="connsiteX54" fmla="*/ 2510145 w 5336589"/>
              <a:gd name="connsiteY54" fmla="*/ 658075 h 3831857"/>
              <a:gd name="connsiteX55" fmla="*/ 2498227 w 5336589"/>
              <a:gd name="connsiteY55" fmla="*/ 660135 h 3831857"/>
              <a:gd name="connsiteX56" fmla="*/ 2485968 w 5336589"/>
              <a:gd name="connsiteY56" fmla="*/ 662194 h 3831857"/>
              <a:gd name="connsiteX57" fmla="*/ 2473029 w 5336589"/>
              <a:gd name="connsiteY57" fmla="*/ 664254 h 3831857"/>
              <a:gd name="connsiteX58" fmla="*/ 2449534 w 5336589"/>
              <a:gd name="connsiteY58" fmla="*/ 667687 h 3831857"/>
              <a:gd name="connsiteX59" fmla="*/ 2426720 w 5336589"/>
              <a:gd name="connsiteY59" fmla="*/ 670777 h 3831857"/>
              <a:gd name="connsiteX60" fmla="*/ 2404927 w 5336589"/>
              <a:gd name="connsiteY60" fmla="*/ 673524 h 3831857"/>
              <a:gd name="connsiteX61" fmla="*/ 2383475 w 5336589"/>
              <a:gd name="connsiteY61" fmla="*/ 675584 h 3831857"/>
              <a:gd name="connsiteX62" fmla="*/ 2363045 w 5336589"/>
              <a:gd name="connsiteY62" fmla="*/ 677300 h 3831857"/>
              <a:gd name="connsiteX63" fmla="*/ 2343636 w 5336589"/>
              <a:gd name="connsiteY63" fmla="*/ 678674 h 3831857"/>
              <a:gd name="connsiteX64" fmla="*/ 2324227 w 5336589"/>
              <a:gd name="connsiteY64" fmla="*/ 680047 h 3831857"/>
              <a:gd name="connsiteX65" fmla="*/ 2305839 w 5336589"/>
              <a:gd name="connsiteY65" fmla="*/ 681420 h 3831857"/>
              <a:gd name="connsiteX66" fmla="*/ 2288814 w 5336589"/>
              <a:gd name="connsiteY66" fmla="*/ 683136 h 3831857"/>
              <a:gd name="connsiteX67" fmla="*/ 2271789 w 5336589"/>
              <a:gd name="connsiteY67" fmla="*/ 684853 h 3831857"/>
              <a:gd name="connsiteX68" fmla="*/ 2255444 w 5336589"/>
              <a:gd name="connsiteY68" fmla="*/ 687256 h 3831857"/>
              <a:gd name="connsiteX69" fmla="*/ 2240462 w 5336589"/>
              <a:gd name="connsiteY69" fmla="*/ 689659 h 3831857"/>
              <a:gd name="connsiteX70" fmla="*/ 2225820 w 5336589"/>
              <a:gd name="connsiteY70" fmla="*/ 692749 h 3831857"/>
              <a:gd name="connsiteX71" fmla="*/ 2211859 w 5336589"/>
              <a:gd name="connsiteY71" fmla="*/ 696526 h 3831857"/>
              <a:gd name="connsiteX72" fmla="*/ 2198920 w 5336589"/>
              <a:gd name="connsiteY72" fmla="*/ 701332 h 3831857"/>
              <a:gd name="connsiteX73" fmla="*/ 2186661 w 5336589"/>
              <a:gd name="connsiteY73" fmla="*/ 706825 h 3831857"/>
              <a:gd name="connsiteX74" fmla="*/ 2169295 w 5336589"/>
              <a:gd name="connsiteY74" fmla="*/ 717125 h 3831857"/>
              <a:gd name="connsiteX75" fmla="*/ 2153292 w 5336589"/>
              <a:gd name="connsiteY75" fmla="*/ 728454 h 3831857"/>
              <a:gd name="connsiteX76" fmla="*/ 2138309 w 5336589"/>
              <a:gd name="connsiteY76" fmla="*/ 740470 h 3831857"/>
              <a:gd name="connsiteX77" fmla="*/ 2124008 w 5336589"/>
              <a:gd name="connsiteY77" fmla="*/ 753172 h 3831857"/>
              <a:gd name="connsiteX78" fmla="*/ 2111068 w 5336589"/>
              <a:gd name="connsiteY78" fmla="*/ 766905 h 3831857"/>
              <a:gd name="connsiteX79" fmla="*/ 2098810 w 5336589"/>
              <a:gd name="connsiteY79" fmla="*/ 782011 h 3831857"/>
              <a:gd name="connsiteX80" fmla="*/ 2087233 w 5336589"/>
              <a:gd name="connsiteY80" fmla="*/ 797460 h 3831857"/>
              <a:gd name="connsiteX81" fmla="*/ 2076677 w 5336589"/>
              <a:gd name="connsiteY81" fmla="*/ 813939 h 3831857"/>
              <a:gd name="connsiteX82" fmla="*/ 2066462 w 5336589"/>
              <a:gd name="connsiteY82" fmla="*/ 831448 h 3831857"/>
              <a:gd name="connsiteX83" fmla="*/ 2056587 w 5336589"/>
              <a:gd name="connsiteY83" fmla="*/ 850330 h 3831857"/>
              <a:gd name="connsiteX84" fmla="*/ 2047393 w 5336589"/>
              <a:gd name="connsiteY84" fmla="*/ 869556 h 3831857"/>
              <a:gd name="connsiteX85" fmla="*/ 2039221 w 5336589"/>
              <a:gd name="connsiteY85" fmla="*/ 890498 h 3831857"/>
              <a:gd name="connsiteX86" fmla="*/ 2030708 w 5336589"/>
              <a:gd name="connsiteY86" fmla="*/ 912470 h 3831857"/>
              <a:gd name="connsiteX87" fmla="*/ 2022196 w 5336589"/>
              <a:gd name="connsiteY87" fmla="*/ 935472 h 3831857"/>
              <a:gd name="connsiteX88" fmla="*/ 2014024 w 5336589"/>
              <a:gd name="connsiteY88" fmla="*/ 959847 h 3831857"/>
              <a:gd name="connsiteX89" fmla="*/ 2006532 w 5336589"/>
              <a:gd name="connsiteY89" fmla="*/ 985252 h 3831857"/>
              <a:gd name="connsiteX90" fmla="*/ 2001425 w 5336589"/>
              <a:gd name="connsiteY90" fmla="*/ 1000358 h 3831857"/>
              <a:gd name="connsiteX91" fmla="*/ 1996998 w 5336589"/>
              <a:gd name="connsiteY91" fmla="*/ 1015807 h 3831857"/>
              <a:gd name="connsiteX92" fmla="*/ 1989166 w 5336589"/>
              <a:gd name="connsiteY92" fmla="*/ 1046705 h 3831857"/>
              <a:gd name="connsiteX93" fmla="*/ 1982356 w 5336589"/>
              <a:gd name="connsiteY93" fmla="*/ 1078290 h 3831857"/>
              <a:gd name="connsiteX94" fmla="*/ 1977249 w 5336589"/>
              <a:gd name="connsiteY94" fmla="*/ 1109875 h 3831857"/>
              <a:gd name="connsiteX95" fmla="*/ 1972822 w 5336589"/>
              <a:gd name="connsiteY95" fmla="*/ 1140430 h 3831857"/>
              <a:gd name="connsiteX96" fmla="*/ 1969417 w 5336589"/>
              <a:gd name="connsiteY96" fmla="*/ 1170642 h 3831857"/>
              <a:gd name="connsiteX97" fmla="*/ 1968055 w 5336589"/>
              <a:gd name="connsiteY97" fmla="*/ 1185404 h 3831857"/>
              <a:gd name="connsiteX98" fmla="*/ 1967033 w 5336589"/>
              <a:gd name="connsiteY98" fmla="*/ 1199480 h 3831857"/>
              <a:gd name="connsiteX99" fmla="*/ 1966012 w 5336589"/>
              <a:gd name="connsiteY99" fmla="*/ 1213556 h 3831857"/>
              <a:gd name="connsiteX100" fmla="*/ 1965331 w 5336589"/>
              <a:gd name="connsiteY100" fmla="*/ 1227288 h 3831857"/>
              <a:gd name="connsiteX101" fmla="*/ 1964650 w 5336589"/>
              <a:gd name="connsiteY101" fmla="*/ 1240334 h 3831857"/>
              <a:gd name="connsiteX102" fmla="*/ 1963969 w 5336589"/>
              <a:gd name="connsiteY102" fmla="*/ 1252693 h 3831857"/>
              <a:gd name="connsiteX103" fmla="*/ 1963628 w 5336589"/>
              <a:gd name="connsiteY103" fmla="*/ 1264709 h 3831857"/>
              <a:gd name="connsiteX104" fmla="*/ 1963288 w 5336589"/>
              <a:gd name="connsiteY104" fmla="*/ 1276039 h 3831857"/>
              <a:gd name="connsiteX105" fmla="*/ 1963288 w 5336589"/>
              <a:gd name="connsiteY105" fmla="*/ 1287025 h 3831857"/>
              <a:gd name="connsiteX106" fmla="*/ 1962947 w 5336589"/>
              <a:gd name="connsiteY106" fmla="*/ 1296638 h 3831857"/>
              <a:gd name="connsiteX107" fmla="*/ 1962947 w 5336589"/>
              <a:gd name="connsiteY107" fmla="*/ 1305907 h 3831857"/>
              <a:gd name="connsiteX108" fmla="*/ 1963288 w 5336589"/>
              <a:gd name="connsiteY108" fmla="*/ 1314490 h 3831857"/>
              <a:gd name="connsiteX109" fmla="*/ 1963288 w 5336589"/>
              <a:gd name="connsiteY109" fmla="*/ 1322386 h 3831857"/>
              <a:gd name="connsiteX110" fmla="*/ 1963288 w 5336589"/>
              <a:gd name="connsiteY110" fmla="*/ 1328909 h 3831857"/>
              <a:gd name="connsiteX111" fmla="*/ 1963288 w 5336589"/>
              <a:gd name="connsiteY111" fmla="*/ 1335089 h 3831857"/>
              <a:gd name="connsiteX112" fmla="*/ 1963628 w 5336589"/>
              <a:gd name="connsiteY112" fmla="*/ 1339895 h 3831857"/>
              <a:gd name="connsiteX113" fmla="*/ 1963628 w 5336589"/>
              <a:gd name="connsiteY113" fmla="*/ 1343671 h 3831857"/>
              <a:gd name="connsiteX114" fmla="*/ 1963969 w 5336589"/>
              <a:gd name="connsiteY114" fmla="*/ 1346761 h 3831857"/>
              <a:gd name="connsiteX115" fmla="*/ 1963969 w 5336589"/>
              <a:gd name="connsiteY115" fmla="*/ 1348135 h 3831857"/>
              <a:gd name="connsiteX116" fmla="*/ 1963969 w 5336589"/>
              <a:gd name="connsiteY116" fmla="*/ 1348821 h 3831857"/>
              <a:gd name="connsiteX117" fmla="*/ 1964309 w 5336589"/>
              <a:gd name="connsiteY117" fmla="*/ 1348135 h 3831857"/>
              <a:gd name="connsiteX118" fmla="*/ 1964309 w 5336589"/>
              <a:gd name="connsiteY118" fmla="*/ 1347105 h 3831857"/>
              <a:gd name="connsiteX119" fmla="*/ 1964650 w 5336589"/>
              <a:gd name="connsiteY119" fmla="*/ 1345731 h 3831857"/>
              <a:gd name="connsiteX120" fmla="*/ 1965331 w 5336589"/>
              <a:gd name="connsiteY120" fmla="*/ 1343671 h 3831857"/>
              <a:gd name="connsiteX121" fmla="*/ 1965671 w 5336589"/>
              <a:gd name="connsiteY121" fmla="*/ 1341612 h 3831857"/>
              <a:gd name="connsiteX122" fmla="*/ 1966352 w 5336589"/>
              <a:gd name="connsiteY122" fmla="*/ 1339208 h 3831857"/>
              <a:gd name="connsiteX123" fmla="*/ 1967033 w 5336589"/>
              <a:gd name="connsiteY123" fmla="*/ 1336119 h 3831857"/>
              <a:gd name="connsiteX124" fmla="*/ 1969076 w 5336589"/>
              <a:gd name="connsiteY124" fmla="*/ 1329252 h 3831857"/>
              <a:gd name="connsiteX125" fmla="*/ 1971119 w 5336589"/>
              <a:gd name="connsiteY125" fmla="*/ 1321699 h 3831857"/>
              <a:gd name="connsiteX126" fmla="*/ 1973844 w 5336589"/>
              <a:gd name="connsiteY126" fmla="*/ 1312430 h 3831857"/>
              <a:gd name="connsiteX127" fmla="*/ 1976568 w 5336589"/>
              <a:gd name="connsiteY127" fmla="*/ 1302131 h 3831857"/>
              <a:gd name="connsiteX128" fmla="*/ 1979632 w 5336589"/>
              <a:gd name="connsiteY128" fmla="*/ 1290801 h 3831857"/>
              <a:gd name="connsiteX129" fmla="*/ 1983037 w 5336589"/>
              <a:gd name="connsiteY129" fmla="*/ 1278442 h 3831857"/>
              <a:gd name="connsiteX130" fmla="*/ 1987123 w 5336589"/>
              <a:gd name="connsiteY130" fmla="*/ 1265739 h 3831857"/>
              <a:gd name="connsiteX131" fmla="*/ 1991209 w 5336589"/>
              <a:gd name="connsiteY131" fmla="*/ 1252007 h 3831857"/>
              <a:gd name="connsiteX132" fmla="*/ 1995636 w 5336589"/>
              <a:gd name="connsiteY132" fmla="*/ 1237244 h 3831857"/>
              <a:gd name="connsiteX133" fmla="*/ 2000403 w 5336589"/>
              <a:gd name="connsiteY133" fmla="*/ 1222482 h 3831857"/>
              <a:gd name="connsiteX134" fmla="*/ 2004830 w 5336589"/>
              <a:gd name="connsiteY134" fmla="*/ 1207033 h 3831857"/>
              <a:gd name="connsiteX135" fmla="*/ 2010278 w 5336589"/>
              <a:gd name="connsiteY135" fmla="*/ 1190897 h 3831857"/>
              <a:gd name="connsiteX136" fmla="*/ 2021174 w 5336589"/>
              <a:gd name="connsiteY136" fmla="*/ 1158626 h 3831857"/>
              <a:gd name="connsiteX137" fmla="*/ 2032752 w 5336589"/>
              <a:gd name="connsiteY137" fmla="*/ 1125324 h 3831857"/>
              <a:gd name="connsiteX138" fmla="*/ 2045010 w 5336589"/>
              <a:gd name="connsiteY138" fmla="*/ 1092366 h 3831857"/>
              <a:gd name="connsiteX139" fmla="*/ 2051479 w 5336589"/>
              <a:gd name="connsiteY139" fmla="*/ 1076230 h 3831857"/>
              <a:gd name="connsiteX140" fmla="*/ 2057609 w 5336589"/>
              <a:gd name="connsiteY140" fmla="*/ 1059751 h 3831857"/>
              <a:gd name="connsiteX141" fmla="*/ 2064419 w 5336589"/>
              <a:gd name="connsiteY141" fmla="*/ 1044302 h 3831857"/>
              <a:gd name="connsiteX142" fmla="*/ 2070888 w 5336589"/>
              <a:gd name="connsiteY142" fmla="*/ 1029540 h 3831857"/>
              <a:gd name="connsiteX143" fmla="*/ 2077699 w 5336589"/>
              <a:gd name="connsiteY143" fmla="*/ 1014434 h 3831857"/>
              <a:gd name="connsiteX144" fmla="*/ 2084849 w 5336589"/>
              <a:gd name="connsiteY144" fmla="*/ 1000701 h 3831857"/>
              <a:gd name="connsiteX145" fmla="*/ 2091319 w 5336589"/>
              <a:gd name="connsiteY145" fmla="*/ 987312 h 3831857"/>
              <a:gd name="connsiteX146" fmla="*/ 2098470 w 5336589"/>
              <a:gd name="connsiteY146" fmla="*/ 974953 h 3831857"/>
              <a:gd name="connsiteX147" fmla="*/ 2105620 w 5336589"/>
              <a:gd name="connsiteY147" fmla="*/ 963624 h 3831857"/>
              <a:gd name="connsiteX148" fmla="*/ 2112090 w 5336589"/>
              <a:gd name="connsiteY148" fmla="*/ 952981 h 3831857"/>
              <a:gd name="connsiteX149" fmla="*/ 2117198 w 5336589"/>
              <a:gd name="connsiteY149" fmla="*/ 945428 h 3831857"/>
              <a:gd name="connsiteX150" fmla="*/ 2121965 w 5336589"/>
              <a:gd name="connsiteY150" fmla="*/ 937875 h 3831857"/>
              <a:gd name="connsiteX151" fmla="*/ 2126732 w 5336589"/>
              <a:gd name="connsiteY151" fmla="*/ 930665 h 3831857"/>
              <a:gd name="connsiteX152" fmla="*/ 2131158 w 5336589"/>
              <a:gd name="connsiteY152" fmla="*/ 923799 h 3831857"/>
              <a:gd name="connsiteX153" fmla="*/ 2140012 w 5336589"/>
              <a:gd name="connsiteY153" fmla="*/ 911440 h 3831857"/>
              <a:gd name="connsiteX154" fmla="*/ 2148184 w 5336589"/>
              <a:gd name="connsiteY154" fmla="*/ 900454 h 3831857"/>
              <a:gd name="connsiteX155" fmla="*/ 2155335 w 5336589"/>
              <a:gd name="connsiteY155" fmla="*/ 890498 h 3831857"/>
              <a:gd name="connsiteX156" fmla="*/ 2162485 w 5336589"/>
              <a:gd name="connsiteY156" fmla="*/ 881572 h 3831857"/>
              <a:gd name="connsiteX157" fmla="*/ 2168614 w 5336589"/>
              <a:gd name="connsiteY157" fmla="*/ 874019 h 3831857"/>
              <a:gd name="connsiteX158" fmla="*/ 2174744 w 5336589"/>
              <a:gd name="connsiteY158" fmla="*/ 867496 h 3831857"/>
              <a:gd name="connsiteX159" fmla="*/ 2179511 w 5336589"/>
              <a:gd name="connsiteY159" fmla="*/ 862003 h 3831857"/>
              <a:gd name="connsiteX160" fmla="*/ 2184278 w 5336589"/>
              <a:gd name="connsiteY160" fmla="*/ 857196 h 3831857"/>
              <a:gd name="connsiteX161" fmla="*/ 2188023 w 5336589"/>
              <a:gd name="connsiteY161" fmla="*/ 853763 h 3831857"/>
              <a:gd name="connsiteX162" fmla="*/ 2191429 w 5336589"/>
              <a:gd name="connsiteY162" fmla="*/ 851017 h 3831857"/>
              <a:gd name="connsiteX163" fmla="*/ 2194153 w 5336589"/>
              <a:gd name="connsiteY163" fmla="*/ 848614 h 3831857"/>
              <a:gd name="connsiteX164" fmla="*/ 2195855 w 5336589"/>
              <a:gd name="connsiteY164" fmla="*/ 846897 h 3831857"/>
              <a:gd name="connsiteX165" fmla="*/ 2196877 w 5336589"/>
              <a:gd name="connsiteY165" fmla="*/ 846210 h 3831857"/>
              <a:gd name="connsiteX166" fmla="*/ 2197217 w 5336589"/>
              <a:gd name="connsiteY166" fmla="*/ 845867 h 3831857"/>
              <a:gd name="connsiteX167" fmla="*/ 2196877 w 5336589"/>
              <a:gd name="connsiteY167" fmla="*/ 846554 h 3831857"/>
              <a:gd name="connsiteX168" fmla="*/ 2196196 w 5336589"/>
              <a:gd name="connsiteY168" fmla="*/ 848270 h 3831857"/>
              <a:gd name="connsiteX169" fmla="*/ 2195515 w 5336589"/>
              <a:gd name="connsiteY169" fmla="*/ 851360 h 3831857"/>
              <a:gd name="connsiteX170" fmla="*/ 2194153 w 5336589"/>
              <a:gd name="connsiteY170" fmla="*/ 855137 h 3831857"/>
              <a:gd name="connsiteX171" fmla="*/ 2192791 w 5336589"/>
              <a:gd name="connsiteY171" fmla="*/ 859600 h 3831857"/>
              <a:gd name="connsiteX172" fmla="*/ 2191088 w 5336589"/>
              <a:gd name="connsiteY172" fmla="*/ 865436 h 3831857"/>
              <a:gd name="connsiteX173" fmla="*/ 2189385 w 5336589"/>
              <a:gd name="connsiteY173" fmla="*/ 871272 h 3831857"/>
              <a:gd name="connsiteX174" fmla="*/ 2188023 w 5336589"/>
              <a:gd name="connsiteY174" fmla="*/ 878139 h 3831857"/>
              <a:gd name="connsiteX175" fmla="*/ 2186661 w 5336589"/>
              <a:gd name="connsiteY175" fmla="*/ 885691 h 3831857"/>
              <a:gd name="connsiteX176" fmla="*/ 2185299 w 5336589"/>
              <a:gd name="connsiteY176" fmla="*/ 892901 h 3831857"/>
              <a:gd name="connsiteX177" fmla="*/ 2184278 w 5336589"/>
              <a:gd name="connsiteY177" fmla="*/ 901141 h 3831857"/>
              <a:gd name="connsiteX178" fmla="*/ 2183937 w 5336589"/>
              <a:gd name="connsiteY178" fmla="*/ 909380 h 3831857"/>
              <a:gd name="connsiteX179" fmla="*/ 2183597 w 5336589"/>
              <a:gd name="connsiteY179" fmla="*/ 917620 h 3831857"/>
              <a:gd name="connsiteX180" fmla="*/ 2183937 w 5336589"/>
              <a:gd name="connsiteY180" fmla="*/ 925859 h 3831857"/>
              <a:gd name="connsiteX181" fmla="*/ 2184959 w 5336589"/>
              <a:gd name="connsiteY181" fmla="*/ 934442 h 3831857"/>
              <a:gd name="connsiteX182" fmla="*/ 2186661 w 5336589"/>
              <a:gd name="connsiteY182" fmla="*/ 942338 h 3831857"/>
              <a:gd name="connsiteX183" fmla="*/ 2188704 w 5336589"/>
              <a:gd name="connsiteY183" fmla="*/ 960190 h 3831857"/>
              <a:gd name="connsiteX184" fmla="*/ 2191769 w 5336589"/>
              <a:gd name="connsiteY184" fmla="*/ 977356 h 3831857"/>
              <a:gd name="connsiteX185" fmla="*/ 2194493 w 5336589"/>
              <a:gd name="connsiteY185" fmla="*/ 993835 h 3831857"/>
              <a:gd name="connsiteX186" fmla="*/ 2197558 w 5336589"/>
              <a:gd name="connsiteY186" fmla="*/ 1009628 h 3831857"/>
              <a:gd name="connsiteX187" fmla="*/ 2200963 w 5336589"/>
              <a:gd name="connsiteY187" fmla="*/ 1024733 h 3831857"/>
              <a:gd name="connsiteX188" fmla="*/ 2204708 w 5336589"/>
              <a:gd name="connsiteY188" fmla="*/ 1038809 h 3831857"/>
              <a:gd name="connsiteX189" fmla="*/ 2208113 w 5336589"/>
              <a:gd name="connsiteY189" fmla="*/ 1052198 h 3831857"/>
              <a:gd name="connsiteX190" fmla="*/ 2211859 w 5336589"/>
              <a:gd name="connsiteY190" fmla="*/ 1064214 h 3831857"/>
              <a:gd name="connsiteX191" fmla="*/ 2215264 w 5336589"/>
              <a:gd name="connsiteY191" fmla="*/ 1075200 h 3831857"/>
              <a:gd name="connsiteX192" fmla="*/ 2218329 w 5336589"/>
              <a:gd name="connsiteY192" fmla="*/ 1084470 h 3831857"/>
              <a:gd name="connsiteX193" fmla="*/ 2221393 w 5336589"/>
              <a:gd name="connsiteY193" fmla="*/ 1093053 h 3831857"/>
              <a:gd name="connsiteX194" fmla="*/ 2222415 w 5336589"/>
              <a:gd name="connsiteY194" fmla="*/ 1096829 h 3831857"/>
              <a:gd name="connsiteX195" fmla="*/ 2224117 w 5336589"/>
              <a:gd name="connsiteY195" fmla="*/ 1100262 h 3831857"/>
              <a:gd name="connsiteX196" fmla="*/ 2225139 w 5336589"/>
              <a:gd name="connsiteY196" fmla="*/ 1103352 h 3831857"/>
              <a:gd name="connsiteX197" fmla="*/ 2226160 w 5336589"/>
              <a:gd name="connsiteY197" fmla="*/ 1105755 h 3831857"/>
              <a:gd name="connsiteX198" fmla="*/ 2227182 w 5336589"/>
              <a:gd name="connsiteY198" fmla="*/ 1108158 h 3831857"/>
              <a:gd name="connsiteX199" fmla="*/ 2227863 w 5336589"/>
              <a:gd name="connsiteY199" fmla="*/ 1110218 h 3831857"/>
              <a:gd name="connsiteX200" fmla="*/ 2228203 w 5336589"/>
              <a:gd name="connsiteY200" fmla="*/ 1111592 h 3831857"/>
              <a:gd name="connsiteX201" fmla="*/ 2228884 w 5336589"/>
              <a:gd name="connsiteY201" fmla="*/ 1112622 h 3831857"/>
              <a:gd name="connsiteX202" fmla="*/ 2228884 w 5336589"/>
              <a:gd name="connsiteY202" fmla="*/ 1113308 h 3831857"/>
              <a:gd name="connsiteX203" fmla="*/ 2229225 w 5336589"/>
              <a:gd name="connsiteY203" fmla="*/ 1113651 h 3831857"/>
              <a:gd name="connsiteX204" fmla="*/ 2229225 w 5336589"/>
              <a:gd name="connsiteY204" fmla="*/ 1112965 h 3831857"/>
              <a:gd name="connsiteX205" fmla="*/ 2229225 w 5336589"/>
              <a:gd name="connsiteY205" fmla="*/ 1111248 h 3831857"/>
              <a:gd name="connsiteX206" fmla="*/ 2229565 w 5336589"/>
              <a:gd name="connsiteY206" fmla="*/ 1108158 h 3831857"/>
              <a:gd name="connsiteX207" fmla="*/ 2229565 w 5336589"/>
              <a:gd name="connsiteY207" fmla="*/ 1104382 h 3831857"/>
              <a:gd name="connsiteX208" fmla="*/ 2229906 w 5336589"/>
              <a:gd name="connsiteY208" fmla="*/ 1099919 h 3831857"/>
              <a:gd name="connsiteX209" fmla="*/ 2230587 w 5336589"/>
              <a:gd name="connsiteY209" fmla="*/ 1094083 h 3831857"/>
              <a:gd name="connsiteX210" fmla="*/ 2231268 w 5336589"/>
              <a:gd name="connsiteY210" fmla="*/ 1087560 h 3831857"/>
              <a:gd name="connsiteX211" fmla="*/ 2231949 w 5336589"/>
              <a:gd name="connsiteY211" fmla="*/ 1080350 h 3831857"/>
              <a:gd name="connsiteX212" fmla="*/ 2232630 w 5336589"/>
              <a:gd name="connsiteY212" fmla="*/ 1072111 h 3831857"/>
              <a:gd name="connsiteX213" fmla="*/ 2233652 w 5336589"/>
              <a:gd name="connsiteY213" fmla="*/ 1063528 h 3831857"/>
              <a:gd name="connsiteX214" fmla="*/ 2235014 w 5336589"/>
              <a:gd name="connsiteY214" fmla="*/ 1054258 h 3831857"/>
              <a:gd name="connsiteX215" fmla="*/ 2236376 w 5336589"/>
              <a:gd name="connsiteY215" fmla="*/ 1043959 h 3831857"/>
              <a:gd name="connsiteX216" fmla="*/ 2238078 w 5336589"/>
              <a:gd name="connsiteY216" fmla="*/ 1033659 h 3831857"/>
              <a:gd name="connsiteX217" fmla="*/ 2239781 w 5336589"/>
              <a:gd name="connsiteY217" fmla="*/ 1022673 h 3831857"/>
              <a:gd name="connsiteX218" fmla="*/ 2241483 w 5336589"/>
              <a:gd name="connsiteY218" fmla="*/ 1011344 h 3831857"/>
              <a:gd name="connsiteX219" fmla="*/ 2243526 w 5336589"/>
              <a:gd name="connsiteY219" fmla="*/ 999671 h 3831857"/>
              <a:gd name="connsiteX220" fmla="*/ 2248634 w 5336589"/>
              <a:gd name="connsiteY220" fmla="*/ 975640 h 3831857"/>
              <a:gd name="connsiteX221" fmla="*/ 2254423 w 5336589"/>
              <a:gd name="connsiteY221" fmla="*/ 950921 h 3831857"/>
              <a:gd name="connsiteX222" fmla="*/ 2261233 w 5336589"/>
              <a:gd name="connsiteY222" fmla="*/ 926202 h 3831857"/>
              <a:gd name="connsiteX223" fmla="*/ 2269405 w 5336589"/>
              <a:gd name="connsiteY223" fmla="*/ 901484 h 3831857"/>
              <a:gd name="connsiteX224" fmla="*/ 2278599 w 5336589"/>
              <a:gd name="connsiteY224" fmla="*/ 877452 h 3831857"/>
              <a:gd name="connsiteX225" fmla="*/ 2283706 w 5336589"/>
              <a:gd name="connsiteY225" fmla="*/ 865779 h 3831857"/>
              <a:gd name="connsiteX226" fmla="*/ 2289154 w 5336589"/>
              <a:gd name="connsiteY226" fmla="*/ 854450 h 3831857"/>
              <a:gd name="connsiteX227" fmla="*/ 2294603 w 5336589"/>
              <a:gd name="connsiteY227" fmla="*/ 843464 h 3831857"/>
              <a:gd name="connsiteX228" fmla="*/ 2301072 w 5336589"/>
              <a:gd name="connsiteY228" fmla="*/ 833164 h 3831857"/>
              <a:gd name="connsiteX229" fmla="*/ 2307201 w 5336589"/>
              <a:gd name="connsiteY229" fmla="*/ 823208 h 3831857"/>
              <a:gd name="connsiteX230" fmla="*/ 2314012 w 5336589"/>
              <a:gd name="connsiteY230" fmla="*/ 813939 h 3831857"/>
              <a:gd name="connsiteX231" fmla="*/ 2322184 w 5336589"/>
              <a:gd name="connsiteY231" fmla="*/ 804326 h 3831857"/>
              <a:gd name="connsiteX232" fmla="*/ 2330697 w 5336589"/>
              <a:gd name="connsiteY232" fmla="*/ 795057 h 3831857"/>
              <a:gd name="connsiteX233" fmla="*/ 2339890 w 5336589"/>
              <a:gd name="connsiteY233" fmla="*/ 786131 h 3831857"/>
              <a:gd name="connsiteX234" fmla="*/ 2349765 w 5336589"/>
              <a:gd name="connsiteY234" fmla="*/ 777548 h 3831857"/>
              <a:gd name="connsiteX235" fmla="*/ 2359640 w 5336589"/>
              <a:gd name="connsiteY235" fmla="*/ 769995 h 3831857"/>
              <a:gd name="connsiteX236" fmla="*/ 2370196 w 5336589"/>
              <a:gd name="connsiteY236" fmla="*/ 762099 h 3831857"/>
              <a:gd name="connsiteX237" fmla="*/ 2381092 w 5336589"/>
              <a:gd name="connsiteY237" fmla="*/ 754889 h 3831857"/>
              <a:gd name="connsiteX238" fmla="*/ 2392329 w 5336589"/>
              <a:gd name="connsiteY238" fmla="*/ 748366 h 3831857"/>
              <a:gd name="connsiteX239" fmla="*/ 2403906 w 5336589"/>
              <a:gd name="connsiteY239" fmla="*/ 741843 h 3831857"/>
              <a:gd name="connsiteX240" fmla="*/ 2415824 w 5336589"/>
              <a:gd name="connsiteY240" fmla="*/ 736007 h 3831857"/>
              <a:gd name="connsiteX241" fmla="*/ 2440681 w 5336589"/>
              <a:gd name="connsiteY241" fmla="*/ 725021 h 3831857"/>
              <a:gd name="connsiteX242" fmla="*/ 2467240 w 5336589"/>
              <a:gd name="connsiteY242" fmla="*/ 715408 h 3831857"/>
              <a:gd name="connsiteX243" fmla="*/ 2494141 w 5336589"/>
              <a:gd name="connsiteY243" fmla="*/ 706825 h 3831857"/>
              <a:gd name="connsiteX244" fmla="*/ 2508783 w 5336589"/>
              <a:gd name="connsiteY244" fmla="*/ 702362 h 3831857"/>
              <a:gd name="connsiteX245" fmla="*/ 2523424 w 5336589"/>
              <a:gd name="connsiteY245" fmla="*/ 697212 h 3831857"/>
              <a:gd name="connsiteX246" fmla="*/ 2538407 w 5336589"/>
              <a:gd name="connsiteY246" fmla="*/ 691033 h 3831857"/>
              <a:gd name="connsiteX247" fmla="*/ 2554070 w 5336589"/>
              <a:gd name="connsiteY247" fmla="*/ 684510 h 3831857"/>
              <a:gd name="connsiteX248" fmla="*/ 2569053 w 5336589"/>
              <a:gd name="connsiteY248" fmla="*/ 677643 h 3831857"/>
              <a:gd name="connsiteX249" fmla="*/ 2584375 w 5336589"/>
              <a:gd name="connsiteY249" fmla="*/ 670434 h 3831857"/>
              <a:gd name="connsiteX250" fmla="*/ 2598677 w 5336589"/>
              <a:gd name="connsiteY250" fmla="*/ 663224 h 3831857"/>
              <a:gd name="connsiteX251" fmla="*/ 2612297 w 5336589"/>
              <a:gd name="connsiteY251" fmla="*/ 656015 h 3831857"/>
              <a:gd name="connsiteX252" fmla="*/ 2625236 w 5336589"/>
              <a:gd name="connsiteY252" fmla="*/ 649149 h 3831857"/>
              <a:gd name="connsiteX253" fmla="*/ 2637495 w 5336589"/>
              <a:gd name="connsiteY253" fmla="*/ 642969 h 3831857"/>
              <a:gd name="connsiteX254" fmla="*/ 2642602 w 5336589"/>
              <a:gd name="connsiteY254" fmla="*/ 639879 h 3831857"/>
              <a:gd name="connsiteX255" fmla="*/ 2648051 w 5336589"/>
              <a:gd name="connsiteY255" fmla="*/ 636789 h 3831857"/>
              <a:gd name="connsiteX256" fmla="*/ 2652818 w 5336589"/>
              <a:gd name="connsiteY256" fmla="*/ 634043 h 3831857"/>
              <a:gd name="connsiteX257" fmla="*/ 2656904 w 5336589"/>
              <a:gd name="connsiteY257" fmla="*/ 631639 h 3831857"/>
              <a:gd name="connsiteX258" fmla="*/ 2660990 w 5336589"/>
              <a:gd name="connsiteY258" fmla="*/ 629580 h 3831857"/>
              <a:gd name="connsiteX259" fmla="*/ 2664395 w 5336589"/>
              <a:gd name="connsiteY259" fmla="*/ 627520 h 3831857"/>
              <a:gd name="connsiteX260" fmla="*/ 2667460 w 5336589"/>
              <a:gd name="connsiteY260" fmla="*/ 625460 h 3831857"/>
              <a:gd name="connsiteX261" fmla="*/ 2670184 w 5336589"/>
              <a:gd name="connsiteY261" fmla="*/ 624087 h 3831857"/>
              <a:gd name="connsiteX262" fmla="*/ 2672227 w 5336589"/>
              <a:gd name="connsiteY262" fmla="*/ 622713 h 3831857"/>
              <a:gd name="connsiteX263" fmla="*/ 2673589 w 5336589"/>
              <a:gd name="connsiteY263" fmla="*/ 622027 h 3831857"/>
              <a:gd name="connsiteX264" fmla="*/ 5059675 w 5336589"/>
              <a:gd name="connsiteY264" fmla="*/ 226079 h 3831857"/>
              <a:gd name="connsiteX265" fmla="*/ 4892564 w 5336589"/>
              <a:gd name="connsiteY265" fmla="*/ 394121 h 3831857"/>
              <a:gd name="connsiteX266" fmla="*/ 4690898 w 5336589"/>
              <a:gd name="connsiteY266" fmla="*/ 514113 h 3831857"/>
              <a:gd name="connsiteX267" fmla="*/ 4911291 w 5336589"/>
              <a:gd name="connsiteY267" fmla="*/ 478060 h 3831857"/>
              <a:gd name="connsiteX268" fmla="*/ 5059675 w 5336589"/>
              <a:gd name="connsiteY268" fmla="*/ 226079 h 3831857"/>
              <a:gd name="connsiteX269" fmla="*/ 3210329 w 5336589"/>
              <a:gd name="connsiteY269" fmla="*/ 56 h 3831857"/>
              <a:gd name="connsiteX270" fmla="*/ 3977240 w 5336589"/>
              <a:gd name="connsiteY270" fmla="*/ 469886 h 3831857"/>
              <a:gd name="connsiteX271" fmla="*/ 3837379 w 5336589"/>
              <a:gd name="connsiteY271" fmla="*/ 513025 h 3831857"/>
              <a:gd name="connsiteX272" fmla="*/ 3837216 w 5336589"/>
              <a:gd name="connsiteY272" fmla="*/ 513453 h 3831857"/>
              <a:gd name="connsiteX273" fmla="*/ 3857107 w 5336589"/>
              <a:gd name="connsiteY273" fmla="*/ 514512 h 3831857"/>
              <a:gd name="connsiteX274" fmla="*/ 4072498 w 5336589"/>
              <a:gd name="connsiteY274" fmla="*/ 540924 h 3831857"/>
              <a:gd name="connsiteX275" fmla="*/ 4279160 w 5336589"/>
              <a:gd name="connsiteY275" fmla="*/ 804094 h 3831857"/>
              <a:gd name="connsiteX276" fmla="*/ 4075728 w 5336589"/>
              <a:gd name="connsiteY276" fmla="*/ 850916 h 3831857"/>
              <a:gd name="connsiteX277" fmla="*/ 4033634 w 5336589"/>
              <a:gd name="connsiteY277" fmla="*/ 863267 h 3831857"/>
              <a:gd name="connsiteX278" fmla="*/ 4005556 w 5336589"/>
              <a:gd name="connsiteY278" fmla="*/ 873348 h 3831857"/>
              <a:gd name="connsiteX279" fmla="*/ 4039703 w 5336589"/>
              <a:gd name="connsiteY279" fmla="*/ 873116 h 3831857"/>
              <a:gd name="connsiteX280" fmla="*/ 4162913 w 5336589"/>
              <a:gd name="connsiteY280" fmla="*/ 930029 h 3831857"/>
              <a:gd name="connsiteX281" fmla="*/ 4101560 w 5336589"/>
              <a:gd name="connsiteY281" fmla="*/ 1070494 h 3831857"/>
              <a:gd name="connsiteX282" fmla="*/ 4314680 w 5336589"/>
              <a:gd name="connsiteY282" fmla="*/ 1072108 h 3831857"/>
              <a:gd name="connsiteX283" fmla="*/ 4290462 w 5336589"/>
              <a:gd name="connsiteY283" fmla="*/ 1261010 h 3831857"/>
              <a:gd name="connsiteX284" fmla="*/ 4518113 w 5336589"/>
              <a:gd name="connsiteY284" fmla="*/ 1217417 h 3831857"/>
              <a:gd name="connsiteX285" fmla="*/ 4459762 w 5336589"/>
              <a:gd name="connsiteY285" fmla="*/ 1562828 h 3831857"/>
              <a:gd name="connsiteX286" fmla="*/ 4454121 w 5336589"/>
              <a:gd name="connsiteY286" fmla="*/ 1573706 h 3831857"/>
              <a:gd name="connsiteX287" fmla="*/ 4480917 w 5336589"/>
              <a:gd name="connsiteY287" fmla="*/ 1552564 h 3831857"/>
              <a:gd name="connsiteX288" fmla="*/ 4634362 w 5336589"/>
              <a:gd name="connsiteY288" fmla="*/ 452124 h 3831857"/>
              <a:gd name="connsiteX289" fmla="*/ 4879773 w 5336589"/>
              <a:gd name="connsiteY289" fmla="*/ 327805 h 3831857"/>
              <a:gd name="connsiteX290" fmla="*/ 5047686 w 5336589"/>
              <a:gd name="connsiteY290" fmla="*/ 134060 h 3831857"/>
              <a:gd name="connsiteX291" fmla="*/ 4832951 w 5336589"/>
              <a:gd name="connsiteY291" fmla="*/ 2253951 h 3831857"/>
              <a:gd name="connsiteX292" fmla="*/ 3533920 w 5336589"/>
              <a:gd name="connsiteY292" fmla="*/ 1925500 h 3831857"/>
              <a:gd name="connsiteX293" fmla="*/ 3502202 w 5336589"/>
              <a:gd name="connsiteY293" fmla="*/ 1890933 h 3831857"/>
              <a:gd name="connsiteX294" fmla="*/ 3485470 w 5336589"/>
              <a:gd name="connsiteY294" fmla="*/ 1977379 h 3831857"/>
              <a:gd name="connsiteX295" fmla="*/ 3988542 w 5336589"/>
              <a:gd name="connsiteY295" fmla="*/ 2378272 h 3831857"/>
              <a:gd name="connsiteX296" fmla="*/ 4048279 w 5336589"/>
              <a:gd name="connsiteY296" fmla="*/ 2383116 h 3831857"/>
              <a:gd name="connsiteX297" fmla="*/ 3668861 w 5336589"/>
              <a:gd name="connsiteY297" fmla="*/ 2715711 h 3831857"/>
              <a:gd name="connsiteX298" fmla="*/ 3282985 w 5336589"/>
              <a:gd name="connsiteY298" fmla="*/ 2454156 h 3831857"/>
              <a:gd name="connsiteX299" fmla="*/ 2936059 w 5336589"/>
              <a:gd name="connsiteY299" fmla="*/ 2262076 h 3831857"/>
              <a:gd name="connsiteX300" fmla="*/ 2888664 w 5336589"/>
              <a:gd name="connsiteY300" fmla="*/ 2232241 h 3831857"/>
              <a:gd name="connsiteX301" fmla="*/ 2892176 w 5336589"/>
              <a:gd name="connsiteY301" fmla="*/ 2241439 h 3831857"/>
              <a:gd name="connsiteX302" fmla="*/ 3197413 w 5336589"/>
              <a:gd name="connsiteY302" fmla="*/ 2572016 h 3831857"/>
              <a:gd name="connsiteX303" fmla="*/ 2851900 w 5336589"/>
              <a:gd name="connsiteY303" fmla="*/ 3329236 h 3831857"/>
              <a:gd name="connsiteX304" fmla="*/ 2217382 w 5336589"/>
              <a:gd name="connsiteY304" fmla="*/ 3831358 h 3831857"/>
              <a:gd name="connsiteX305" fmla="*/ 1875099 w 5336589"/>
              <a:gd name="connsiteY305" fmla="*/ 3416420 h 3831857"/>
              <a:gd name="connsiteX306" fmla="*/ 2183477 w 5336589"/>
              <a:gd name="connsiteY306" fmla="*/ 3187156 h 3831857"/>
              <a:gd name="connsiteX307" fmla="*/ 2167331 w 5336589"/>
              <a:gd name="connsiteY307" fmla="*/ 2938517 h 3831857"/>
              <a:gd name="connsiteX308" fmla="*/ 1454676 w 5336589"/>
              <a:gd name="connsiteY308" fmla="*/ 2978382 h 3831857"/>
              <a:gd name="connsiteX309" fmla="*/ 1425919 w 5336589"/>
              <a:gd name="connsiteY309" fmla="*/ 2944899 h 3831857"/>
              <a:gd name="connsiteX310" fmla="*/ 1429686 w 5336589"/>
              <a:gd name="connsiteY310" fmla="*/ 3047700 h 3831857"/>
              <a:gd name="connsiteX311" fmla="*/ 1424641 w 5336589"/>
              <a:gd name="connsiteY311" fmla="*/ 3321163 h 3831857"/>
              <a:gd name="connsiteX312" fmla="*/ 1305164 w 5336589"/>
              <a:gd name="connsiteY312" fmla="*/ 3577875 h 3831857"/>
              <a:gd name="connsiteX313" fmla="*/ 1284175 w 5336589"/>
              <a:gd name="connsiteY313" fmla="*/ 3774849 h 3831857"/>
              <a:gd name="connsiteX314" fmla="*/ 665804 w 5336589"/>
              <a:gd name="connsiteY314" fmla="*/ 3655372 h 3831857"/>
              <a:gd name="connsiteX315" fmla="*/ 725542 w 5336589"/>
              <a:gd name="connsiteY315" fmla="*/ 3450326 h 3831857"/>
              <a:gd name="connsiteX316" fmla="*/ 750895 w 5336589"/>
              <a:gd name="connsiteY316" fmla="*/ 3207010 h 3831857"/>
              <a:gd name="connsiteX317" fmla="*/ 751509 w 5336589"/>
              <a:gd name="connsiteY317" fmla="*/ 3191301 h 3831857"/>
              <a:gd name="connsiteX318" fmla="*/ 734096 w 5336589"/>
              <a:gd name="connsiteY318" fmla="*/ 3157825 h 3831857"/>
              <a:gd name="connsiteX319" fmla="*/ 404246 w 5336589"/>
              <a:gd name="connsiteY319" fmla="*/ 1879378 h 3831857"/>
              <a:gd name="connsiteX320" fmla="*/ 50283 w 5336589"/>
              <a:gd name="connsiteY320" fmla="*/ 1628721 h 3831857"/>
              <a:gd name="connsiteX321" fmla="*/ 48072 w 5336589"/>
              <a:gd name="connsiteY321" fmla="*/ 1607470 h 3831857"/>
              <a:gd name="connsiteX322" fmla="*/ 33171 w 5336589"/>
              <a:gd name="connsiteY322" fmla="*/ 1600317 h 3831857"/>
              <a:gd name="connsiteX323" fmla="*/ 216958 w 5336589"/>
              <a:gd name="connsiteY323" fmla="*/ 1233562 h 3831857"/>
              <a:gd name="connsiteX324" fmla="*/ 145882 w 5336589"/>
              <a:gd name="connsiteY324" fmla="*/ 1591444 h 3831857"/>
              <a:gd name="connsiteX325" fmla="*/ 126829 w 5336589"/>
              <a:gd name="connsiteY325" fmla="*/ 1602136 h 3831857"/>
              <a:gd name="connsiteX326" fmla="*/ 191997 w 5336589"/>
              <a:gd name="connsiteY326" fmla="*/ 1660810 h 3831857"/>
              <a:gd name="connsiteX327" fmla="*/ 1631301 w 5336589"/>
              <a:gd name="connsiteY327" fmla="*/ 808937 h 3831857"/>
              <a:gd name="connsiteX328" fmla="*/ 1087199 w 5336589"/>
              <a:gd name="connsiteY328" fmla="*/ 1638812 h 3831857"/>
              <a:gd name="connsiteX329" fmla="*/ 1393964 w 5336589"/>
              <a:gd name="connsiteY329" fmla="*/ 2124788 h 3831857"/>
              <a:gd name="connsiteX330" fmla="*/ 1284667 w 5336589"/>
              <a:gd name="connsiteY330" fmla="*/ 2283076 h 3831857"/>
              <a:gd name="connsiteX331" fmla="*/ 1253706 w 5336589"/>
              <a:gd name="connsiteY331" fmla="*/ 2334812 h 3831857"/>
              <a:gd name="connsiteX332" fmla="*/ 1261937 w 5336589"/>
              <a:gd name="connsiteY332" fmla="*/ 2345475 h 3831857"/>
              <a:gd name="connsiteX333" fmla="*/ 1663592 w 5336589"/>
              <a:gd name="connsiteY333" fmla="*/ 2664045 h 3831857"/>
              <a:gd name="connsiteX334" fmla="*/ 2368873 w 5336589"/>
              <a:gd name="connsiteY334" fmla="*/ 2377439 h 3831857"/>
              <a:gd name="connsiteX335" fmla="*/ 2379579 w 5336589"/>
              <a:gd name="connsiteY335" fmla="*/ 2376508 h 3831857"/>
              <a:gd name="connsiteX336" fmla="*/ 2397307 w 5336589"/>
              <a:gd name="connsiteY336" fmla="*/ 2372375 h 3831857"/>
              <a:gd name="connsiteX337" fmla="*/ 2519040 w 5336589"/>
              <a:gd name="connsiteY337" fmla="*/ 2376501 h 3831857"/>
              <a:gd name="connsiteX338" fmla="*/ 2532815 w 5336589"/>
              <a:gd name="connsiteY338" fmla="*/ 2379692 h 3831857"/>
              <a:gd name="connsiteX339" fmla="*/ 2581963 w 5336589"/>
              <a:gd name="connsiteY339" fmla="*/ 2387364 h 3831857"/>
              <a:gd name="connsiteX340" fmla="*/ 2629946 w 5336589"/>
              <a:gd name="connsiteY340" fmla="*/ 2399633 h 3831857"/>
              <a:gd name="connsiteX341" fmla="*/ 2667842 w 5336589"/>
              <a:gd name="connsiteY341" fmla="*/ 2405842 h 3831857"/>
              <a:gd name="connsiteX342" fmla="*/ 2654801 w 5336589"/>
              <a:gd name="connsiteY342" fmla="*/ 1005291 h 3831857"/>
              <a:gd name="connsiteX343" fmla="*/ 2542653 w 5336589"/>
              <a:gd name="connsiteY343" fmla="*/ 2246748 h 3831857"/>
              <a:gd name="connsiteX344" fmla="*/ 2229679 w 5336589"/>
              <a:gd name="connsiteY344" fmla="*/ 2278045 h 3831857"/>
              <a:gd name="connsiteX345" fmla="*/ 1741465 w 5336589"/>
              <a:gd name="connsiteY345" fmla="*/ 2519729 h 3831857"/>
              <a:gd name="connsiteX346" fmla="*/ 1455068 w 5336589"/>
              <a:gd name="connsiteY346" fmla="*/ 2351072 h 3831857"/>
              <a:gd name="connsiteX347" fmla="*/ 1760218 w 5336589"/>
              <a:gd name="connsiteY347" fmla="*/ 1719911 h 3831857"/>
              <a:gd name="connsiteX348" fmla="*/ 1499406 w 5336589"/>
              <a:gd name="connsiteY348" fmla="*/ 2017234 h 3831857"/>
              <a:gd name="connsiteX349" fmla="*/ 1248034 w 5336589"/>
              <a:gd name="connsiteY349" fmla="*/ 1619686 h 3831857"/>
              <a:gd name="connsiteX350" fmla="*/ 2083625 w 5336589"/>
              <a:gd name="connsiteY350" fmla="*/ 535832 h 3831857"/>
              <a:gd name="connsiteX351" fmla="*/ 2525883 w 5336589"/>
              <a:gd name="connsiteY351" fmla="*/ 443835 h 3831857"/>
              <a:gd name="connsiteX352" fmla="*/ 2569214 w 5336589"/>
              <a:gd name="connsiteY352" fmla="*/ 432048 h 3831857"/>
              <a:gd name="connsiteX353" fmla="*/ 2558835 w 5336589"/>
              <a:gd name="connsiteY353" fmla="*/ 430557 h 3831857"/>
              <a:gd name="connsiteX354" fmla="*/ 2302954 w 5336589"/>
              <a:gd name="connsiteY354" fmla="*/ 424679 h 3831857"/>
              <a:gd name="connsiteX355" fmla="*/ 3210329 w 5336589"/>
              <a:gd name="connsiteY355" fmla="*/ 56 h 3831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5336589" h="3831857">
                <a:moveTo>
                  <a:pt x="3221632" y="2948204"/>
                </a:moveTo>
                <a:cubicBezTo>
                  <a:pt x="3280831" y="3014939"/>
                  <a:pt x="3340301" y="3155943"/>
                  <a:pt x="3360482" y="3245280"/>
                </a:cubicBezTo>
                <a:cubicBezTo>
                  <a:pt x="3380664" y="3334618"/>
                  <a:pt x="3328729" y="3417497"/>
                  <a:pt x="3342722" y="3484231"/>
                </a:cubicBezTo>
                <a:cubicBezTo>
                  <a:pt x="3370169" y="3545045"/>
                  <a:pt x="3413764" y="3592944"/>
                  <a:pt x="3396003" y="3655372"/>
                </a:cubicBezTo>
                <a:cubicBezTo>
                  <a:pt x="3369633" y="3746055"/>
                  <a:pt x="3197951" y="3719416"/>
                  <a:pt x="3098926" y="3719954"/>
                </a:cubicBezTo>
                <a:cubicBezTo>
                  <a:pt x="2999901" y="3720493"/>
                  <a:pt x="2777093" y="3791532"/>
                  <a:pt x="2801850" y="3658602"/>
                </a:cubicBezTo>
                <a:cubicBezTo>
                  <a:pt x="3046722" y="3476697"/>
                  <a:pt x="3139828" y="3272188"/>
                  <a:pt x="3221632" y="2948204"/>
                </a:cubicBezTo>
                <a:close/>
                <a:moveTo>
                  <a:pt x="325133" y="2651130"/>
                </a:moveTo>
                <a:cubicBezTo>
                  <a:pt x="421467" y="2964889"/>
                  <a:pt x="482283" y="3070372"/>
                  <a:pt x="628668" y="3277571"/>
                </a:cubicBezTo>
                <a:cubicBezTo>
                  <a:pt x="582922" y="3355608"/>
                  <a:pt x="572696" y="3411038"/>
                  <a:pt x="467213" y="3408348"/>
                </a:cubicBezTo>
                <a:cubicBezTo>
                  <a:pt x="339663" y="3396510"/>
                  <a:pt x="82951" y="3113426"/>
                  <a:pt x="78108" y="3017631"/>
                </a:cubicBezTo>
                <a:cubicBezTo>
                  <a:pt x="78106" y="2940671"/>
                  <a:pt x="237948" y="2750693"/>
                  <a:pt x="325133" y="2651130"/>
                </a:cubicBezTo>
                <a:close/>
                <a:moveTo>
                  <a:pt x="3683393" y="922762"/>
                </a:moveTo>
                <a:cubicBezTo>
                  <a:pt x="3501488" y="978733"/>
                  <a:pt x="3379318" y="995149"/>
                  <a:pt x="3249079" y="1251322"/>
                </a:cubicBezTo>
                <a:cubicBezTo>
                  <a:pt x="3323214" y="1176380"/>
                  <a:pt x="3331353" y="1180552"/>
                  <a:pt x="3336263" y="1177862"/>
                </a:cubicBezTo>
                <a:cubicBezTo>
                  <a:pt x="3373527" y="1269912"/>
                  <a:pt x="3396260" y="1276391"/>
                  <a:pt x="3477115" y="1303862"/>
                </a:cubicBezTo>
                <a:cubicBezTo>
                  <a:pt x="3476782" y="1305055"/>
                  <a:pt x="3435156" y="1345773"/>
                  <a:pt x="3386316" y="1441839"/>
                </a:cubicBezTo>
                <a:cubicBezTo>
                  <a:pt x="3540773" y="1271236"/>
                  <a:pt x="3648411" y="1179743"/>
                  <a:pt x="3860993" y="1094711"/>
                </a:cubicBezTo>
                <a:cubicBezTo>
                  <a:pt x="3767351" y="1103389"/>
                  <a:pt x="3740306" y="1125213"/>
                  <a:pt x="3736440" y="1125953"/>
                </a:cubicBezTo>
                <a:cubicBezTo>
                  <a:pt x="3722118" y="1027547"/>
                  <a:pt x="3693273" y="1001796"/>
                  <a:pt x="3611142" y="974427"/>
                </a:cubicBezTo>
                <a:cubicBezTo>
                  <a:pt x="3630988" y="945095"/>
                  <a:pt x="3682719" y="925858"/>
                  <a:pt x="3683393" y="922762"/>
                </a:cubicBezTo>
                <a:close/>
                <a:moveTo>
                  <a:pt x="3202477" y="625701"/>
                </a:moveTo>
                <a:cubicBezTo>
                  <a:pt x="3113729" y="632735"/>
                  <a:pt x="3077129" y="706716"/>
                  <a:pt x="3048875" y="991380"/>
                </a:cubicBezTo>
                <a:cubicBezTo>
                  <a:pt x="3133908" y="793330"/>
                  <a:pt x="3189879" y="680851"/>
                  <a:pt x="3391159" y="649097"/>
                </a:cubicBezTo>
                <a:cubicBezTo>
                  <a:pt x="3331960" y="640082"/>
                  <a:pt x="3283657" y="629857"/>
                  <a:pt x="3243832" y="626367"/>
                </a:cubicBezTo>
                <a:cubicBezTo>
                  <a:pt x="3228898" y="625059"/>
                  <a:pt x="3215155" y="624697"/>
                  <a:pt x="3202477" y="625701"/>
                </a:cubicBezTo>
                <a:close/>
                <a:moveTo>
                  <a:pt x="2674610" y="621340"/>
                </a:moveTo>
                <a:lnTo>
                  <a:pt x="2673929" y="621683"/>
                </a:lnTo>
                <a:lnTo>
                  <a:pt x="2673248" y="621683"/>
                </a:lnTo>
                <a:lnTo>
                  <a:pt x="2671886" y="622370"/>
                </a:lnTo>
                <a:lnTo>
                  <a:pt x="2670184" y="622713"/>
                </a:lnTo>
                <a:lnTo>
                  <a:pt x="2667800" y="623400"/>
                </a:lnTo>
                <a:lnTo>
                  <a:pt x="2665416" y="624087"/>
                </a:lnTo>
                <a:lnTo>
                  <a:pt x="2662692" y="624773"/>
                </a:lnTo>
                <a:lnTo>
                  <a:pt x="2659628" y="625803"/>
                </a:lnTo>
                <a:lnTo>
                  <a:pt x="2655542" y="627176"/>
                </a:lnTo>
                <a:lnTo>
                  <a:pt x="2651796" y="628206"/>
                </a:lnTo>
                <a:lnTo>
                  <a:pt x="2647029" y="629236"/>
                </a:lnTo>
                <a:lnTo>
                  <a:pt x="2642602" y="630610"/>
                </a:lnTo>
                <a:lnTo>
                  <a:pt x="2637495" y="631983"/>
                </a:lnTo>
                <a:lnTo>
                  <a:pt x="2631706" y="633356"/>
                </a:lnTo>
                <a:lnTo>
                  <a:pt x="2625577" y="634729"/>
                </a:lnTo>
                <a:lnTo>
                  <a:pt x="2619448" y="636103"/>
                </a:lnTo>
                <a:lnTo>
                  <a:pt x="2612297" y="637819"/>
                </a:lnTo>
                <a:lnTo>
                  <a:pt x="2605487" y="639536"/>
                </a:lnTo>
                <a:lnTo>
                  <a:pt x="2597655" y="641252"/>
                </a:lnTo>
                <a:lnTo>
                  <a:pt x="2589483" y="642969"/>
                </a:lnTo>
                <a:lnTo>
                  <a:pt x="2580970" y="644685"/>
                </a:lnTo>
                <a:lnTo>
                  <a:pt x="2572458" y="646402"/>
                </a:lnTo>
                <a:lnTo>
                  <a:pt x="2562923" y="648462"/>
                </a:lnTo>
                <a:lnTo>
                  <a:pt x="2553049" y="650522"/>
                </a:lnTo>
                <a:lnTo>
                  <a:pt x="2543174" y="652238"/>
                </a:lnTo>
                <a:lnTo>
                  <a:pt x="2532618" y="654298"/>
                </a:lnTo>
                <a:lnTo>
                  <a:pt x="2521381" y="656358"/>
                </a:lnTo>
                <a:lnTo>
                  <a:pt x="2510145" y="658075"/>
                </a:lnTo>
                <a:lnTo>
                  <a:pt x="2498227" y="660135"/>
                </a:lnTo>
                <a:lnTo>
                  <a:pt x="2485968" y="662194"/>
                </a:lnTo>
                <a:lnTo>
                  <a:pt x="2473029" y="664254"/>
                </a:lnTo>
                <a:lnTo>
                  <a:pt x="2449534" y="667687"/>
                </a:lnTo>
                <a:lnTo>
                  <a:pt x="2426720" y="670777"/>
                </a:lnTo>
                <a:lnTo>
                  <a:pt x="2404927" y="673524"/>
                </a:lnTo>
                <a:lnTo>
                  <a:pt x="2383475" y="675584"/>
                </a:lnTo>
                <a:lnTo>
                  <a:pt x="2363045" y="677300"/>
                </a:lnTo>
                <a:lnTo>
                  <a:pt x="2343636" y="678674"/>
                </a:lnTo>
                <a:lnTo>
                  <a:pt x="2324227" y="680047"/>
                </a:lnTo>
                <a:lnTo>
                  <a:pt x="2305839" y="681420"/>
                </a:lnTo>
                <a:lnTo>
                  <a:pt x="2288814" y="683136"/>
                </a:lnTo>
                <a:lnTo>
                  <a:pt x="2271789" y="684853"/>
                </a:lnTo>
                <a:lnTo>
                  <a:pt x="2255444" y="687256"/>
                </a:lnTo>
                <a:lnTo>
                  <a:pt x="2240462" y="689659"/>
                </a:lnTo>
                <a:lnTo>
                  <a:pt x="2225820" y="692749"/>
                </a:lnTo>
                <a:lnTo>
                  <a:pt x="2211859" y="696526"/>
                </a:lnTo>
                <a:lnTo>
                  <a:pt x="2198920" y="701332"/>
                </a:lnTo>
                <a:lnTo>
                  <a:pt x="2186661" y="706825"/>
                </a:lnTo>
                <a:lnTo>
                  <a:pt x="2169295" y="717125"/>
                </a:lnTo>
                <a:lnTo>
                  <a:pt x="2153292" y="728454"/>
                </a:lnTo>
                <a:lnTo>
                  <a:pt x="2138309" y="740470"/>
                </a:lnTo>
                <a:lnTo>
                  <a:pt x="2124008" y="753172"/>
                </a:lnTo>
                <a:lnTo>
                  <a:pt x="2111068" y="766905"/>
                </a:lnTo>
                <a:lnTo>
                  <a:pt x="2098810" y="782011"/>
                </a:lnTo>
                <a:lnTo>
                  <a:pt x="2087233" y="797460"/>
                </a:lnTo>
                <a:lnTo>
                  <a:pt x="2076677" y="813939"/>
                </a:lnTo>
                <a:lnTo>
                  <a:pt x="2066462" y="831448"/>
                </a:lnTo>
                <a:lnTo>
                  <a:pt x="2056587" y="850330"/>
                </a:lnTo>
                <a:lnTo>
                  <a:pt x="2047393" y="869556"/>
                </a:lnTo>
                <a:lnTo>
                  <a:pt x="2039221" y="890498"/>
                </a:lnTo>
                <a:lnTo>
                  <a:pt x="2030708" y="912470"/>
                </a:lnTo>
                <a:lnTo>
                  <a:pt x="2022196" y="935472"/>
                </a:lnTo>
                <a:lnTo>
                  <a:pt x="2014024" y="959847"/>
                </a:lnTo>
                <a:lnTo>
                  <a:pt x="2006532" y="985252"/>
                </a:lnTo>
                <a:lnTo>
                  <a:pt x="2001425" y="1000358"/>
                </a:lnTo>
                <a:lnTo>
                  <a:pt x="1996998" y="1015807"/>
                </a:lnTo>
                <a:lnTo>
                  <a:pt x="1989166" y="1046705"/>
                </a:lnTo>
                <a:lnTo>
                  <a:pt x="1982356" y="1078290"/>
                </a:lnTo>
                <a:lnTo>
                  <a:pt x="1977249" y="1109875"/>
                </a:lnTo>
                <a:lnTo>
                  <a:pt x="1972822" y="1140430"/>
                </a:lnTo>
                <a:lnTo>
                  <a:pt x="1969417" y="1170642"/>
                </a:lnTo>
                <a:lnTo>
                  <a:pt x="1968055" y="1185404"/>
                </a:lnTo>
                <a:lnTo>
                  <a:pt x="1967033" y="1199480"/>
                </a:lnTo>
                <a:lnTo>
                  <a:pt x="1966012" y="1213556"/>
                </a:lnTo>
                <a:lnTo>
                  <a:pt x="1965331" y="1227288"/>
                </a:lnTo>
                <a:lnTo>
                  <a:pt x="1964650" y="1240334"/>
                </a:lnTo>
                <a:lnTo>
                  <a:pt x="1963969" y="1252693"/>
                </a:lnTo>
                <a:lnTo>
                  <a:pt x="1963628" y="1264709"/>
                </a:lnTo>
                <a:lnTo>
                  <a:pt x="1963288" y="1276039"/>
                </a:lnTo>
                <a:lnTo>
                  <a:pt x="1963288" y="1287025"/>
                </a:lnTo>
                <a:lnTo>
                  <a:pt x="1962947" y="1296638"/>
                </a:lnTo>
                <a:lnTo>
                  <a:pt x="1962947" y="1305907"/>
                </a:lnTo>
                <a:lnTo>
                  <a:pt x="1963288" y="1314490"/>
                </a:lnTo>
                <a:lnTo>
                  <a:pt x="1963288" y="1322386"/>
                </a:lnTo>
                <a:lnTo>
                  <a:pt x="1963288" y="1328909"/>
                </a:lnTo>
                <a:lnTo>
                  <a:pt x="1963288" y="1335089"/>
                </a:lnTo>
                <a:lnTo>
                  <a:pt x="1963628" y="1339895"/>
                </a:lnTo>
                <a:lnTo>
                  <a:pt x="1963628" y="1343671"/>
                </a:lnTo>
                <a:lnTo>
                  <a:pt x="1963969" y="1346761"/>
                </a:lnTo>
                <a:lnTo>
                  <a:pt x="1963969" y="1348135"/>
                </a:lnTo>
                <a:lnTo>
                  <a:pt x="1963969" y="1348821"/>
                </a:lnTo>
                <a:lnTo>
                  <a:pt x="1964309" y="1348135"/>
                </a:lnTo>
                <a:lnTo>
                  <a:pt x="1964309" y="1347105"/>
                </a:lnTo>
                <a:lnTo>
                  <a:pt x="1964650" y="1345731"/>
                </a:lnTo>
                <a:lnTo>
                  <a:pt x="1965331" y="1343671"/>
                </a:lnTo>
                <a:lnTo>
                  <a:pt x="1965671" y="1341612"/>
                </a:lnTo>
                <a:lnTo>
                  <a:pt x="1966352" y="1339208"/>
                </a:lnTo>
                <a:lnTo>
                  <a:pt x="1967033" y="1336119"/>
                </a:lnTo>
                <a:lnTo>
                  <a:pt x="1969076" y="1329252"/>
                </a:lnTo>
                <a:lnTo>
                  <a:pt x="1971119" y="1321699"/>
                </a:lnTo>
                <a:lnTo>
                  <a:pt x="1973844" y="1312430"/>
                </a:lnTo>
                <a:lnTo>
                  <a:pt x="1976568" y="1302131"/>
                </a:lnTo>
                <a:lnTo>
                  <a:pt x="1979632" y="1290801"/>
                </a:lnTo>
                <a:lnTo>
                  <a:pt x="1983037" y="1278442"/>
                </a:lnTo>
                <a:lnTo>
                  <a:pt x="1987123" y="1265739"/>
                </a:lnTo>
                <a:lnTo>
                  <a:pt x="1991209" y="1252007"/>
                </a:lnTo>
                <a:lnTo>
                  <a:pt x="1995636" y="1237244"/>
                </a:lnTo>
                <a:lnTo>
                  <a:pt x="2000403" y="1222482"/>
                </a:lnTo>
                <a:lnTo>
                  <a:pt x="2004830" y="1207033"/>
                </a:lnTo>
                <a:lnTo>
                  <a:pt x="2010278" y="1190897"/>
                </a:lnTo>
                <a:lnTo>
                  <a:pt x="2021174" y="1158626"/>
                </a:lnTo>
                <a:lnTo>
                  <a:pt x="2032752" y="1125324"/>
                </a:lnTo>
                <a:lnTo>
                  <a:pt x="2045010" y="1092366"/>
                </a:lnTo>
                <a:lnTo>
                  <a:pt x="2051479" y="1076230"/>
                </a:lnTo>
                <a:lnTo>
                  <a:pt x="2057609" y="1059751"/>
                </a:lnTo>
                <a:lnTo>
                  <a:pt x="2064419" y="1044302"/>
                </a:lnTo>
                <a:lnTo>
                  <a:pt x="2070888" y="1029540"/>
                </a:lnTo>
                <a:lnTo>
                  <a:pt x="2077699" y="1014434"/>
                </a:lnTo>
                <a:lnTo>
                  <a:pt x="2084849" y="1000701"/>
                </a:lnTo>
                <a:lnTo>
                  <a:pt x="2091319" y="987312"/>
                </a:lnTo>
                <a:lnTo>
                  <a:pt x="2098470" y="974953"/>
                </a:lnTo>
                <a:lnTo>
                  <a:pt x="2105620" y="963624"/>
                </a:lnTo>
                <a:lnTo>
                  <a:pt x="2112090" y="952981"/>
                </a:lnTo>
                <a:lnTo>
                  <a:pt x="2117198" y="945428"/>
                </a:lnTo>
                <a:lnTo>
                  <a:pt x="2121965" y="937875"/>
                </a:lnTo>
                <a:lnTo>
                  <a:pt x="2126732" y="930665"/>
                </a:lnTo>
                <a:lnTo>
                  <a:pt x="2131158" y="923799"/>
                </a:lnTo>
                <a:lnTo>
                  <a:pt x="2140012" y="911440"/>
                </a:lnTo>
                <a:lnTo>
                  <a:pt x="2148184" y="900454"/>
                </a:lnTo>
                <a:lnTo>
                  <a:pt x="2155335" y="890498"/>
                </a:lnTo>
                <a:lnTo>
                  <a:pt x="2162485" y="881572"/>
                </a:lnTo>
                <a:lnTo>
                  <a:pt x="2168614" y="874019"/>
                </a:lnTo>
                <a:lnTo>
                  <a:pt x="2174744" y="867496"/>
                </a:lnTo>
                <a:lnTo>
                  <a:pt x="2179511" y="862003"/>
                </a:lnTo>
                <a:lnTo>
                  <a:pt x="2184278" y="857196"/>
                </a:lnTo>
                <a:lnTo>
                  <a:pt x="2188023" y="853763"/>
                </a:lnTo>
                <a:lnTo>
                  <a:pt x="2191429" y="851017"/>
                </a:lnTo>
                <a:lnTo>
                  <a:pt x="2194153" y="848614"/>
                </a:lnTo>
                <a:lnTo>
                  <a:pt x="2195855" y="846897"/>
                </a:lnTo>
                <a:lnTo>
                  <a:pt x="2196877" y="846210"/>
                </a:lnTo>
                <a:lnTo>
                  <a:pt x="2197217" y="845867"/>
                </a:lnTo>
                <a:lnTo>
                  <a:pt x="2196877" y="846554"/>
                </a:lnTo>
                <a:lnTo>
                  <a:pt x="2196196" y="848270"/>
                </a:lnTo>
                <a:lnTo>
                  <a:pt x="2195515" y="851360"/>
                </a:lnTo>
                <a:lnTo>
                  <a:pt x="2194153" y="855137"/>
                </a:lnTo>
                <a:lnTo>
                  <a:pt x="2192791" y="859600"/>
                </a:lnTo>
                <a:lnTo>
                  <a:pt x="2191088" y="865436"/>
                </a:lnTo>
                <a:lnTo>
                  <a:pt x="2189385" y="871272"/>
                </a:lnTo>
                <a:lnTo>
                  <a:pt x="2188023" y="878139"/>
                </a:lnTo>
                <a:lnTo>
                  <a:pt x="2186661" y="885691"/>
                </a:lnTo>
                <a:lnTo>
                  <a:pt x="2185299" y="892901"/>
                </a:lnTo>
                <a:lnTo>
                  <a:pt x="2184278" y="901141"/>
                </a:lnTo>
                <a:lnTo>
                  <a:pt x="2183937" y="909380"/>
                </a:lnTo>
                <a:lnTo>
                  <a:pt x="2183597" y="917620"/>
                </a:lnTo>
                <a:lnTo>
                  <a:pt x="2183937" y="925859"/>
                </a:lnTo>
                <a:lnTo>
                  <a:pt x="2184959" y="934442"/>
                </a:lnTo>
                <a:lnTo>
                  <a:pt x="2186661" y="942338"/>
                </a:lnTo>
                <a:lnTo>
                  <a:pt x="2188704" y="960190"/>
                </a:lnTo>
                <a:lnTo>
                  <a:pt x="2191769" y="977356"/>
                </a:lnTo>
                <a:lnTo>
                  <a:pt x="2194493" y="993835"/>
                </a:lnTo>
                <a:lnTo>
                  <a:pt x="2197558" y="1009628"/>
                </a:lnTo>
                <a:lnTo>
                  <a:pt x="2200963" y="1024733"/>
                </a:lnTo>
                <a:lnTo>
                  <a:pt x="2204708" y="1038809"/>
                </a:lnTo>
                <a:lnTo>
                  <a:pt x="2208113" y="1052198"/>
                </a:lnTo>
                <a:lnTo>
                  <a:pt x="2211859" y="1064214"/>
                </a:lnTo>
                <a:lnTo>
                  <a:pt x="2215264" y="1075200"/>
                </a:lnTo>
                <a:lnTo>
                  <a:pt x="2218329" y="1084470"/>
                </a:lnTo>
                <a:lnTo>
                  <a:pt x="2221393" y="1093053"/>
                </a:lnTo>
                <a:lnTo>
                  <a:pt x="2222415" y="1096829"/>
                </a:lnTo>
                <a:lnTo>
                  <a:pt x="2224117" y="1100262"/>
                </a:lnTo>
                <a:lnTo>
                  <a:pt x="2225139" y="1103352"/>
                </a:lnTo>
                <a:lnTo>
                  <a:pt x="2226160" y="1105755"/>
                </a:lnTo>
                <a:lnTo>
                  <a:pt x="2227182" y="1108158"/>
                </a:lnTo>
                <a:lnTo>
                  <a:pt x="2227863" y="1110218"/>
                </a:lnTo>
                <a:lnTo>
                  <a:pt x="2228203" y="1111592"/>
                </a:lnTo>
                <a:lnTo>
                  <a:pt x="2228884" y="1112622"/>
                </a:lnTo>
                <a:lnTo>
                  <a:pt x="2228884" y="1113308"/>
                </a:lnTo>
                <a:lnTo>
                  <a:pt x="2229225" y="1113651"/>
                </a:lnTo>
                <a:lnTo>
                  <a:pt x="2229225" y="1112965"/>
                </a:lnTo>
                <a:lnTo>
                  <a:pt x="2229225" y="1111248"/>
                </a:lnTo>
                <a:lnTo>
                  <a:pt x="2229565" y="1108158"/>
                </a:lnTo>
                <a:lnTo>
                  <a:pt x="2229565" y="1104382"/>
                </a:lnTo>
                <a:lnTo>
                  <a:pt x="2229906" y="1099919"/>
                </a:lnTo>
                <a:lnTo>
                  <a:pt x="2230587" y="1094083"/>
                </a:lnTo>
                <a:lnTo>
                  <a:pt x="2231268" y="1087560"/>
                </a:lnTo>
                <a:lnTo>
                  <a:pt x="2231949" y="1080350"/>
                </a:lnTo>
                <a:lnTo>
                  <a:pt x="2232630" y="1072111"/>
                </a:lnTo>
                <a:lnTo>
                  <a:pt x="2233652" y="1063528"/>
                </a:lnTo>
                <a:lnTo>
                  <a:pt x="2235014" y="1054258"/>
                </a:lnTo>
                <a:lnTo>
                  <a:pt x="2236376" y="1043959"/>
                </a:lnTo>
                <a:lnTo>
                  <a:pt x="2238078" y="1033659"/>
                </a:lnTo>
                <a:lnTo>
                  <a:pt x="2239781" y="1022673"/>
                </a:lnTo>
                <a:lnTo>
                  <a:pt x="2241483" y="1011344"/>
                </a:lnTo>
                <a:lnTo>
                  <a:pt x="2243526" y="999671"/>
                </a:lnTo>
                <a:lnTo>
                  <a:pt x="2248634" y="975640"/>
                </a:lnTo>
                <a:lnTo>
                  <a:pt x="2254423" y="950921"/>
                </a:lnTo>
                <a:lnTo>
                  <a:pt x="2261233" y="926202"/>
                </a:lnTo>
                <a:lnTo>
                  <a:pt x="2269405" y="901484"/>
                </a:lnTo>
                <a:lnTo>
                  <a:pt x="2278599" y="877452"/>
                </a:lnTo>
                <a:lnTo>
                  <a:pt x="2283706" y="865779"/>
                </a:lnTo>
                <a:lnTo>
                  <a:pt x="2289154" y="854450"/>
                </a:lnTo>
                <a:lnTo>
                  <a:pt x="2294603" y="843464"/>
                </a:lnTo>
                <a:lnTo>
                  <a:pt x="2301072" y="833164"/>
                </a:lnTo>
                <a:lnTo>
                  <a:pt x="2307201" y="823208"/>
                </a:lnTo>
                <a:lnTo>
                  <a:pt x="2314012" y="813939"/>
                </a:lnTo>
                <a:lnTo>
                  <a:pt x="2322184" y="804326"/>
                </a:lnTo>
                <a:lnTo>
                  <a:pt x="2330697" y="795057"/>
                </a:lnTo>
                <a:lnTo>
                  <a:pt x="2339890" y="786131"/>
                </a:lnTo>
                <a:lnTo>
                  <a:pt x="2349765" y="777548"/>
                </a:lnTo>
                <a:lnTo>
                  <a:pt x="2359640" y="769995"/>
                </a:lnTo>
                <a:lnTo>
                  <a:pt x="2370196" y="762099"/>
                </a:lnTo>
                <a:lnTo>
                  <a:pt x="2381092" y="754889"/>
                </a:lnTo>
                <a:lnTo>
                  <a:pt x="2392329" y="748366"/>
                </a:lnTo>
                <a:lnTo>
                  <a:pt x="2403906" y="741843"/>
                </a:lnTo>
                <a:lnTo>
                  <a:pt x="2415824" y="736007"/>
                </a:lnTo>
                <a:lnTo>
                  <a:pt x="2440681" y="725021"/>
                </a:lnTo>
                <a:lnTo>
                  <a:pt x="2467240" y="715408"/>
                </a:lnTo>
                <a:lnTo>
                  <a:pt x="2494141" y="706825"/>
                </a:lnTo>
                <a:lnTo>
                  <a:pt x="2508783" y="702362"/>
                </a:lnTo>
                <a:lnTo>
                  <a:pt x="2523424" y="697212"/>
                </a:lnTo>
                <a:lnTo>
                  <a:pt x="2538407" y="691033"/>
                </a:lnTo>
                <a:lnTo>
                  <a:pt x="2554070" y="684510"/>
                </a:lnTo>
                <a:lnTo>
                  <a:pt x="2569053" y="677643"/>
                </a:lnTo>
                <a:lnTo>
                  <a:pt x="2584375" y="670434"/>
                </a:lnTo>
                <a:lnTo>
                  <a:pt x="2598677" y="663224"/>
                </a:lnTo>
                <a:lnTo>
                  <a:pt x="2612297" y="656015"/>
                </a:lnTo>
                <a:lnTo>
                  <a:pt x="2625236" y="649149"/>
                </a:lnTo>
                <a:lnTo>
                  <a:pt x="2637495" y="642969"/>
                </a:lnTo>
                <a:lnTo>
                  <a:pt x="2642602" y="639879"/>
                </a:lnTo>
                <a:lnTo>
                  <a:pt x="2648051" y="636789"/>
                </a:lnTo>
                <a:lnTo>
                  <a:pt x="2652818" y="634043"/>
                </a:lnTo>
                <a:lnTo>
                  <a:pt x="2656904" y="631639"/>
                </a:lnTo>
                <a:lnTo>
                  <a:pt x="2660990" y="629580"/>
                </a:lnTo>
                <a:lnTo>
                  <a:pt x="2664395" y="627520"/>
                </a:lnTo>
                <a:lnTo>
                  <a:pt x="2667460" y="625460"/>
                </a:lnTo>
                <a:lnTo>
                  <a:pt x="2670184" y="624087"/>
                </a:lnTo>
                <a:lnTo>
                  <a:pt x="2672227" y="622713"/>
                </a:lnTo>
                <a:lnTo>
                  <a:pt x="2673589" y="622027"/>
                </a:lnTo>
                <a:close/>
                <a:moveTo>
                  <a:pt x="5059675" y="226079"/>
                </a:moveTo>
                <a:cubicBezTo>
                  <a:pt x="5039238" y="208231"/>
                  <a:pt x="4954026" y="346116"/>
                  <a:pt x="4892564" y="394121"/>
                </a:cubicBezTo>
                <a:cubicBezTo>
                  <a:pt x="4831100" y="442127"/>
                  <a:pt x="4691408" y="483172"/>
                  <a:pt x="4690898" y="514113"/>
                </a:cubicBezTo>
                <a:cubicBezTo>
                  <a:pt x="4690387" y="545056"/>
                  <a:pt x="4821977" y="552705"/>
                  <a:pt x="4911291" y="478060"/>
                </a:cubicBezTo>
                <a:cubicBezTo>
                  <a:pt x="5000605" y="403415"/>
                  <a:pt x="5088588" y="263302"/>
                  <a:pt x="5059675" y="226079"/>
                </a:cubicBezTo>
                <a:close/>
                <a:moveTo>
                  <a:pt x="3210329" y="56"/>
                </a:moveTo>
                <a:cubicBezTo>
                  <a:pt x="3464351" y="-3711"/>
                  <a:pt x="3758737" y="181422"/>
                  <a:pt x="3977240" y="469886"/>
                </a:cubicBezTo>
                <a:cubicBezTo>
                  <a:pt x="3925171" y="474730"/>
                  <a:pt x="3857662" y="485022"/>
                  <a:pt x="3837379" y="513025"/>
                </a:cubicBezTo>
                <a:lnTo>
                  <a:pt x="3837216" y="513453"/>
                </a:lnTo>
                <a:lnTo>
                  <a:pt x="3857107" y="514512"/>
                </a:lnTo>
                <a:cubicBezTo>
                  <a:pt x="3942526" y="520137"/>
                  <a:pt x="4036574" y="529622"/>
                  <a:pt x="4072498" y="540924"/>
                </a:cubicBezTo>
                <a:cubicBezTo>
                  <a:pt x="4139771" y="555992"/>
                  <a:pt x="4291000" y="743818"/>
                  <a:pt x="4279160" y="804094"/>
                </a:cubicBezTo>
                <a:cubicBezTo>
                  <a:pt x="4278622" y="859258"/>
                  <a:pt x="4172600" y="828850"/>
                  <a:pt x="4075728" y="850916"/>
                </a:cubicBezTo>
                <a:cubicBezTo>
                  <a:pt x="4063619" y="853673"/>
                  <a:pt x="4049379" y="857971"/>
                  <a:pt x="4033634" y="863267"/>
                </a:cubicBezTo>
                <a:lnTo>
                  <a:pt x="4005556" y="873348"/>
                </a:lnTo>
                <a:lnTo>
                  <a:pt x="4039703" y="873116"/>
                </a:lnTo>
                <a:cubicBezTo>
                  <a:pt x="4088946" y="869382"/>
                  <a:pt x="4113670" y="863833"/>
                  <a:pt x="4162913" y="930029"/>
                </a:cubicBezTo>
                <a:cubicBezTo>
                  <a:pt x="4198971" y="1036588"/>
                  <a:pt x="4175292" y="1015600"/>
                  <a:pt x="4101560" y="1070494"/>
                </a:cubicBezTo>
                <a:cubicBezTo>
                  <a:pt x="4217807" y="1040357"/>
                  <a:pt x="4251713" y="1029592"/>
                  <a:pt x="4314680" y="1072108"/>
                </a:cubicBezTo>
                <a:cubicBezTo>
                  <a:pt x="4393793" y="1198042"/>
                  <a:pt x="4337283" y="1207731"/>
                  <a:pt x="4290462" y="1261010"/>
                </a:cubicBezTo>
                <a:cubicBezTo>
                  <a:pt x="4363116" y="1199657"/>
                  <a:pt x="4422855" y="1141534"/>
                  <a:pt x="4518113" y="1217417"/>
                </a:cubicBezTo>
                <a:cubicBezTo>
                  <a:pt x="4599244" y="1280788"/>
                  <a:pt x="4527800" y="1431344"/>
                  <a:pt x="4459762" y="1562828"/>
                </a:cubicBezTo>
                <a:lnTo>
                  <a:pt x="4454121" y="1573706"/>
                </a:lnTo>
                <a:lnTo>
                  <a:pt x="4480917" y="1552564"/>
                </a:lnTo>
                <a:cubicBezTo>
                  <a:pt x="4839997" y="1212535"/>
                  <a:pt x="4557671" y="564132"/>
                  <a:pt x="4634362" y="452124"/>
                </a:cubicBezTo>
                <a:cubicBezTo>
                  <a:pt x="4673111" y="392386"/>
                  <a:pt x="4736079" y="403689"/>
                  <a:pt x="4879773" y="327805"/>
                </a:cubicBezTo>
                <a:cubicBezTo>
                  <a:pt x="4926595" y="300358"/>
                  <a:pt x="4976377" y="116569"/>
                  <a:pt x="5047686" y="134060"/>
                </a:cubicBezTo>
                <a:cubicBezTo>
                  <a:pt x="5359562" y="210554"/>
                  <a:pt x="5577796" y="1794884"/>
                  <a:pt x="4832951" y="2253951"/>
                </a:cubicBezTo>
                <a:cubicBezTo>
                  <a:pt x="4561002" y="2402288"/>
                  <a:pt x="4081872" y="2483928"/>
                  <a:pt x="3533920" y="1925500"/>
                </a:cubicBezTo>
                <a:lnTo>
                  <a:pt x="3502202" y="1890933"/>
                </a:lnTo>
                <a:lnTo>
                  <a:pt x="3485470" y="1977379"/>
                </a:lnTo>
                <a:cubicBezTo>
                  <a:pt x="3423986" y="2418763"/>
                  <a:pt x="3714069" y="2838416"/>
                  <a:pt x="3988542" y="2378272"/>
                </a:cubicBezTo>
                <a:lnTo>
                  <a:pt x="4048279" y="2383116"/>
                </a:lnTo>
                <a:cubicBezTo>
                  <a:pt x="3983698" y="2573092"/>
                  <a:pt x="3852920" y="2746925"/>
                  <a:pt x="3668861" y="2715711"/>
                </a:cubicBezTo>
                <a:cubicBezTo>
                  <a:pt x="3453050" y="2688264"/>
                  <a:pt x="3361559" y="2544569"/>
                  <a:pt x="3282985" y="2454156"/>
                </a:cubicBezTo>
                <a:cubicBezTo>
                  <a:pt x="3176425" y="2428727"/>
                  <a:pt x="3055334" y="2341542"/>
                  <a:pt x="2936059" y="2262076"/>
                </a:cubicBezTo>
                <a:lnTo>
                  <a:pt x="2888664" y="2232241"/>
                </a:lnTo>
                <a:lnTo>
                  <a:pt x="2892176" y="2241439"/>
                </a:lnTo>
                <a:cubicBezTo>
                  <a:pt x="2970350" y="2414538"/>
                  <a:pt x="3104703" y="2525456"/>
                  <a:pt x="3197413" y="2572016"/>
                </a:cubicBezTo>
                <a:cubicBezTo>
                  <a:pt x="3106460" y="2898691"/>
                  <a:pt x="2905139" y="3280579"/>
                  <a:pt x="2851900" y="3329236"/>
                </a:cubicBezTo>
                <a:cubicBezTo>
                  <a:pt x="2508001" y="3643534"/>
                  <a:pt x="2319100" y="3843197"/>
                  <a:pt x="2217382" y="3831358"/>
                </a:cubicBezTo>
                <a:cubicBezTo>
                  <a:pt x="2077456" y="3818979"/>
                  <a:pt x="1858415" y="3474006"/>
                  <a:pt x="1875099" y="3416420"/>
                </a:cubicBezTo>
                <a:cubicBezTo>
                  <a:pt x="1931069" y="3278647"/>
                  <a:pt x="2137194" y="3261963"/>
                  <a:pt x="2183477" y="3187156"/>
                </a:cubicBezTo>
                <a:cubicBezTo>
                  <a:pt x="2199622" y="3068757"/>
                  <a:pt x="2168946" y="3032698"/>
                  <a:pt x="2167331" y="2938517"/>
                </a:cubicBezTo>
                <a:cubicBezTo>
                  <a:pt x="2035007" y="3231894"/>
                  <a:pt x="1640619" y="3168026"/>
                  <a:pt x="1454676" y="2978382"/>
                </a:cubicBezTo>
                <a:lnTo>
                  <a:pt x="1425919" y="2944899"/>
                </a:lnTo>
                <a:lnTo>
                  <a:pt x="1429686" y="3047700"/>
                </a:lnTo>
                <a:cubicBezTo>
                  <a:pt x="1432848" y="3145043"/>
                  <a:pt x="1433790" y="3238553"/>
                  <a:pt x="1424641" y="3321163"/>
                </a:cubicBezTo>
                <a:cubicBezTo>
                  <a:pt x="1410649" y="3425031"/>
                  <a:pt x="1315928" y="3504682"/>
                  <a:pt x="1305164" y="3577875"/>
                </a:cubicBezTo>
                <a:cubicBezTo>
                  <a:pt x="1298168" y="3643533"/>
                  <a:pt x="1308932" y="3735024"/>
                  <a:pt x="1284175" y="3774849"/>
                </a:cubicBezTo>
                <a:cubicBezTo>
                  <a:pt x="1199142" y="3890019"/>
                  <a:pt x="671724" y="3745249"/>
                  <a:pt x="665804" y="3655372"/>
                </a:cubicBezTo>
                <a:cubicBezTo>
                  <a:pt x="656655" y="3511140"/>
                  <a:pt x="705629" y="3518675"/>
                  <a:pt x="725542" y="3450326"/>
                </a:cubicBezTo>
                <a:cubicBezTo>
                  <a:pt x="732404" y="3363544"/>
                  <a:pt x="745623" y="3299468"/>
                  <a:pt x="750895" y="3207010"/>
                </a:cubicBezTo>
                <a:lnTo>
                  <a:pt x="751509" y="3191301"/>
                </a:lnTo>
                <a:lnTo>
                  <a:pt x="734096" y="3157825"/>
                </a:lnTo>
                <a:cubicBezTo>
                  <a:pt x="558939" y="2854980"/>
                  <a:pt x="281337" y="2531585"/>
                  <a:pt x="404246" y="1879378"/>
                </a:cubicBezTo>
                <a:cubicBezTo>
                  <a:pt x="118472" y="1948399"/>
                  <a:pt x="68825" y="1780386"/>
                  <a:pt x="50283" y="1628721"/>
                </a:cubicBezTo>
                <a:lnTo>
                  <a:pt x="48072" y="1607470"/>
                </a:lnTo>
                <a:lnTo>
                  <a:pt x="33171" y="1600317"/>
                </a:lnTo>
                <a:cubicBezTo>
                  <a:pt x="-51225" y="1526584"/>
                  <a:pt x="30949" y="1314558"/>
                  <a:pt x="216958" y="1233562"/>
                </a:cubicBezTo>
                <a:cubicBezTo>
                  <a:pt x="124661" y="1402147"/>
                  <a:pt x="261049" y="1513870"/>
                  <a:pt x="145882" y="1591444"/>
                </a:cubicBezTo>
                <a:lnTo>
                  <a:pt x="126829" y="1602136"/>
                </a:lnTo>
                <a:lnTo>
                  <a:pt x="191997" y="1660810"/>
                </a:lnTo>
                <a:cubicBezTo>
                  <a:pt x="504474" y="1880783"/>
                  <a:pt x="501119" y="970929"/>
                  <a:pt x="1631301" y="808937"/>
                </a:cubicBezTo>
                <a:cubicBezTo>
                  <a:pt x="1206137" y="1240557"/>
                  <a:pt x="1171694" y="1397706"/>
                  <a:pt x="1087199" y="1638812"/>
                </a:cubicBezTo>
                <a:cubicBezTo>
                  <a:pt x="1139402" y="1871843"/>
                  <a:pt x="1324000" y="1936963"/>
                  <a:pt x="1393964" y="2124788"/>
                </a:cubicBezTo>
                <a:cubicBezTo>
                  <a:pt x="1353937" y="2178876"/>
                  <a:pt x="1317744" y="2231550"/>
                  <a:pt x="1284667" y="2283076"/>
                </a:cubicBezTo>
                <a:lnTo>
                  <a:pt x="1253706" y="2334812"/>
                </a:lnTo>
                <a:lnTo>
                  <a:pt x="1261937" y="2345475"/>
                </a:lnTo>
                <a:cubicBezTo>
                  <a:pt x="1368627" y="2475152"/>
                  <a:pt x="1550103" y="2641913"/>
                  <a:pt x="1663592" y="2664045"/>
                </a:cubicBezTo>
                <a:cubicBezTo>
                  <a:pt x="2044223" y="2623681"/>
                  <a:pt x="2131509" y="2414397"/>
                  <a:pt x="2368873" y="2377439"/>
                </a:cubicBezTo>
                <a:lnTo>
                  <a:pt x="2379579" y="2376508"/>
                </a:lnTo>
                <a:lnTo>
                  <a:pt x="2397307" y="2372375"/>
                </a:lnTo>
                <a:cubicBezTo>
                  <a:pt x="2442709" y="2365236"/>
                  <a:pt x="2481840" y="2369166"/>
                  <a:pt x="2519040" y="2376501"/>
                </a:cubicBezTo>
                <a:lnTo>
                  <a:pt x="2532815" y="2379692"/>
                </a:lnTo>
                <a:lnTo>
                  <a:pt x="2581963" y="2387364"/>
                </a:lnTo>
                <a:lnTo>
                  <a:pt x="2629946" y="2399633"/>
                </a:lnTo>
                <a:lnTo>
                  <a:pt x="2667842" y="2405842"/>
                </a:lnTo>
                <a:cubicBezTo>
                  <a:pt x="2905677" y="1528899"/>
                  <a:pt x="2570348" y="1528650"/>
                  <a:pt x="2654801" y="1005291"/>
                </a:cubicBezTo>
                <a:cubicBezTo>
                  <a:pt x="2417215" y="1653217"/>
                  <a:pt x="2762480" y="1650486"/>
                  <a:pt x="2542653" y="2246748"/>
                </a:cubicBezTo>
                <a:cubicBezTo>
                  <a:pt x="2438328" y="2257180"/>
                  <a:pt x="2390513" y="2211103"/>
                  <a:pt x="2229679" y="2278045"/>
                </a:cubicBezTo>
                <a:cubicBezTo>
                  <a:pt x="2066941" y="2358606"/>
                  <a:pt x="1910661" y="2497291"/>
                  <a:pt x="1741465" y="2519729"/>
                </a:cubicBezTo>
                <a:cubicBezTo>
                  <a:pt x="1583032" y="2521635"/>
                  <a:pt x="1531160" y="2462185"/>
                  <a:pt x="1455068" y="2351072"/>
                </a:cubicBezTo>
                <a:lnTo>
                  <a:pt x="1760218" y="1719911"/>
                </a:lnTo>
                <a:lnTo>
                  <a:pt x="1499406" y="2017234"/>
                </a:lnTo>
                <a:cubicBezTo>
                  <a:pt x="1335965" y="1676443"/>
                  <a:pt x="1322053" y="1813180"/>
                  <a:pt x="1248034" y="1619686"/>
                </a:cubicBezTo>
                <a:cubicBezTo>
                  <a:pt x="1276847" y="1255172"/>
                  <a:pt x="1975699" y="611343"/>
                  <a:pt x="2083625" y="535832"/>
                </a:cubicBezTo>
                <a:cubicBezTo>
                  <a:pt x="2135244" y="490951"/>
                  <a:pt x="2295643" y="499223"/>
                  <a:pt x="2525883" y="443835"/>
                </a:cubicBezTo>
                <a:lnTo>
                  <a:pt x="2569214" y="432048"/>
                </a:lnTo>
                <a:lnTo>
                  <a:pt x="2558835" y="430557"/>
                </a:lnTo>
                <a:cubicBezTo>
                  <a:pt x="2496767" y="423973"/>
                  <a:pt x="2414088" y="423468"/>
                  <a:pt x="2302954" y="424679"/>
                </a:cubicBezTo>
                <a:cubicBezTo>
                  <a:pt x="2520380" y="87778"/>
                  <a:pt x="2904103" y="9205"/>
                  <a:pt x="3210329" y="56"/>
                </a:cubicBezTo>
                <a:close/>
              </a:path>
            </a:pathLst>
          </a:custGeom>
          <a:solidFill>
            <a:schemeClr val="bg2">
              <a:lumMod val="25000"/>
            </a:schemeClr>
          </a:solidFill>
          <a:ln>
            <a:noFill/>
          </a:ln>
          <a:extLst/>
        </p:spPr>
        <p:txBody>
          <a:bodyPr vert="horz" wrap="square" lIns="93247" tIns="46623" rIns="93247" bIns="46623" numCol="1" anchor="t" anchorCtr="0" compatLnSpc="1">
            <a:prstTxWarp prst="textNoShape">
              <a:avLst/>
            </a:prstTxWarp>
            <a:noAutofit/>
          </a:bodyPr>
          <a:lstStyle/>
          <a:p>
            <a:pPr defTabSz="932418">
              <a:defRPr/>
            </a:pPr>
            <a:endParaRPr lang="en-US" sz="2448" kern="0" dirty="0">
              <a:latin typeface="Segoe UI Semilight"/>
            </a:endParaRPr>
          </a:p>
        </p:txBody>
      </p:sp>
      <p:cxnSp>
        <p:nvCxnSpPr>
          <p:cNvPr id="97" name="Straight Arrow Connector 96">
            <a:extLst>
              <a:ext uri="{FF2B5EF4-FFF2-40B4-BE49-F238E27FC236}">
                <a16:creationId xmlns:a16="http://schemas.microsoft.com/office/drawing/2014/main" id="{6493F76E-27A5-4D97-A18B-DE79F56A758B}"/>
              </a:ext>
            </a:extLst>
          </p:cNvPr>
          <p:cNvCxnSpPr>
            <a:cxnSpLocks/>
            <a:stCxn id="66" idx="3"/>
            <a:endCxn id="71" idx="1"/>
          </p:cNvCxnSpPr>
          <p:nvPr/>
        </p:nvCxnSpPr>
        <p:spPr>
          <a:xfrm>
            <a:off x="1547582" y="6269007"/>
            <a:ext cx="3888727" cy="0"/>
          </a:xfrm>
          <a:prstGeom prst="straightConnector1">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3EBF666F-D5D7-4702-BA84-0CD96B4550B9}"/>
              </a:ext>
            </a:extLst>
          </p:cNvPr>
          <p:cNvCxnSpPr>
            <a:cxnSpLocks/>
            <a:stCxn id="71" idx="3"/>
            <a:endCxn id="72" idx="1"/>
          </p:cNvCxnSpPr>
          <p:nvPr/>
        </p:nvCxnSpPr>
        <p:spPr>
          <a:xfrm>
            <a:off x="7248345" y="6269007"/>
            <a:ext cx="3234974" cy="0"/>
          </a:xfrm>
          <a:prstGeom prst="straightConnector1">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15" name="Group 4">
            <a:extLst>
              <a:ext uri="{FF2B5EF4-FFF2-40B4-BE49-F238E27FC236}">
                <a16:creationId xmlns:a16="http://schemas.microsoft.com/office/drawing/2014/main" id="{035B4E13-854A-4017-BAE9-4453E8F09C64}"/>
              </a:ext>
            </a:extLst>
          </p:cNvPr>
          <p:cNvGrpSpPr>
            <a:grpSpLocks noChangeAspect="1"/>
          </p:cNvGrpSpPr>
          <p:nvPr/>
        </p:nvGrpSpPr>
        <p:grpSpPr bwMode="auto">
          <a:xfrm>
            <a:off x="893285" y="1741212"/>
            <a:ext cx="424542" cy="414433"/>
            <a:chOff x="1759" y="236"/>
            <a:chExt cx="252" cy="246"/>
          </a:xfrm>
          <a:noFill/>
        </p:grpSpPr>
        <p:sp>
          <p:nvSpPr>
            <p:cNvPr id="116" name="Freeform 5">
              <a:extLst>
                <a:ext uri="{FF2B5EF4-FFF2-40B4-BE49-F238E27FC236}">
                  <a16:creationId xmlns:a16="http://schemas.microsoft.com/office/drawing/2014/main" id="{71423CF0-CB31-4437-AB11-CBBB60CDF1F8}"/>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1"/>
              </a:solidFill>
              <a:prstDash val="solid"/>
              <a:miter lim="800000"/>
              <a:headEnd/>
              <a:tailEnd/>
            </a:ln>
            <a:extLst/>
          </p:spPr>
          <p:txBody>
            <a:bodyPr vert="horz" wrap="square" lIns="73863" tIns="36932" rIns="73863" bIns="36932" numCol="1" anchor="t" anchorCtr="0" compatLnSpc="1">
              <a:prstTxWarp prst="textNoShape">
                <a:avLst/>
              </a:prstTxWarp>
            </a:bodyPr>
            <a:lstStyle/>
            <a:p>
              <a:pPr defTabSz="914049">
                <a:defRPr/>
              </a:pPr>
              <a:endParaRPr lang="en-US" sz="962" kern="0" dirty="0">
                <a:latin typeface="Segoe UI Semilight"/>
              </a:endParaRPr>
            </a:p>
          </p:txBody>
        </p:sp>
        <p:sp>
          <p:nvSpPr>
            <p:cNvPr id="118" name="Rectangle 6">
              <a:extLst>
                <a:ext uri="{FF2B5EF4-FFF2-40B4-BE49-F238E27FC236}">
                  <a16:creationId xmlns:a16="http://schemas.microsoft.com/office/drawing/2014/main" id="{F77FFD8E-9457-4DE0-8C76-0BA8BF153BA1}"/>
                </a:ext>
              </a:extLst>
            </p:cNvPr>
            <p:cNvSpPr>
              <a:spLocks noChangeArrowheads="1"/>
            </p:cNvSpPr>
            <p:nvPr/>
          </p:nvSpPr>
          <p:spPr bwMode="auto">
            <a:xfrm>
              <a:off x="1799" y="376"/>
              <a:ext cx="32" cy="106"/>
            </a:xfrm>
            <a:prstGeom prst="rect">
              <a:avLst/>
            </a:prstGeom>
            <a:grpFill/>
            <a:ln w="12700" cap="flat">
              <a:solidFill>
                <a:schemeClr val="tx1"/>
              </a:solidFill>
              <a:prstDash val="solid"/>
              <a:miter lim="800000"/>
              <a:headEnd/>
              <a:tailEnd/>
            </a:ln>
            <a:extLst/>
          </p:spPr>
          <p:txBody>
            <a:bodyPr vert="horz" wrap="square" lIns="73863" tIns="36932" rIns="73863" bIns="36932" numCol="1" anchor="t" anchorCtr="0" compatLnSpc="1">
              <a:prstTxWarp prst="textNoShape">
                <a:avLst/>
              </a:prstTxWarp>
            </a:bodyPr>
            <a:lstStyle/>
            <a:p>
              <a:pPr defTabSz="914049">
                <a:defRPr/>
              </a:pPr>
              <a:endParaRPr lang="en-US" sz="962" kern="0" dirty="0">
                <a:latin typeface="Segoe UI Semilight"/>
              </a:endParaRPr>
            </a:p>
          </p:txBody>
        </p:sp>
        <p:sp>
          <p:nvSpPr>
            <p:cNvPr id="119" name="Rectangle 7">
              <a:extLst>
                <a:ext uri="{FF2B5EF4-FFF2-40B4-BE49-F238E27FC236}">
                  <a16:creationId xmlns:a16="http://schemas.microsoft.com/office/drawing/2014/main" id="{980139ED-029C-4CD6-AEC7-ED7C17CF3C8C}"/>
                </a:ext>
              </a:extLst>
            </p:cNvPr>
            <p:cNvSpPr>
              <a:spLocks noChangeArrowheads="1"/>
            </p:cNvSpPr>
            <p:nvPr/>
          </p:nvSpPr>
          <p:spPr bwMode="auto">
            <a:xfrm>
              <a:off x="1862" y="283"/>
              <a:ext cx="33" cy="199"/>
            </a:xfrm>
            <a:prstGeom prst="rect">
              <a:avLst/>
            </a:prstGeom>
            <a:grpFill/>
            <a:ln w="12700" cap="flat">
              <a:solidFill>
                <a:schemeClr val="tx1"/>
              </a:solidFill>
              <a:prstDash val="solid"/>
              <a:miter lim="800000"/>
              <a:headEnd/>
              <a:tailEnd/>
            </a:ln>
            <a:extLst/>
          </p:spPr>
          <p:txBody>
            <a:bodyPr vert="horz" wrap="square" lIns="73863" tIns="36932" rIns="73863" bIns="36932" numCol="1" anchor="t" anchorCtr="0" compatLnSpc="1">
              <a:prstTxWarp prst="textNoShape">
                <a:avLst/>
              </a:prstTxWarp>
            </a:bodyPr>
            <a:lstStyle/>
            <a:p>
              <a:pPr defTabSz="914049">
                <a:defRPr/>
              </a:pPr>
              <a:endParaRPr lang="en-US" sz="962" kern="0" dirty="0">
                <a:latin typeface="Segoe UI Semilight"/>
              </a:endParaRPr>
            </a:p>
          </p:txBody>
        </p:sp>
        <p:sp>
          <p:nvSpPr>
            <p:cNvPr id="120" name="Rectangle 8">
              <a:extLst>
                <a:ext uri="{FF2B5EF4-FFF2-40B4-BE49-F238E27FC236}">
                  <a16:creationId xmlns:a16="http://schemas.microsoft.com/office/drawing/2014/main" id="{D7B579A0-B11C-475C-B3D4-85539DA7B764}"/>
                </a:ext>
              </a:extLst>
            </p:cNvPr>
            <p:cNvSpPr>
              <a:spLocks noChangeArrowheads="1"/>
            </p:cNvSpPr>
            <p:nvPr/>
          </p:nvSpPr>
          <p:spPr bwMode="auto">
            <a:xfrm>
              <a:off x="1926" y="324"/>
              <a:ext cx="33" cy="158"/>
            </a:xfrm>
            <a:prstGeom prst="rect">
              <a:avLst/>
            </a:prstGeom>
            <a:grpFill/>
            <a:ln w="12700" cap="flat">
              <a:solidFill>
                <a:schemeClr val="tx1"/>
              </a:solidFill>
              <a:prstDash val="solid"/>
              <a:miter lim="800000"/>
              <a:headEnd/>
              <a:tailEnd/>
            </a:ln>
            <a:extLst/>
          </p:spPr>
          <p:txBody>
            <a:bodyPr vert="horz" wrap="square" lIns="73863" tIns="36932" rIns="73863" bIns="36932" numCol="1" anchor="t" anchorCtr="0" compatLnSpc="1">
              <a:prstTxWarp prst="textNoShape">
                <a:avLst/>
              </a:prstTxWarp>
            </a:bodyPr>
            <a:lstStyle/>
            <a:p>
              <a:pPr defTabSz="914049">
                <a:defRPr/>
              </a:pPr>
              <a:endParaRPr lang="en-US" sz="962" kern="0" dirty="0">
                <a:latin typeface="Segoe UI Semilight"/>
              </a:endParaRPr>
            </a:p>
          </p:txBody>
        </p:sp>
      </p:grpSp>
      <p:grpSp>
        <p:nvGrpSpPr>
          <p:cNvPr id="121" name="Group 120">
            <a:extLst>
              <a:ext uri="{FF2B5EF4-FFF2-40B4-BE49-F238E27FC236}">
                <a16:creationId xmlns:a16="http://schemas.microsoft.com/office/drawing/2014/main" id="{3C326238-63EE-4D64-BE6B-B348F038E349}"/>
              </a:ext>
            </a:extLst>
          </p:cNvPr>
          <p:cNvGrpSpPr/>
          <p:nvPr/>
        </p:nvGrpSpPr>
        <p:grpSpPr>
          <a:xfrm>
            <a:off x="893286" y="4528979"/>
            <a:ext cx="538940" cy="412977"/>
            <a:chOff x="356915" y="4558566"/>
            <a:chExt cx="528421" cy="404916"/>
          </a:xfrm>
        </p:grpSpPr>
        <p:sp>
          <p:nvSpPr>
            <p:cNvPr id="122" name="Line 5">
              <a:extLst>
                <a:ext uri="{FF2B5EF4-FFF2-40B4-BE49-F238E27FC236}">
                  <a16:creationId xmlns:a16="http://schemas.microsoft.com/office/drawing/2014/main" id="{066B25A0-B319-4BBE-A6CA-0665CA1ED8CF}"/>
                </a:ext>
              </a:extLst>
            </p:cNvPr>
            <p:cNvSpPr>
              <a:spLocks noChangeShapeType="1"/>
            </p:cNvSpPr>
            <p:nvPr/>
          </p:nvSpPr>
          <p:spPr bwMode="auto">
            <a:xfrm>
              <a:off x="717724" y="4963482"/>
              <a:ext cx="106743"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2040" dirty="0">
                <a:latin typeface="Segoe UI Semilight"/>
              </a:endParaRPr>
            </a:p>
          </p:txBody>
        </p:sp>
        <p:grpSp>
          <p:nvGrpSpPr>
            <p:cNvPr id="123" name="Group 122">
              <a:extLst>
                <a:ext uri="{FF2B5EF4-FFF2-40B4-BE49-F238E27FC236}">
                  <a16:creationId xmlns:a16="http://schemas.microsoft.com/office/drawing/2014/main" id="{1ED1BD04-17D8-4F41-A3C9-B15B43A5C9BD}"/>
                </a:ext>
              </a:extLst>
            </p:cNvPr>
            <p:cNvGrpSpPr/>
            <p:nvPr/>
          </p:nvGrpSpPr>
          <p:grpSpPr>
            <a:xfrm>
              <a:off x="397495" y="4784401"/>
              <a:ext cx="105861" cy="179081"/>
              <a:chOff x="397495" y="4784401"/>
              <a:chExt cx="105861" cy="179081"/>
            </a:xfrm>
          </p:grpSpPr>
          <p:sp>
            <p:nvSpPr>
              <p:cNvPr id="128" name="Freeform 6">
                <a:extLst>
                  <a:ext uri="{FF2B5EF4-FFF2-40B4-BE49-F238E27FC236}">
                    <a16:creationId xmlns:a16="http://schemas.microsoft.com/office/drawing/2014/main" id="{AF652E8C-3727-4329-987E-3DA6C092A0FA}"/>
                  </a:ext>
                </a:extLst>
              </p:cNvPr>
              <p:cNvSpPr>
                <a:spLocks/>
              </p:cNvSpPr>
              <p:nvPr/>
            </p:nvSpPr>
            <p:spPr bwMode="auto">
              <a:xfrm>
                <a:off x="397495" y="4784401"/>
                <a:ext cx="105861" cy="179081"/>
              </a:xfrm>
              <a:custGeom>
                <a:avLst/>
                <a:gdLst>
                  <a:gd name="T0" fmla="*/ 65 w 68"/>
                  <a:gd name="T1" fmla="*/ 114 h 114"/>
                  <a:gd name="T2" fmla="*/ 4 w 68"/>
                  <a:gd name="T3" fmla="*/ 114 h 114"/>
                  <a:gd name="T4" fmla="*/ 0 w 68"/>
                  <a:gd name="T5" fmla="*/ 110 h 114"/>
                  <a:gd name="T6" fmla="*/ 0 w 68"/>
                  <a:gd name="T7" fmla="*/ 4 h 114"/>
                  <a:gd name="T8" fmla="*/ 4 w 68"/>
                  <a:gd name="T9" fmla="*/ 0 h 114"/>
                  <a:gd name="T10" fmla="*/ 65 w 68"/>
                  <a:gd name="T11" fmla="*/ 0 h 114"/>
                  <a:gd name="T12" fmla="*/ 68 w 68"/>
                  <a:gd name="T13" fmla="*/ 4 h 114"/>
                  <a:gd name="T14" fmla="*/ 68 w 68"/>
                  <a:gd name="T15" fmla="*/ 110 h 114"/>
                  <a:gd name="T16" fmla="*/ 65 w 68"/>
                  <a:gd name="T17"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114">
                    <a:moveTo>
                      <a:pt x="65" y="114"/>
                    </a:moveTo>
                    <a:cubicBezTo>
                      <a:pt x="4" y="114"/>
                      <a:pt x="4" y="114"/>
                      <a:pt x="4" y="114"/>
                    </a:cubicBezTo>
                    <a:cubicBezTo>
                      <a:pt x="2" y="114"/>
                      <a:pt x="0" y="112"/>
                      <a:pt x="0" y="110"/>
                    </a:cubicBezTo>
                    <a:cubicBezTo>
                      <a:pt x="0" y="4"/>
                      <a:pt x="0" y="4"/>
                      <a:pt x="0" y="4"/>
                    </a:cubicBezTo>
                    <a:cubicBezTo>
                      <a:pt x="0" y="2"/>
                      <a:pt x="2" y="0"/>
                      <a:pt x="4" y="0"/>
                    </a:cubicBezTo>
                    <a:cubicBezTo>
                      <a:pt x="65" y="0"/>
                      <a:pt x="65" y="0"/>
                      <a:pt x="65" y="0"/>
                    </a:cubicBezTo>
                    <a:cubicBezTo>
                      <a:pt x="67" y="0"/>
                      <a:pt x="68" y="2"/>
                      <a:pt x="68" y="4"/>
                    </a:cubicBezTo>
                    <a:cubicBezTo>
                      <a:pt x="68" y="110"/>
                      <a:pt x="68" y="110"/>
                      <a:pt x="68" y="110"/>
                    </a:cubicBezTo>
                    <a:cubicBezTo>
                      <a:pt x="68" y="112"/>
                      <a:pt x="67" y="114"/>
                      <a:pt x="65" y="114"/>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2040" dirty="0">
                  <a:latin typeface="Segoe UI Semilight"/>
                </a:endParaRPr>
              </a:p>
            </p:txBody>
          </p:sp>
          <p:sp>
            <p:nvSpPr>
              <p:cNvPr id="129" name="Line 9">
                <a:extLst>
                  <a:ext uri="{FF2B5EF4-FFF2-40B4-BE49-F238E27FC236}">
                    <a16:creationId xmlns:a16="http://schemas.microsoft.com/office/drawing/2014/main" id="{B18E2C3E-1396-44C5-BBDB-54AB1FE6DAAD}"/>
                  </a:ext>
                </a:extLst>
              </p:cNvPr>
              <p:cNvSpPr>
                <a:spLocks noChangeShapeType="1"/>
              </p:cNvSpPr>
              <p:nvPr/>
            </p:nvSpPr>
            <p:spPr bwMode="auto">
              <a:xfrm flipH="1">
                <a:off x="438957" y="4925548"/>
                <a:ext cx="24701"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2040" dirty="0">
                  <a:latin typeface="Segoe UI Semilight"/>
                </a:endParaRPr>
              </a:p>
            </p:txBody>
          </p:sp>
        </p:grpSp>
        <p:sp>
          <p:nvSpPr>
            <p:cNvPr id="124" name="Freeform 10">
              <a:extLst>
                <a:ext uri="{FF2B5EF4-FFF2-40B4-BE49-F238E27FC236}">
                  <a16:creationId xmlns:a16="http://schemas.microsoft.com/office/drawing/2014/main" id="{A4C32773-5E1C-4BE0-B897-8F061903B106}"/>
                </a:ext>
              </a:extLst>
            </p:cNvPr>
            <p:cNvSpPr>
              <a:spLocks/>
            </p:cNvSpPr>
            <p:nvPr/>
          </p:nvSpPr>
          <p:spPr bwMode="auto">
            <a:xfrm>
              <a:off x="356915" y="4558566"/>
              <a:ext cx="528421" cy="326403"/>
            </a:xfrm>
            <a:custGeom>
              <a:avLst/>
              <a:gdLst>
                <a:gd name="T0" fmla="*/ 0 w 338"/>
                <a:gd name="T1" fmla="*/ 93 h 208"/>
                <a:gd name="T2" fmla="*/ 0 w 338"/>
                <a:gd name="T3" fmla="*/ 10 h 208"/>
                <a:gd name="T4" fmla="*/ 10 w 338"/>
                <a:gd name="T5" fmla="*/ 0 h 208"/>
                <a:gd name="T6" fmla="*/ 328 w 338"/>
                <a:gd name="T7" fmla="*/ 0 h 208"/>
                <a:gd name="T8" fmla="*/ 338 w 338"/>
                <a:gd name="T9" fmla="*/ 10 h 208"/>
                <a:gd name="T10" fmla="*/ 338 w 338"/>
                <a:gd name="T11" fmla="*/ 198 h 208"/>
                <a:gd name="T12" fmla="*/ 328 w 338"/>
                <a:gd name="T13" fmla="*/ 208 h 208"/>
                <a:gd name="T14" fmla="*/ 242 w 338"/>
                <a:gd name="T15" fmla="*/ 208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8" h="208">
                  <a:moveTo>
                    <a:pt x="0" y="93"/>
                  </a:moveTo>
                  <a:cubicBezTo>
                    <a:pt x="0" y="10"/>
                    <a:pt x="0" y="10"/>
                    <a:pt x="0" y="10"/>
                  </a:cubicBezTo>
                  <a:cubicBezTo>
                    <a:pt x="0" y="5"/>
                    <a:pt x="5" y="0"/>
                    <a:pt x="10" y="0"/>
                  </a:cubicBezTo>
                  <a:cubicBezTo>
                    <a:pt x="328" y="0"/>
                    <a:pt x="328" y="0"/>
                    <a:pt x="328" y="0"/>
                  </a:cubicBezTo>
                  <a:cubicBezTo>
                    <a:pt x="334" y="0"/>
                    <a:pt x="338" y="5"/>
                    <a:pt x="338" y="10"/>
                  </a:cubicBezTo>
                  <a:cubicBezTo>
                    <a:pt x="338" y="198"/>
                    <a:pt x="338" y="198"/>
                    <a:pt x="338" y="198"/>
                  </a:cubicBezTo>
                  <a:cubicBezTo>
                    <a:pt x="338" y="203"/>
                    <a:pt x="334" y="208"/>
                    <a:pt x="328" y="208"/>
                  </a:cubicBezTo>
                  <a:cubicBezTo>
                    <a:pt x="242" y="208"/>
                    <a:pt x="242" y="208"/>
                    <a:pt x="242" y="208"/>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2040" dirty="0">
                <a:latin typeface="Segoe UI Semilight"/>
              </a:endParaRPr>
            </a:p>
          </p:txBody>
        </p:sp>
        <p:grpSp>
          <p:nvGrpSpPr>
            <p:cNvPr id="125" name="Group 124">
              <a:extLst>
                <a:ext uri="{FF2B5EF4-FFF2-40B4-BE49-F238E27FC236}">
                  <a16:creationId xmlns:a16="http://schemas.microsoft.com/office/drawing/2014/main" id="{8B2D46B4-B661-4057-A25A-02EFC2C120F8}"/>
                </a:ext>
              </a:extLst>
            </p:cNvPr>
            <p:cNvGrpSpPr/>
            <p:nvPr/>
          </p:nvGrpSpPr>
          <p:grpSpPr>
            <a:xfrm>
              <a:off x="356915" y="4685598"/>
              <a:ext cx="378452" cy="277884"/>
              <a:chOff x="356915" y="4685598"/>
              <a:chExt cx="378452" cy="277884"/>
            </a:xfrm>
          </p:grpSpPr>
          <p:sp>
            <p:nvSpPr>
              <p:cNvPr id="126" name="Freeform 7">
                <a:extLst>
                  <a:ext uri="{FF2B5EF4-FFF2-40B4-BE49-F238E27FC236}">
                    <a16:creationId xmlns:a16="http://schemas.microsoft.com/office/drawing/2014/main" id="{94AA81D2-E794-4D8F-B2A6-F2D15DE32A3F}"/>
                  </a:ext>
                </a:extLst>
              </p:cNvPr>
              <p:cNvSpPr>
                <a:spLocks/>
              </p:cNvSpPr>
              <p:nvPr/>
            </p:nvSpPr>
            <p:spPr bwMode="auto">
              <a:xfrm>
                <a:off x="356915" y="4685598"/>
                <a:ext cx="378452" cy="277884"/>
              </a:xfrm>
              <a:custGeom>
                <a:avLst/>
                <a:gdLst>
                  <a:gd name="T0" fmla="*/ 242 w 242"/>
                  <a:gd name="T1" fmla="*/ 165 h 177"/>
                  <a:gd name="T2" fmla="*/ 229 w 242"/>
                  <a:gd name="T3" fmla="*/ 177 h 177"/>
                  <a:gd name="T4" fmla="*/ 12 w 242"/>
                  <a:gd name="T5" fmla="*/ 177 h 177"/>
                  <a:gd name="T6" fmla="*/ 0 w 242"/>
                  <a:gd name="T7" fmla="*/ 165 h 177"/>
                  <a:gd name="T8" fmla="*/ 0 w 242"/>
                  <a:gd name="T9" fmla="*/ 12 h 177"/>
                  <a:gd name="T10" fmla="*/ 12 w 242"/>
                  <a:gd name="T11" fmla="*/ 0 h 177"/>
                  <a:gd name="T12" fmla="*/ 229 w 242"/>
                  <a:gd name="T13" fmla="*/ 0 h 177"/>
                  <a:gd name="T14" fmla="*/ 242 w 242"/>
                  <a:gd name="T15" fmla="*/ 12 h 177"/>
                  <a:gd name="T16" fmla="*/ 242 w 242"/>
                  <a:gd name="T17" fmla="*/ 165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2" h="177">
                    <a:moveTo>
                      <a:pt x="242" y="165"/>
                    </a:moveTo>
                    <a:cubicBezTo>
                      <a:pt x="242" y="172"/>
                      <a:pt x="236" y="177"/>
                      <a:pt x="229" y="177"/>
                    </a:cubicBezTo>
                    <a:cubicBezTo>
                      <a:pt x="12" y="177"/>
                      <a:pt x="12" y="177"/>
                      <a:pt x="12" y="177"/>
                    </a:cubicBezTo>
                    <a:cubicBezTo>
                      <a:pt x="6" y="177"/>
                      <a:pt x="0" y="172"/>
                      <a:pt x="0" y="165"/>
                    </a:cubicBezTo>
                    <a:cubicBezTo>
                      <a:pt x="0" y="12"/>
                      <a:pt x="0" y="12"/>
                      <a:pt x="0" y="12"/>
                    </a:cubicBezTo>
                    <a:cubicBezTo>
                      <a:pt x="0" y="5"/>
                      <a:pt x="6" y="0"/>
                      <a:pt x="12" y="0"/>
                    </a:cubicBezTo>
                    <a:cubicBezTo>
                      <a:pt x="229" y="0"/>
                      <a:pt x="229" y="0"/>
                      <a:pt x="229" y="0"/>
                    </a:cubicBezTo>
                    <a:cubicBezTo>
                      <a:pt x="236" y="0"/>
                      <a:pt x="242" y="5"/>
                      <a:pt x="242" y="12"/>
                    </a:cubicBezTo>
                    <a:lnTo>
                      <a:pt x="242" y="165"/>
                    </a:ln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2040" dirty="0">
                  <a:latin typeface="Segoe UI Semilight"/>
                </a:endParaRPr>
              </a:p>
            </p:txBody>
          </p:sp>
          <p:sp>
            <p:nvSpPr>
              <p:cNvPr id="127" name="Line 9">
                <a:extLst>
                  <a:ext uri="{FF2B5EF4-FFF2-40B4-BE49-F238E27FC236}">
                    <a16:creationId xmlns:a16="http://schemas.microsoft.com/office/drawing/2014/main" id="{7260FC0D-E742-4858-A92F-7D3E91B50885}"/>
                  </a:ext>
                </a:extLst>
              </p:cNvPr>
              <p:cNvSpPr>
                <a:spLocks noChangeShapeType="1"/>
              </p:cNvSpPr>
              <p:nvPr/>
            </p:nvSpPr>
            <p:spPr bwMode="auto">
              <a:xfrm flipH="1">
                <a:off x="533790" y="4925548"/>
                <a:ext cx="24701"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2040" dirty="0">
                  <a:latin typeface="Segoe UI Semilight"/>
                </a:endParaRPr>
              </a:p>
            </p:txBody>
          </p:sp>
        </p:grpSp>
      </p:grpSp>
      <p:sp>
        <p:nvSpPr>
          <p:cNvPr id="131" name="Freeform 389">
            <a:extLst>
              <a:ext uri="{FF2B5EF4-FFF2-40B4-BE49-F238E27FC236}">
                <a16:creationId xmlns:a16="http://schemas.microsoft.com/office/drawing/2014/main" id="{1B1B2CA9-AC2F-4DDD-A644-3F7C0FF10092}"/>
              </a:ext>
            </a:extLst>
          </p:cNvPr>
          <p:cNvSpPr>
            <a:spLocks noEditPoints="1"/>
          </p:cNvSpPr>
          <p:nvPr/>
        </p:nvSpPr>
        <p:spPr bwMode="auto">
          <a:xfrm>
            <a:off x="8409116" y="5454613"/>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solidFill>
            <a:schemeClr val="bg1">
              <a:lumMod val="50000"/>
            </a:schemeClr>
          </a:solidFill>
          <a:ln w="9525">
            <a:solidFill>
              <a:srgbClr val="000000"/>
            </a:solidFill>
            <a:round/>
            <a:headEnd/>
            <a:tailEnd/>
          </a:ln>
          <a:extLst/>
        </p:spPr>
        <p:txBody>
          <a:bodyPr vert="horz" wrap="square" lIns="91414" tIns="45706" rIns="91414" bIns="45706" numCol="1" anchor="t" anchorCtr="0" compatLnSpc="1">
            <a:prstTxWarp prst="textNoShape">
              <a:avLst/>
            </a:prstTxWarp>
          </a:bodyPr>
          <a:lstStyle/>
          <a:p>
            <a:pPr defTabSz="914012">
              <a:defRPr/>
            </a:pPr>
            <a:endParaRPr lang="en-US" sz="1700" kern="0" dirty="0">
              <a:solidFill>
                <a:schemeClr val="bg1">
                  <a:lumMod val="50000"/>
                </a:schemeClr>
              </a:solidFill>
              <a:latin typeface="Segoe UI" panose="020B0502040204020203" pitchFamily="34" charset="0"/>
              <a:ea typeface="MS PGothic" panose="020B0600070205080204" pitchFamily="34" charset="-128"/>
            </a:endParaRPr>
          </a:p>
        </p:txBody>
      </p:sp>
      <p:sp>
        <p:nvSpPr>
          <p:cNvPr id="132" name="Shape 101">
            <a:extLst>
              <a:ext uri="{FF2B5EF4-FFF2-40B4-BE49-F238E27FC236}">
                <a16:creationId xmlns:a16="http://schemas.microsoft.com/office/drawing/2014/main" id="{ABF53C3F-C1B8-469C-94BB-AC57117F1B15}"/>
              </a:ext>
            </a:extLst>
          </p:cNvPr>
          <p:cNvSpPr txBox="1"/>
          <p:nvPr/>
        </p:nvSpPr>
        <p:spPr>
          <a:xfrm>
            <a:off x="10389772" y="5251205"/>
            <a:ext cx="1680561" cy="262199"/>
          </a:xfrm>
          <a:prstGeom prst="rect">
            <a:avLst/>
          </a:prstGeom>
          <a:noFill/>
          <a:ln>
            <a:noFill/>
          </a:ln>
        </p:spPr>
        <p:txBody>
          <a:bodyPr lIns="93245" tIns="46610" rIns="93245" bIns="46610" anchor="t" anchorCtr="0">
            <a:spAutoFit/>
          </a:bodyPr>
          <a:lstStyle/>
          <a:p>
            <a:pPr defTabSz="951156">
              <a:defRPr/>
            </a:pPr>
            <a:r>
              <a:rPr lang="en-US" sz="1071" kern="0" dirty="0">
                <a:latin typeface="Segoe UI Semibold" panose="020B0702040204020203" pitchFamily="34" charset="0"/>
                <a:cs typeface="Segoe UI Semibold" panose="020B0702040204020203" pitchFamily="34" charset="0"/>
                <a:sym typeface="Calibri"/>
              </a:rPr>
              <a:t>Web &amp; mobile apps</a:t>
            </a:r>
          </a:p>
        </p:txBody>
      </p:sp>
      <p:sp>
        <p:nvSpPr>
          <p:cNvPr id="133" name="Rectangle 132">
            <a:extLst>
              <a:ext uri="{FF2B5EF4-FFF2-40B4-BE49-F238E27FC236}">
                <a16:creationId xmlns:a16="http://schemas.microsoft.com/office/drawing/2014/main" id="{85E6108B-D99D-482E-B2EE-10853C73A747}"/>
              </a:ext>
            </a:extLst>
          </p:cNvPr>
          <p:cNvSpPr/>
          <p:nvPr/>
        </p:nvSpPr>
        <p:spPr>
          <a:xfrm>
            <a:off x="8899400" y="4858567"/>
            <a:ext cx="1034612" cy="461665"/>
          </a:xfrm>
          <a:prstGeom prst="rect">
            <a:avLst/>
          </a:prstGeom>
        </p:spPr>
        <p:txBody>
          <a:bodyPr wrap="square">
            <a:spAutoFit/>
          </a:bodyPr>
          <a:lstStyle/>
          <a:p>
            <a:pPr defTabSz="951156">
              <a:defRPr/>
            </a:pPr>
            <a:r>
              <a:rPr lang="en-US" sz="1200" kern="0" dirty="0">
                <a:latin typeface="Segoe UI Semibold" panose="020B0702040204020203" pitchFamily="34" charset="0"/>
                <a:cs typeface="Segoe UI Semibold" panose="020B0702040204020203" pitchFamily="34" charset="0"/>
              </a:rPr>
              <a:t>Cosmos DB</a:t>
            </a:r>
          </a:p>
          <a:p>
            <a:pPr defTabSz="951156">
              <a:defRPr/>
            </a:pPr>
            <a:r>
              <a:rPr lang="en-US" sz="1200" kern="0" dirty="0">
                <a:latin typeface="Segoe UI Semibold" panose="020B0702040204020203" pitchFamily="34" charset="0"/>
                <a:cs typeface="Segoe UI Semibold" panose="020B0702040204020203" pitchFamily="34" charset="0"/>
              </a:rPr>
              <a:t>SQL DB</a:t>
            </a:r>
          </a:p>
        </p:txBody>
      </p:sp>
      <p:cxnSp>
        <p:nvCxnSpPr>
          <p:cNvPr id="134" name="Straight Arrow Connector 133">
            <a:extLst>
              <a:ext uri="{FF2B5EF4-FFF2-40B4-BE49-F238E27FC236}">
                <a16:creationId xmlns:a16="http://schemas.microsoft.com/office/drawing/2014/main" id="{49BB6E7E-8055-453C-BAB4-5C37EC6282E6}"/>
              </a:ext>
            </a:extLst>
          </p:cNvPr>
          <p:cNvCxnSpPr>
            <a:cxnSpLocks/>
          </p:cNvCxnSpPr>
          <p:nvPr/>
        </p:nvCxnSpPr>
        <p:spPr>
          <a:xfrm>
            <a:off x="9838392" y="5135123"/>
            <a:ext cx="558831" cy="0"/>
          </a:xfrm>
          <a:prstGeom prst="straightConnector1">
            <a:avLst/>
          </a:prstGeom>
          <a:ln>
            <a:solidFill>
              <a:schemeClr val="bg1">
                <a:lumMod val="50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35" name="Group 134">
            <a:extLst>
              <a:ext uri="{FF2B5EF4-FFF2-40B4-BE49-F238E27FC236}">
                <a16:creationId xmlns:a16="http://schemas.microsoft.com/office/drawing/2014/main" id="{51979BF1-34F2-4C5C-BE00-0CF45EDA9FB0}"/>
              </a:ext>
            </a:extLst>
          </p:cNvPr>
          <p:cNvGrpSpPr/>
          <p:nvPr/>
        </p:nvGrpSpPr>
        <p:grpSpPr>
          <a:xfrm>
            <a:off x="8379019" y="4845833"/>
            <a:ext cx="484918" cy="437254"/>
            <a:chOff x="3981450" y="1792288"/>
            <a:chExt cx="4229100" cy="3314701"/>
          </a:xfrm>
          <a:solidFill>
            <a:schemeClr val="bg2">
              <a:lumMod val="25000"/>
            </a:schemeClr>
          </a:solidFill>
        </p:grpSpPr>
        <p:sp>
          <p:nvSpPr>
            <p:cNvPr id="157" name="Oval 156">
              <a:extLst>
                <a:ext uri="{FF2B5EF4-FFF2-40B4-BE49-F238E27FC236}">
                  <a16:creationId xmlns:a16="http://schemas.microsoft.com/office/drawing/2014/main" id="{001D3429-68B1-4AB8-9261-2E95696274EA}"/>
                </a:ext>
              </a:extLst>
            </p:cNvPr>
            <p:cNvSpPr>
              <a:spLocks noChangeArrowheads="1"/>
            </p:cNvSpPr>
            <p:nvPr/>
          </p:nvSpPr>
          <p:spPr bwMode="auto">
            <a:xfrm>
              <a:off x="7716838" y="4572001"/>
              <a:ext cx="490538" cy="487363"/>
            </a:xfrm>
            <a:prstGeom prst="ellipse">
              <a:avLst/>
            </a:prstGeom>
            <a:grpFill/>
            <a:ln w="9525">
              <a:no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dirty="0">
                <a:solidFill>
                  <a:schemeClr val="bg1">
                    <a:lumMod val="50000"/>
                  </a:schemeClr>
                </a:solidFill>
                <a:latin typeface="Segoe UI Semilight"/>
              </a:endParaRPr>
            </a:p>
          </p:txBody>
        </p:sp>
        <p:sp>
          <p:nvSpPr>
            <p:cNvPr id="158" name="Oval 157">
              <a:extLst>
                <a:ext uri="{FF2B5EF4-FFF2-40B4-BE49-F238E27FC236}">
                  <a16:creationId xmlns:a16="http://schemas.microsoft.com/office/drawing/2014/main" id="{2A98643E-39E9-4938-88C3-ECEFC9A6E743}"/>
                </a:ext>
              </a:extLst>
            </p:cNvPr>
            <p:cNvSpPr>
              <a:spLocks noChangeArrowheads="1"/>
            </p:cNvSpPr>
            <p:nvPr/>
          </p:nvSpPr>
          <p:spPr bwMode="auto">
            <a:xfrm>
              <a:off x="6848475" y="1792288"/>
              <a:ext cx="715963" cy="715963"/>
            </a:xfrm>
            <a:prstGeom prst="ellipse">
              <a:avLst/>
            </a:prstGeom>
            <a:grpFill/>
            <a:ln w="9525">
              <a:no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dirty="0">
                <a:solidFill>
                  <a:schemeClr val="bg1">
                    <a:lumMod val="50000"/>
                  </a:schemeClr>
                </a:solidFill>
                <a:latin typeface="Segoe UI Semilight"/>
              </a:endParaRPr>
            </a:p>
          </p:txBody>
        </p:sp>
        <p:sp>
          <p:nvSpPr>
            <p:cNvPr id="159" name="Freeform 12">
              <a:extLst>
                <a:ext uri="{FF2B5EF4-FFF2-40B4-BE49-F238E27FC236}">
                  <a16:creationId xmlns:a16="http://schemas.microsoft.com/office/drawing/2014/main" id="{486BCCF0-1D05-4EAB-823C-B8CA2079C203}"/>
                </a:ext>
              </a:extLst>
            </p:cNvPr>
            <p:cNvSpPr>
              <a:spLocks/>
            </p:cNvSpPr>
            <p:nvPr/>
          </p:nvSpPr>
          <p:spPr bwMode="auto">
            <a:xfrm>
              <a:off x="4121150" y="2840038"/>
              <a:ext cx="4089400" cy="1920875"/>
            </a:xfrm>
            <a:custGeom>
              <a:avLst/>
              <a:gdLst>
                <a:gd name="T0" fmla="*/ 1280 w 1285"/>
                <a:gd name="T1" fmla="*/ 169 h 603"/>
                <a:gd name="T2" fmla="*/ 1283 w 1285"/>
                <a:gd name="T3" fmla="*/ 157 h 603"/>
                <a:gd name="T4" fmla="*/ 1285 w 1285"/>
                <a:gd name="T5" fmla="*/ 145 h 603"/>
                <a:gd name="T6" fmla="*/ 1285 w 1285"/>
                <a:gd name="T7" fmla="*/ 133 h 603"/>
                <a:gd name="T8" fmla="*/ 1284 w 1285"/>
                <a:gd name="T9" fmla="*/ 121 h 603"/>
                <a:gd name="T10" fmla="*/ 1282 w 1285"/>
                <a:gd name="T11" fmla="*/ 108 h 603"/>
                <a:gd name="T12" fmla="*/ 1281 w 1285"/>
                <a:gd name="T13" fmla="*/ 106 h 603"/>
                <a:gd name="T14" fmla="*/ 1281 w 1285"/>
                <a:gd name="T15" fmla="*/ 106 h 603"/>
                <a:gd name="T16" fmla="*/ 970 w 1285"/>
                <a:gd name="T17" fmla="*/ 6 h 603"/>
                <a:gd name="T18" fmla="*/ 1029 w 1285"/>
                <a:gd name="T19" fmla="*/ 60 h 603"/>
                <a:gd name="T20" fmla="*/ 1227 w 1285"/>
                <a:gd name="T21" fmla="*/ 122 h 603"/>
                <a:gd name="T22" fmla="*/ 1219 w 1285"/>
                <a:gd name="T23" fmla="*/ 169 h 603"/>
                <a:gd name="T24" fmla="*/ 1204 w 1285"/>
                <a:gd name="T25" fmla="*/ 192 h 603"/>
                <a:gd name="T26" fmla="*/ 1188 w 1285"/>
                <a:gd name="T27" fmla="*/ 212 h 603"/>
                <a:gd name="T28" fmla="*/ 1170 w 1285"/>
                <a:gd name="T29" fmla="*/ 230 h 603"/>
                <a:gd name="T30" fmla="*/ 1110 w 1285"/>
                <a:gd name="T31" fmla="*/ 280 h 603"/>
                <a:gd name="T32" fmla="*/ 1086 w 1285"/>
                <a:gd name="T33" fmla="*/ 296 h 603"/>
                <a:gd name="T34" fmla="*/ 279 w 1285"/>
                <a:gd name="T35" fmla="*/ 547 h 603"/>
                <a:gd name="T36" fmla="*/ 236 w 1285"/>
                <a:gd name="T37" fmla="*/ 546 h 603"/>
                <a:gd name="T38" fmla="*/ 216 w 1285"/>
                <a:gd name="T39" fmla="*/ 546 h 603"/>
                <a:gd name="T40" fmla="*/ 196 w 1285"/>
                <a:gd name="T41" fmla="*/ 544 h 603"/>
                <a:gd name="T42" fmla="*/ 178 w 1285"/>
                <a:gd name="T43" fmla="*/ 542 h 603"/>
                <a:gd name="T44" fmla="*/ 162 w 1285"/>
                <a:gd name="T45" fmla="*/ 539 h 603"/>
                <a:gd name="T46" fmla="*/ 147 w 1285"/>
                <a:gd name="T47" fmla="*/ 536 h 603"/>
                <a:gd name="T48" fmla="*/ 133 w 1285"/>
                <a:gd name="T49" fmla="*/ 532 h 603"/>
                <a:gd name="T50" fmla="*/ 120 w 1285"/>
                <a:gd name="T51" fmla="*/ 528 h 603"/>
                <a:gd name="T52" fmla="*/ 108 w 1285"/>
                <a:gd name="T53" fmla="*/ 524 h 603"/>
                <a:gd name="T54" fmla="*/ 97 w 1285"/>
                <a:gd name="T55" fmla="*/ 519 h 603"/>
                <a:gd name="T56" fmla="*/ 87 w 1285"/>
                <a:gd name="T57" fmla="*/ 514 h 603"/>
                <a:gd name="T58" fmla="*/ 79 w 1285"/>
                <a:gd name="T59" fmla="*/ 508 h 603"/>
                <a:gd name="T60" fmla="*/ 73 w 1285"/>
                <a:gd name="T61" fmla="*/ 502 h 603"/>
                <a:gd name="T62" fmla="*/ 68 w 1285"/>
                <a:gd name="T63" fmla="*/ 494 h 603"/>
                <a:gd name="T64" fmla="*/ 63 w 1285"/>
                <a:gd name="T65" fmla="*/ 486 h 603"/>
                <a:gd name="T66" fmla="*/ 62 w 1285"/>
                <a:gd name="T67" fmla="*/ 484 h 603"/>
                <a:gd name="T68" fmla="*/ 206 w 1285"/>
                <a:gd name="T69" fmla="*/ 310 h 603"/>
                <a:gd name="T70" fmla="*/ 20 w 1285"/>
                <a:gd name="T71" fmla="*/ 412 h 603"/>
                <a:gd name="T72" fmla="*/ 262 w 1285"/>
                <a:gd name="T73" fmla="*/ 603 h 603"/>
                <a:gd name="T74" fmla="*/ 714 w 1285"/>
                <a:gd name="T75" fmla="*/ 525 h 603"/>
                <a:gd name="T76" fmla="*/ 1082 w 1285"/>
                <a:gd name="T77" fmla="*/ 364 h 603"/>
                <a:gd name="T78" fmla="*/ 1174 w 1285"/>
                <a:gd name="T79" fmla="*/ 301 h 603"/>
                <a:gd name="T80" fmla="*/ 1199 w 1285"/>
                <a:gd name="T81" fmla="*/ 280 h 603"/>
                <a:gd name="T82" fmla="*/ 1221 w 1285"/>
                <a:gd name="T83" fmla="*/ 258 h 603"/>
                <a:gd name="T84" fmla="*/ 1240 w 1285"/>
                <a:gd name="T85" fmla="*/ 237 h 603"/>
                <a:gd name="T86" fmla="*/ 1256 w 1285"/>
                <a:gd name="T87" fmla="*/ 216 h 603"/>
                <a:gd name="T88" fmla="*/ 1275 w 1285"/>
                <a:gd name="T89" fmla="*/ 184 h 603"/>
                <a:gd name="T90" fmla="*/ 1279 w 1285"/>
                <a:gd name="T91" fmla="*/ 172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85" h="603">
                  <a:moveTo>
                    <a:pt x="1279" y="172"/>
                  </a:moveTo>
                  <a:cubicBezTo>
                    <a:pt x="1279" y="171"/>
                    <a:pt x="1279" y="170"/>
                    <a:pt x="1280" y="169"/>
                  </a:cubicBezTo>
                  <a:cubicBezTo>
                    <a:pt x="1280" y="166"/>
                    <a:pt x="1281" y="163"/>
                    <a:pt x="1282" y="160"/>
                  </a:cubicBezTo>
                  <a:cubicBezTo>
                    <a:pt x="1282" y="159"/>
                    <a:pt x="1282" y="158"/>
                    <a:pt x="1283" y="157"/>
                  </a:cubicBezTo>
                  <a:cubicBezTo>
                    <a:pt x="1283" y="154"/>
                    <a:pt x="1284" y="152"/>
                    <a:pt x="1284" y="149"/>
                  </a:cubicBezTo>
                  <a:cubicBezTo>
                    <a:pt x="1284" y="148"/>
                    <a:pt x="1285" y="146"/>
                    <a:pt x="1285" y="145"/>
                  </a:cubicBezTo>
                  <a:cubicBezTo>
                    <a:pt x="1285" y="143"/>
                    <a:pt x="1285" y="140"/>
                    <a:pt x="1285" y="138"/>
                  </a:cubicBezTo>
                  <a:cubicBezTo>
                    <a:pt x="1285" y="137"/>
                    <a:pt x="1285" y="135"/>
                    <a:pt x="1285" y="133"/>
                  </a:cubicBezTo>
                  <a:cubicBezTo>
                    <a:pt x="1285" y="131"/>
                    <a:pt x="1285" y="130"/>
                    <a:pt x="1285" y="128"/>
                  </a:cubicBezTo>
                  <a:cubicBezTo>
                    <a:pt x="1285" y="125"/>
                    <a:pt x="1285" y="123"/>
                    <a:pt x="1284" y="121"/>
                  </a:cubicBezTo>
                  <a:cubicBezTo>
                    <a:pt x="1284" y="120"/>
                    <a:pt x="1284" y="118"/>
                    <a:pt x="1284" y="117"/>
                  </a:cubicBezTo>
                  <a:cubicBezTo>
                    <a:pt x="1284" y="114"/>
                    <a:pt x="1283" y="111"/>
                    <a:pt x="1282" y="108"/>
                  </a:cubicBezTo>
                  <a:cubicBezTo>
                    <a:pt x="1282" y="108"/>
                    <a:pt x="1281" y="107"/>
                    <a:pt x="1281" y="106"/>
                  </a:cubicBezTo>
                  <a:cubicBezTo>
                    <a:pt x="1281" y="106"/>
                    <a:pt x="1281" y="106"/>
                    <a:pt x="1281" y="106"/>
                  </a:cubicBezTo>
                  <a:cubicBezTo>
                    <a:pt x="1281" y="106"/>
                    <a:pt x="1281" y="106"/>
                    <a:pt x="1281" y="106"/>
                  </a:cubicBezTo>
                  <a:cubicBezTo>
                    <a:pt x="1281" y="106"/>
                    <a:pt x="1281" y="106"/>
                    <a:pt x="1281" y="106"/>
                  </a:cubicBezTo>
                  <a:cubicBezTo>
                    <a:pt x="1273" y="78"/>
                    <a:pt x="1253" y="56"/>
                    <a:pt x="1222" y="39"/>
                  </a:cubicBezTo>
                  <a:cubicBezTo>
                    <a:pt x="1168" y="10"/>
                    <a:pt x="1078" y="0"/>
                    <a:pt x="970" y="6"/>
                  </a:cubicBezTo>
                  <a:cubicBezTo>
                    <a:pt x="985" y="22"/>
                    <a:pt x="999" y="40"/>
                    <a:pt x="1012" y="60"/>
                  </a:cubicBezTo>
                  <a:cubicBezTo>
                    <a:pt x="1018" y="60"/>
                    <a:pt x="1024" y="60"/>
                    <a:pt x="1029" y="60"/>
                  </a:cubicBezTo>
                  <a:cubicBezTo>
                    <a:pt x="1100" y="60"/>
                    <a:pt x="1158" y="69"/>
                    <a:pt x="1195" y="89"/>
                  </a:cubicBezTo>
                  <a:cubicBezTo>
                    <a:pt x="1213" y="98"/>
                    <a:pt x="1224" y="110"/>
                    <a:pt x="1227" y="122"/>
                  </a:cubicBezTo>
                  <a:cubicBezTo>
                    <a:pt x="1227" y="123"/>
                    <a:pt x="1227" y="123"/>
                    <a:pt x="1227" y="123"/>
                  </a:cubicBezTo>
                  <a:cubicBezTo>
                    <a:pt x="1231" y="136"/>
                    <a:pt x="1228" y="151"/>
                    <a:pt x="1219" y="169"/>
                  </a:cubicBezTo>
                  <a:cubicBezTo>
                    <a:pt x="1216" y="174"/>
                    <a:pt x="1213" y="180"/>
                    <a:pt x="1209" y="186"/>
                  </a:cubicBezTo>
                  <a:cubicBezTo>
                    <a:pt x="1207" y="188"/>
                    <a:pt x="1206" y="190"/>
                    <a:pt x="1204" y="192"/>
                  </a:cubicBezTo>
                  <a:cubicBezTo>
                    <a:pt x="1201" y="196"/>
                    <a:pt x="1198" y="200"/>
                    <a:pt x="1196" y="203"/>
                  </a:cubicBezTo>
                  <a:cubicBezTo>
                    <a:pt x="1193" y="206"/>
                    <a:pt x="1191" y="209"/>
                    <a:pt x="1188" y="212"/>
                  </a:cubicBezTo>
                  <a:cubicBezTo>
                    <a:pt x="1186" y="214"/>
                    <a:pt x="1183" y="217"/>
                    <a:pt x="1180" y="220"/>
                  </a:cubicBezTo>
                  <a:cubicBezTo>
                    <a:pt x="1177" y="224"/>
                    <a:pt x="1174" y="227"/>
                    <a:pt x="1170" y="230"/>
                  </a:cubicBezTo>
                  <a:cubicBezTo>
                    <a:pt x="1169" y="232"/>
                    <a:pt x="1167" y="234"/>
                    <a:pt x="1165" y="235"/>
                  </a:cubicBezTo>
                  <a:cubicBezTo>
                    <a:pt x="1149" y="250"/>
                    <a:pt x="1130" y="265"/>
                    <a:pt x="1110" y="280"/>
                  </a:cubicBezTo>
                  <a:cubicBezTo>
                    <a:pt x="1110" y="280"/>
                    <a:pt x="1110" y="280"/>
                    <a:pt x="1110" y="280"/>
                  </a:cubicBezTo>
                  <a:cubicBezTo>
                    <a:pt x="1102" y="286"/>
                    <a:pt x="1094" y="291"/>
                    <a:pt x="1086" y="296"/>
                  </a:cubicBezTo>
                  <a:cubicBezTo>
                    <a:pt x="988" y="361"/>
                    <a:pt x="851" y="424"/>
                    <a:pt x="698" y="472"/>
                  </a:cubicBezTo>
                  <a:cubicBezTo>
                    <a:pt x="538" y="522"/>
                    <a:pt x="392" y="545"/>
                    <a:pt x="279" y="547"/>
                  </a:cubicBezTo>
                  <a:cubicBezTo>
                    <a:pt x="279" y="547"/>
                    <a:pt x="279" y="547"/>
                    <a:pt x="279" y="547"/>
                  </a:cubicBezTo>
                  <a:cubicBezTo>
                    <a:pt x="264" y="547"/>
                    <a:pt x="249" y="547"/>
                    <a:pt x="236" y="546"/>
                  </a:cubicBezTo>
                  <a:cubicBezTo>
                    <a:pt x="235" y="546"/>
                    <a:pt x="235" y="546"/>
                    <a:pt x="235" y="546"/>
                  </a:cubicBezTo>
                  <a:cubicBezTo>
                    <a:pt x="228" y="546"/>
                    <a:pt x="222" y="546"/>
                    <a:pt x="216" y="546"/>
                  </a:cubicBezTo>
                  <a:cubicBezTo>
                    <a:pt x="215" y="546"/>
                    <a:pt x="215" y="546"/>
                    <a:pt x="214" y="546"/>
                  </a:cubicBezTo>
                  <a:cubicBezTo>
                    <a:pt x="208" y="545"/>
                    <a:pt x="202" y="545"/>
                    <a:pt x="196" y="544"/>
                  </a:cubicBezTo>
                  <a:cubicBezTo>
                    <a:pt x="196" y="544"/>
                    <a:pt x="195" y="544"/>
                    <a:pt x="195" y="544"/>
                  </a:cubicBezTo>
                  <a:cubicBezTo>
                    <a:pt x="189" y="544"/>
                    <a:pt x="184" y="543"/>
                    <a:pt x="178" y="542"/>
                  </a:cubicBezTo>
                  <a:cubicBezTo>
                    <a:pt x="178" y="542"/>
                    <a:pt x="177" y="542"/>
                    <a:pt x="176" y="542"/>
                  </a:cubicBezTo>
                  <a:cubicBezTo>
                    <a:pt x="171" y="541"/>
                    <a:pt x="166" y="540"/>
                    <a:pt x="162" y="539"/>
                  </a:cubicBezTo>
                  <a:cubicBezTo>
                    <a:pt x="161" y="539"/>
                    <a:pt x="160" y="539"/>
                    <a:pt x="160" y="539"/>
                  </a:cubicBezTo>
                  <a:cubicBezTo>
                    <a:pt x="155" y="538"/>
                    <a:pt x="151" y="537"/>
                    <a:pt x="147" y="536"/>
                  </a:cubicBezTo>
                  <a:cubicBezTo>
                    <a:pt x="146" y="536"/>
                    <a:pt x="145" y="536"/>
                    <a:pt x="144" y="535"/>
                  </a:cubicBezTo>
                  <a:cubicBezTo>
                    <a:pt x="140" y="534"/>
                    <a:pt x="136" y="533"/>
                    <a:pt x="133" y="532"/>
                  </a:cubicBezTo>
                  <a:cubicBezTo>
                    <a:pt x="132" y="532"/>
                    <a:pt x="131" y="532"/>
                    <a:pt x="130" y="532"/>
                  </a:cubicBezTo>
                  <a:cubicBezTo>
                    <a:pt x="126" y="531"/>
                    <a:pt x="123" y="530"/>
                    <a:pt x="120" y="528"/>
                  </a:cubicBezTo>
                  <a:cubicBezTo>
                    <a:pt x="118" y="528"/>
                    <a:pt x="117" y="528"/>
                    <a:pt x="116" y="527"/>
                  </a:cubicBezTo>
                  <a:cubicBezTo>
                    <a:pt x="113" y="526"/>
                    <a:pt x="110" y="525"/>
                    <a:pt x="108" y="524"/>
                  </a:cubicBezTo>
                  <a:cubicBezTo>
                    <a:pt x="106" y="524"/>
                    <a:pt x="105" y="523"/>
                    <a:pt x="104" y="522"/>
                  </a:cubicBezTo>
                  <a:cubicBezTo>
                    <a:pt x="102" y="521"/>
                    <a:pt x="99" y="520"/>
                    <a:pt x="97" y="519"/>
                  </a:cubicBezTo>
                  <a:cubicBezTo>
                    <a:pt x="96" y="518"/>
                    <a:pt x="94" y="518"/>
                    <a:pt x="93" y="517"/>
                  </a:cubicBezTo>
                  <a:cubicBezTo>
                    <a:pt x="91" y="516"/>
                    <a:pt x="89" y="515"/>
                    <a:pt x="87" y="514"/>
                  </a:cubicBezTo>
                  <a:cubicBezTo>
                    <a:pt x="86" y="513"/>
                    <a:pt x="85" y="512"/>
                    <a:pt x="84" y="512"/>
                  </a:cubicBezTo>
                  <a:cubicBezTo>
                    <a:pt x="82" y="510"/>
                    <a:pt x="81" y="509"/>
                    <a:pt x="79" y="508"/>
                  </a:cubicBezTo>
                  <a:cubicBezTo>
                    <a:pt x="78" y="507"/>
                    <a:pt x="77" y="506"/>
                    <a:pt x="76" y="506"/>
                  </a:cubicBezTo>
                  <a:cubicBezTo>
                    <a:pt x="75" y="504"/>
                    <a:pt x="74" y="503"/>
                    <a:pt x="73" y="502"/>
                  </a:cubicBezTo>
                  <a:cubicBezTo>
                    <a:pt x="72" y="501"/>
                    <a:pt x="71" y="500"/>
                    <a:pt x="70" y="499"/>
                  </a:cubicBezTo>
                  <a:cubicBezTo>
                    <a:pt x="69" y="498"/>
                    <a:pt x="68" y="496"/>
                    <a:pt x="68" y="494"/>
                  </a:cubicBezTo>
                  <a:cubicBezTo>
                    <a:pt x="67" y="494"/>
                    <a:pt x="66" y="493"/>
                    <a:pt x="66" y="492"/>
                  </a:cubicBezTo>
                  <a:cubicBezTo>
                    <a:pt x="64" y="490"/>
                    <a:pt x="64" y="488"/>
                    <a:pt x="63" y="486"/>
                  </a:cubicBezTo>
                  <a:cubicBezTo>
                    <a:pt x="63" y="485"/>
                    <a:pt x="63" y="485"/>
                    <a:pt x="62" y="484"/>
                  </a:cubicBezTo>
                  <a:cubicBezTo>
                    <a:pt x="62" y="484"/>
                    <a:pt x="62" y="484"/>
                    <a:pt x="62" y="484"/>
                  </a:cubicBezTo>
                  <a:cubicBezTo>
                    <a:pt x="58" y="471"/>
                    <a:pt x="61" y="456"/>
                    <a:pt x="70" y="438"/>
                  </a:cubicBezTo>
                  <a:cubicBezTo>
                    <a:pt x="91" y="398"/>
                    <a:pt x="140" y="354"/>
                    <a:pt x="206" y="310"/>
                  </a:cubicBezTo>
                  <a:cubicBezTo>
                    <a:pt x="206" y="287"/>
                    <a:pt x="207" y="264"/>
                    <a:pt x="210" y="242"/>
                  </a:cubicBezTo>
                  <a:cubicBezTo>
                    <a:pt x="117" y="298"/>
                    <a:pt x="49" y="358"/>
                    <a:pt x="20" y="412"/>
                  </a:cubicBezTo>
                  <a:cubicBezTo>
                    <a:pt x="4" y="444"/>
                    <a:pt x="0" y="474"/>
                    <a:pt x="8" y="501"/>
                  </a:cubicBezTo>
                  <a:cubicBezTo>
                    <a:pt x="31" y="573"/>
                    <a:pt x="130" y="603"/>
                    <a:pt x="262" y="603"/>
                  </a:cubicBezTo>
                  <a:cubicBezTo>
                    <a:pt x="276" y="603"/>
                    <a:pt x="289" y="603"/>
                    <a:pt x="303" y="602"/>
                  </a:cubicBezTo>
                  <a:cubicBezTo>
                    <a:pt x="428" y="597"/>
                    <a:pt x="575" y="568"/>
                    <a:pt x="714" y="525"/>
                  </a:cubicBezTo>
                  <a:cubicBezTo>
                    <a:pt x="855" y="481"/>
                    <a:pt x="983" y="424"/>
                    <a:pt x="1082" y="364"/>
                  </a:cubicBezTo>
                  <a:cubicBezTo>
                    <a:pt x="1082" y="364"/>
                    <a:pt x="1082" y="364"/>
                    <a:pt x="1082" y="364"/>
                  </a:cubicBezTo>
                  <a:cubicBezTo>
                    <a:pt x="1082" y="364"/>
                    <a:pt x="1082" y="364"/>
                    <a:pt x="1082" y="364"/>
                  </a:cubicBezTo>
                  <a:cubicBezTo>
                    <a:pt x="1116" y="344"/>
                    <a:pt x="1147" y="322"/>
                    <a:pt x="1174" y="301"/>
                  </a:cubicBezTo>
                  <a:cubicBezTo>
                    <a:pt x="1174" y="300"/>
                    <a:pt x="1174" y="300"/>
                    <a:pt x="1175" y="300"/>
                  </a:cubicBezTo>
                  <a:cubicBezTo>
                    <a:pt x="1184" y="293"/>
                    <a:pt x="1192" y="286"/>
                    <a:pt x="1199" y="280"/>
                  </a:cubicBezTo>
                  <a:cubicBezTo>
                    <a:pt x="1200" y="278"/>
                    <a:pt x="1201" y="278"/>
                    <a:pt x="1202" y="276"/>
                  </a:cubicBezTo>
                  <a:cubicBezTo>
                    <a:pt x="1209" y="270"/>
                    <a:pt x="1216" y="264"/>
                    <a:pt x="1221" y="258"/>
                  </a:cubicBezTo>
                  <a:cubicBezTo>
                    <a:pt x="1223" y="256"/>
                    <a:pt x="1225" y="254"/>
                    <a:pt x="1227" y="252"/>
                  </a:cubicBezTo>
                  <a:cubicBezTo>
                    <a:pt x="1232" y="247"/>
                    <a:pt x="1236" y="242"/>
                    <a:pt x="1240" y="237"/>
                  </a:cubicBezTo>
                  <a:cubicBezTo>
                    <a:pt x="1243" y="234"/>
                    <a:pt x="1246" y="230"/>
                    <a:pt x="1248" y="227"/>
                  </a:cubicBezTo>
                  <a:cubicBezTo>
                    <a:pt x="1251" y="223"/>
                    <a:pt x="1254" y="220"/>
                    <a:pt x="1256" y="216"/>
                  </a:cubicBezTo>
                  <a:cubicBezTo>
                    <a:pt x="1261" y="209"/>
                    <a:pt x="1266" y="202"/>
                    <a:pt x="1269" y="195"/>
                  </a:cubicBezTo>
                  <a:cubicBezTo>
                    <a:pt x="1271" y="191"/>
                    <a:pt x="1273" y="187"/>
                    <a:pt x="1275" y="184"/>
                  </a:cubicBezTo>
                  <a:cubicBezTo>
                    <a:pt x="1275" y="183"/>
                    <a:pt x="1276" y="182"/>
                    <a:pt x="1276" y="181"/>
                  </a:cubicBezTo>
                  <a:cubicBezTo>
                    <a:pt x="1276" y="178"/>
                    <a:pt x="1278" y="175"/>
                    <a:pt x="1279" y="172"/>
                  </a:cubicBezTo>
                  <a:close/>
                </a:path>
              </a:pathLst>
            </a:custGeom>
            <a:grpFill/>
            <a:ln w="9525">
              <a:no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dirty="0">
                <a:solidFill>
                  <a:schemeClr val="bg1">
                    <a:lumMod val="50000"/>
                  </a:schemeClr>
                </a:solidFill>
                <a:latin typeface="Segoe UI Semilight"/>
              </a:endParaRPr>
            </a:p>
          </p:txBody>
        </p:sp>
        <p:sp>
          <p:nvSpPr>
            <p:cNvPr id="160" name="Freeform 13">
              <a:extLst>
                <a:ext uri="{FF2B5EF4-FFF2-40B4-BE49-F238E27FC236}">
                  <a16:creationId xmlns:a16="http://schemas.microsoft.com/office/drawing/2014/main" id="{BD7BB2C9-0BF0-43E8-912A-F72AF0FA3D7C}"/>
                </a:ext>
              </a:extLst>
            </p:cNvPr>
            <p:cNvSpPr>
              <a:spLocks noEditPoints="1"/>
            </p:cNvSpPr>
            <p:nvPr/>
          </p:nvSpPr>
          <p:spPr bwMode="auto">
            <a:xfrm>
              <a:off x="3981450" y="1887538"/>
              <a:ext cx="1320800" cy="1322388"/>
            </a:xfrm>
            <a:custGeom>
              <a:avLst/>
              <a:gdLst>
                <a:gd name="T0" fmla="*/ 388 w 415"/>
                <a:gd name="T1" fmla="*/ 179 h 415"/>
                <a:gd name="T2" fmla="*/ 386 w 415"/>
                <a:gd name="T3" fmla="*/ 179 h 415"/>
                <a:gd name="T4" fmla="*/ 386 w 415"/>
                <a:gd name="T5" fmla="*/ 179 h 415"/>
                <a:gd name="T6" fmla="*/ 235 w 415"/>
                <a:gd name="T7" fmla="*/ 45 h 415"/>
                <a:gd name="T8" fmla="*/ 236 w 415"/>
                <a:gd name="T9" fmla="*/ 30 h 415"/>
                <a:gd name="T10" fmla="*/ 227 w 415"/>
                <a:gd name="T11" fmla="*/ 9 h 415"/>
                <a:gd name="T12" fmla="*/ 206 w 415"/>
                <a:gd name="T13" fmla="*/ 0 h 415"/>
                <a:gd name="T14" fmla="*/ 178 w 415"/>
                <a:gd name="T15" fmla="*/ 28 h 415"/>
                <a:gd name="T16" fmla="*/ 179 w 415"/>
                <a:gd name="T17" fmla="*/ 46 h 415"/>
                <a:gd name="T18" fmla="*/ 45 w 415"/>
                <a:gd name="T19" fmla="*/ 181 h 415"/>
                <a:gd name="T20" fmla="*/ 28 w 415"/>
                <a:gd name="T21" fmla="*/ 180 h 415"/>
                <a:gd name="T22" fmla="*/ 0 w 415"/>
                <a:gd name="T23" fmla="*/ 208 h 415"/>
                <a:gd name="T24" fmla="*/ 0 w 415"/>
                <a:gd name="T25" fmla="*/ 209 h 415"/>
                <a:gd name="T26" fmla="*/ 0 w 415"/>
                <a:gd name="T27" fmla="*/ 209 h 415"/>
                <a:gd name="T28" fmla="*/ 28 w 415"/>
                <a:gd name="T29" fmla="*/ 237 h 415"/>
                <a:gd name="T30" fmla="*/ 45 w 415"/>
                <a:gd name="T31" fmla="*/ 237 h 415"/>
                <a:gd name="T32" fmla="*/ 180 w 415"/>
                <a:gd name="T33" fmla="*/ 387 h 415"/>
                <a:gd name="T34" fmla="*/ 208 w 415"/>
                <a:gd name="T35" fmla="*/ 415 h 415"/>
                <a:gd name="T36" fmla="*/ 236 w 415"/>
                <a:gd name="T37" fmla="*/ 387 h 415"/>
                <a:gd name="T38" fmla="*/ 387 w 415"/>
                <a:gd name="T39" fmla="*/ 236 h 415"/>
                <a:gd name="T40" fmla="*/ 415 w 415"/>
                <a:gd name="T41" fmla="*/ 208 h 415"/>
                <a:gd name="T42" fmla="*/ 388 w 415"/>
                <a:gd name="T43" fmla="*/ 179 h 415"/>
                <a:gd name="T44" fmla="*/ 208 w 415"/>
                <a:gd name="T45" fmla="*/ 283 h 415"/>
                <a:gd name="T46" fmla="*/ 134 w 415"/>
                <a:gd name="T47" fmla="*/ 209 h 415"/>
                <a:gd name="T48" fmla="*/ 208 w 415"/>
                <a:gd name="T49" fmla="*/ 134 h 415"/>
                <a:gd name="T50" fmla="*/ 283 w 415"/>
                <a:gd name="T51" fmla="*/ 208 h 415"/>
                <a:gd name="T52" fmla="*/ 208 w 415"/>
                <a:gd name="T53" fmla="*/ 283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5" h="415">
                  <a:moveTo>
                    <a:pt x="388" y="179"/>
                  </a:moveTo>
                  <a:cubicBezTo>
                    <a:pt x="387" y="179"/>
                    <a:pt x="387" y="179"/>
                    <a:pt x="386" y="179"/>
                  </a:cubicBezTo>
                  <a:cubicBezTo>
                    <a:pt x="386" y="179"/>
                    <a:pt x="386" y="179"/>
                    <a:pt x="386" y="179"/>
                  </a:cubicBezTo>
                  <a:cubicBezTo>
                    <a:pt x="308" y="179"/>
                    <a:pt x="244" y="121"/>
                    <a:pt x="235" y="45"/>
                  </a:cubicBezTo>
                  <a:cubicBezTo>
                    <a:pt x="236" y="40"/>
                    <a:pt x="236" y="35"/>
                    <a:pt x="236" y="30"/>
                  </a:cubicBezTo>
                  <a:cubicBezTo>
                    <a:pt x="236" y="21"/>
                    <a:pt x="232" y="14"/>
                    <a:pt x="227" y="9"/>
                  </a:cubicBezTo>
                  <a:cubicBezTo>
                    <a:pt x="222" y="3"/>
                    <a:pt x="214" y="0"/>
                    <a:pt x="206" y="0"/>
                  </a:cubicBezTo>
                  <a:cubicBezTo>
                    <a:pt x="190" y="0"/>
                    <a:pt x="178" y="12"/>
                    <a:pt x="178" y="28"/>
                  </a:cubicBezTo>
                  <a:cubicBezTo>
                    <a:pt x="178" y="34"/>
                    <a:pt x="178" y="40"/>
                    <a:pt x="179" y="46"/>
                  </a:cubicBezTo>
                  <a:cubicBezTo>
                    <a:pt x="171" y="117"/>
                    <a:pt x="115" y="173"/>
                    <a:pt x="45" y="181"/>
                  </a:cubicBezTo>
                  <a:cubicBezTo>
                    <a:pt x="39" y="180"/>
                    <a:pt x="34" y="180"/>
                    <a:pt x="28" y="180"/>
                  </a:cubicBezTo>
                  <a:cubicBezTo>
                    <a:pt x="12" y="180"/>
                    <a:pt x="0" y="192"/>
                    <a:pt x="0" y="208"/>
                  </a:cubicBezTo>
                  <a:cubicBezTo>
                    <a:pt x="0" y="208"/>
                    <a:pt x="0" y="209"/>
                    <a:pt x="0" y="209"/>
                  </a:cubicBezTo>
                  <a:cubicBezTo>
                    <a:pt x="0" y="209"/>
                    <a:pt x="0" y="209"/>
                    <a:pt x="0" y="209"/>
                  </a:cubicBezTo>
                  <a:cubicBezTo>
                    <a:pt x="0" y="225"/>
                    <a:pt x="12" y="237"/>
                    <a:pt x="28" y="237"/>
                  </a:cubicBezTo>
                  <a:cubicBezTo>
                    <a:pt x="34" y="237"/>
                    <a:pt x="39" y="237"/>
                    <a:pt x="45" y="237"/>
                  </a:cubicBezTo>
                  <a:cubicBezTo>
                    <a:pt x="120" y="245"/>
                    <a:pt x="180" y="309"/>
                    <a:pt x="180" y="387"/>
                  </a:cubicBezTo>
                  <a:cubicBezTo>
                    <a:pt x="180" y="403"/>
                    <a:pt x="192" y="415"/>
                    <a:pt x="208" y="415"/>
                  </a:cubicBezTo>
                  <a:cubicBezTo>
                    <a:pt x="223" y="415"/>
                    <a:pt x="236" y="403"/>
                    <a:pt x="236" y="387"/>
                  </a:cubicBezTo>
                  <a:cubicBezTo>
                    <a:pt x="236" y="304"/>
                    <a:pt x="304" y="236"/>
                    <a:pt x="387" y="236"/>
                  </a:cubicBezTo>
                  <a:cubicBezTo>
                    <a:pt x="403" y="236"/>
                    <a:pt x="415" y="223"/>
                    <a:pt x="415" y="208"/>
                  </a:cubicBezTo>
                  <a:cubicBezTo>
                    <a:pt x="415" y="192"/>
                    <a:pt x="403" y="179"/>
                    <a:pt x="388" y="179"/>
                  </a:cubicBezTo>
                  <a:close/>
                  <a:moveTo>
                    <a:pt x="208" y="283"/>
                  </a:moveTo>
                  <a:cubicBezTo>
                    <a:pt x="190" y="253"/>
                    <a:pt x="164" y="227"/>
                    <a:pt x="134" y="209"/>
                  </a:cubicBezTo>
                  <a:cubicBezTo>
                    <a:pt x="164" y="191"/>
                    <a:pt x="190" y="165"/>
                    <a:pt x="208" y="134"/>
                  </a:cubicBezTo>
                  <a:cubicBezTo>
                    <a:pt x="226" y="165"/>
                    <a:pt x="252" y="191"/>
                    <a:pt x="283" y="208"/>
                  </a:cubicBezTo>
                  <a:cubicBezTo>
                    <a:pt x="252" y="227"/>
                    <a:pt x="226" y="253"/>
                    <a:pt x="208" y="283"/>
                  </a:cubicBezTo>
                  <a:close/>
                </a:path>
              </a:pathLst>
            </a:custGeom>
            <a:grpFill/>
            <a:ln w="9525">
              <a:no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dirty="0">
                <a:solidFill>
                  <a:schemeClr val="bg1">
                    <a:lumMod val="50000"/>
                  </a:schemeClr>
                </a:solidFill>
                <a:latin typeface="Segoe UI Semilight"/>
              </a:endParaRPr>
            </a:p>
          </p:txBody>
        </p:sp>
        <p:sp>
          <p:nvSpPr>
            <p:cNvPr id="161" name="Freeform 14">
              <a:extLst>
                <a:ext uri="{FF2B5EF4-FFF2-40B4-BE49-F238E27FC236}">
                  <a16:creationId xmlns:a16="http://schemas.microsoft.com/office/drawing/2014/main" id="{8A1DA749-B60E-494C-BEEF-4158BD1D3BF2}"/>
                </a:ext>
              </a:extLst>
            </p:cNvPr>
            <p:cNvSpPr>
              <a:spLocks/>
            </p:cNvSpPr>
            <p:nvPr/>
          </p:nvSpPr>
          <p:spPr bwMode="auto">
            <a:xfrm>
              <a:off x="6459538" y="3944938"/>
              <a:ext cx="579438" cy="231775"/>
            </a:xfrm>
            <a:custGeom>
              <a:avLst/>
              <a:gdLst>
                <a:gd name="T0" fmla="*/ 128 w 182"/>
                <a:gd name="T1" fmla="*/ 0 h 73"/>
                <a:gd name="T2" fmla="*/ 86 w 182"/>
                <a:gd name="T3" fmla="*/ 0 h 73"/>
                <a:gd name="T4" fmla="*/ 0 w 182"/>
                <a:gd name="T5" fmla="*/ 73 h 73"/>
                <a:gd name="T6" fmla="*/ 182 w 182"/>
                <a:gd name="T7" fmla="*/ 0 h 73"/>
                <a:gd name="T8" fmla="*/ 128 w 182"/>
                <a:gd name="T9" fmla="*/ 0 h 73"/>
              </a:gdLst>
              <a:ahLst/>
              <a:cxnLst>
                <a:cxn ang="0">
                  <a:pos x="T0" y="T1"/>
                </a:cxn>
                <a:cxn ang="0">
                  <a:pos x="T2" y="T3"/>
                </a:cxn>
                <a:cxn ang="0">
                  <a:pos x="T4" y="T5"/>
                </a:cxn>
                <a:cxn ang="0">
                  <a:pos x="T6" y="T7"/>
                </a:cxn>
                <a:cxn ang="0">
                  <a:pos x="T8" y="T9"/>
                </a:cxn>
              </a:cxnLst>
              <a:rect l="0" t="0" r="r" b="b"/>
              <a:pathLst>
                <a:path w="182" h="73">
                  <a:moveTo>
                    <a:pt x="128" y="0"/>
                  </a:moveTo>
                  <a:cubicBezTo>
                    <a:pt x="105" y="0"/>
                    <a:pt x="89" y="0"/>
                    <a:pt x="86" y="0"/>
                  </a:cubicBezTo>
                  <a:cubicBezTo>
                    <a:pt x="43" y="0"/>
                    <a:pt x="7" y="31"/>
                    <a:pt x="0" y="73"/>
                  </a:cubicBezTo>
                  <a:cubicBezTo>
                    <a:pt x="67" y="50"/>
                    <a:pt x="128" y="25"/>
                    <a:pt x="182" y="0"/>
                  </a:cubicBezTo>
                  <a:cubicBezTo>
                    <a:pt x="162" y="0"/>
                    <a:pt x="143" y="0"/>
                    <a:pt x="128" y="0"/>
                  </a:cubicBezTo>
                  <a:close/>
                </a:path>
              </a:pathLst>
            </a:custGeom>
            <a:grpFill/>
            <a:ln w="9525">
              <a:no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dirty="0">
                <a:solidFill>
                  <a:schemeClr val="bg1">
                    <a:lumMod val="50000"/>
                  </a:schemeClr>
                </a:solidFill>
                <a:latin typeface="Segoe UI Semilight"/>
              </a:endParaRPr>
            </a:p>
          </p:txBody>
        </p:sp>
        <p:sp>
          <p:nvSpPr>
            <p:cNvPr id="162" name="Freeform 15">
              <a:extLst>
                <a:ext uri="{FF2B5EF4-FFF2-40B4-BE49-F238E27FC236}">
                  <a16:creationId xmlns:a16="http://schemas.microsoft.com/office/drawing/2014/main" id="{7CF860F5-4B91-4B40-900E-650852FB451A}"/>
                </a:ext>
              </a:extLst>
            </p:cNvPr>
            <p:cNvSpPr>
              <a:spLocks/>
            </p:cNvSpPr>
            <p:nvPr/>
          </p:nvSpPr>
          <p:spPr bwMode="auto">
            <a:xfrm>
              <a:off x="4802188" y="2435226"/>
              <a:ext cx="2625725" cy="2022475"/>
            </a:xfrm>
            <a:custGeom>
              <a:avLst/>
              <a:gdLst>
                <a:gd name="T0" fmla="*/ 94 w 825"/>
                <a:gd name="T1" fmla="*/ 635 h 635"/>
                <a:gd name="T2" fmla="*/ 375 w 825"/>
                <a:gd name="T3" fmla="*/ 590 h 635"/>
                <a:gd name="T4" fmla="*/ 270 w 825"/>
                <a:gd name="T5" fmla="*/ 487 h 635"/>
                <a:gd name="T6" fmla="*/ 254 w 825"/>
                <a:gd name="T7" fmla="*/ 487 h 635"/>
                <a:gd name="T8" fmla="*/ 257 w 825"/>
                <a:gd name="T9" fmla="*/ 462 h 635"/>
                <a:gd name="T10" fmla="*/ 152 w 825"/>
                <a:gd name="T11" fmla="*/ 357 h 635"/>
                <a:gd name="T12" fmla="*/ 92 w 825"/>
                <a:gd name="T13" fmla="*/ 357 h 635"/>
                <a:gd name="T14" fmla="*/ 360 w 825"/>
                <a:gd name="T15" fmla="*/ 91 h 635"/>
                <a:gd name="T16" fmla="*/ 537 w 825"/>
                <a:gd name="T17" fmla="*/ 99 h 635"/>
                <a:gd name="T18" fmla="*/ 535 w 825"/>
                <a:gd name="T19" fmla="*/ 100 h 635"/>
                <a:gd name="T20" fmla="*/ 506 w 825"/>
                <a:gd name="T21" fmla="*/ 157 h 635"/>
                <a:gd name="T22" fmla="*/ 509 w 825"/>
                <a:gd name="T23" fmla="*/ 176 h 635"/>
                <a:gd name="T24" fmla="*/ 461 w 825"/>
                <a:gd name="T25" fmla="*/ 176 h 635"/>
                <a:gd name="T26" fmla="*/ 352 w 825"/>
                <a:gd name="T27" fmla="*/ 285 h 635"/>
                <a:gd name="T28" fmla="*/ 461 w 825"/>
                <a:gd name="T29" fmla="*/ 393 h 635"/>
                <a:gd name="T30" fmla="*/ 609 w 825"/>
                <a:gd name="T31" fmla="*/ 393 h 635"/>
                <a:gd name="T32" fmla="*/ 775 w 825"/>
                <a:gd name="T33" fmla="*/ 393 h 635"/>
                <a:gd name="T34" fmla="*/ 775 w 825"/>
                <a:gd name="T35" fmla="*/ 393 h 635"/>
                <a:gd name="T36" fmla="*/ 777 w 825"/>
                <a:gd name="T37" fmla="*/ 436 h 635"/>
                <a:gd name="T38" fmla="*/ 825 w 825"/>
                <a:gd name="T39" fmla="*/ 409 h 635"/>
                <a:gd name="T40" fmla="*/ 817 w 825"/>
                <a:gd name="T41" fmla="*/ 351 h 635"/>
                <a:gd name="T42" fmla="*/ 351 w 825"/>
                <a:gd name="T43" fmla="*/ 45 h 635"/>
                <a:gd name="T44" fmla="*/ 45 w 825"/>
                <a:gd name="T45" fmla="*/ 511 h 635"/>
                <a:gd name="T46" fmla="*/ 94 w 825"/>
                <a:gd name="T47" fmla="*/ 635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25" h="635">
                  <a:moveTo>
                    <a:pt x="94" y="635"/>
                  </a:moveTo>
                  <a:cubicBezTo>
                    <a:pt x="179" y="631"/>
                    <a:pt x="275" y="615"/>
                    <a:pt x="375" y="590"/>
                  </a:cubicBezTo>
                  <a:cubicBezTo>
                    <a:pt x="374" y="533"/>
                    <a:pt x="328" y="487"/>
                    <a:pt x="270" y="487"/>
                  </a:cubicBezTo>
                  <a:cubicBezTo>
                    <a:pt x="268" y="487"/>
                    <a:pt x="262" y="487"/>
                    <a:pt x="254" y="487"/>
                  </a:cubicBezTo>
                  <a:cubicBezTo>
                    <a:pt x="256" y="479"/>
                    <a:pt x="257" y="471"/>
                    <a:pt x="257" y="462"/>
                  </a:cubicBezTo>
                  <a:cubicBezTo>
                    <a:pt x="257" y="404"/>
                    <a:pt x="210" y="357"/>
                    <a:pt x="152" y="357"/>
                  </a:cubicBezTo>
                  <a:cubicBezTo>
                    <a:pt x="148" y="357"/>
                    <a:pt x="126" y="357"/>
                    <a:pt x="92" y="357"/>
                  </a:cubicBezTo>
                  <a:cubicBezTo>
                    <a:pt x="120" y="227"/>
                    <a:pt x="222" y="119"/>
                    <a:pt x="360" y="91"/>
                  </a:cubicBezTo>
                  <a:cubicBezTo>
                    <a:pt x="438" y="75"/>
                    <a:pt x="510" y="91"/>
                    <a:pt x="537" y="99"/>
                  </a:cubicBezTo>
                  <a:cubicBezTo>
                    <a:pt x="537" y="99"/>
                    <a:pt x="536" y="101"/>
                    <a:pt x="535" y="100"/>
                  </a:cubicBezTo>
                  <a:cubicBezTo>
                    <a:pt x="518" y="113"/>
                    <a:pt x="506" y="134"/>
                    <a:pt x="506" y="157"/>
                  </a:cubicBezTo>
                  <a:cubicBezTo>
                    <a:pt x="506" y="163"/>
                    <a:pt x="507" y="170"/>
                    <a:pt x="509" y="176"/>
                  </a:cubicBezTo>
                  <a:cubicBezTo>
                    <a:pt x="482" y="176"/>
                    <a:pt x="465" y="176"/>
                    <a:pt x="461" y="176"/>
                  </a:cubicBezTo>
                  <a:cubicBezTo>
                    <a:pt x="401" y="176"/>
                    <a:pt x="352" y="225"/>
                    <a:pt x="352" y="285"/>
                  </a:cubicBezTo>
                  <a:cubicBezTo>
                    <a:pt x="352" y="345"/>
                    <a:pt x="401" y="393"/>
                    <a:pt x="461" y="393"/>
                  </a:cubicBezTo>
                  <a:cubicBezTo>
                    <a:pt x="468" y="393"/>
                    <a:pt x="531" y="393"/>
                    <a:pt x="609" y="393"/>
                  </a:cubicBezTo>
                  <a:cubicBezTo>
                    <a:pt x="661" y="393"/>
                    <a:pt x="720" y="393"/>
                    <a:pt x="775" y="393"/>
                  </a:cubicBezTo>
                  <a:cubicBezTo>
                    <a:pt x="775" y="393"/>
                    <a:pt x="775" y="393"/>
                    <a:pt x="775" y="393"/>
                  </a:cubicBezTo>
                  <a:cubicBezTo>
                    <a:pt x="777" y="408"/>
                    <a:pt x="778" y="422"/>
                    <a:pt x="777" y="436"/>
                  </a:cubicBezTo>
                  <a:cubicBezTo>
                    <a:pt x="794" y="427"/>
                    <a:pt x="810" y="418"/>
                    <a:pt x="825" y="409"/>
                  </a:cubicBezTo>
                  <a:cubicBezTo>
                    <a:pt x="824" y="389"/>
                    <a:pt x="821" y="370"/>
                    <a:pt x="817" y="351"/>
                  </a:cubicBezTo>
                  <a:cubicBezTo>
                    <a:pt x="772" y="137"/>
                    <a:pt x="564" y="0"/>
                    <a:pt x="351" y="45"/>
                  </a:cubicBezTo>
                  <a:cubicBezTo>
                    <a:pt x="137" y="88"/>
                    <a:pt x="0" y="298"/>
                    <a:pt x="45" y="511"/>
                  </a:cubicBezTo>
                  <a:cubicBezTo>
                    <a:pt x="55" y="556"/>
                    <a:pt x="72" y="598"/>
                    <a:pt x="94" y="635"/>
                  </a:cubicBezTo>
                  <a:close/>
                </a:path>
              </a:pathLst>
            </a:custGeom>
            <a:grpFill/>
            <a:ln w="9525">
              <a:no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dirty="0">
                <a:solidFill>
                  <a:schemeClr val="bg1">
                    <a:lumMod val="50000"/>
                  </a:schemeClr>
                </a:solidFill>
                <a:latin typeface="Segoe UI Semilight"/>
              </a:endParaRPr>
            </a:p>
          </p:txBody>
        </p:sp>
        <p:sp>
          <p:nvSpPr>
            <p:cNvPr id="163" name="Freeform 16">
              <a:extLst>
                <a:ext uri="{FF2B5EF4-FFF2-40B4-BE49-F238E27FC236}">
                  <a16:creationId xmlns:a16="http://schemas.microsoft.com/office/drawing/2014/main" id="{B27A5B7D-2649-4C21-94CA-E53D204FD20C}"/>
                </a:ext>
              </a:extLst>
            </p:cNvPr>
            <p:cNvSpPr>
              <a:spLocks/>
            </p:cNvSpPr>
            <p:nvPr/>
          </p:nvSpPr>
          <p:spPr bwMode="auto">
            <a:xfrm>
              <a:off x="5464175" y="4257676"/>
              <a:ext cx="1881188" cy="849313"/>
            </a:xfrm>
            <a:custGeom>
              <a:avLst/>
              <a:gdLst>
                <a:gd name="T0" fmla="*/ 302 w 591"/>
                <a:gd name="T1" fmla="*/ 116 h 267"/>
                <a:gd name="T2" fmla="*/ 261 w 591"/>
                <a:gd name="T3" fmla="*/ 128 h 267"/>
                <a:gd name="T4" fmla="*/ 306 w 591"/>
                <a:gd name="T5" fmla="*/ 194 h 267"/>
                <a:gd name="T6" fmla="*/ 306 w 591"/>
                <a:gd name="T7" fmla="*/ 195 h 267"/>
                <a:gd name="T8" fmla="*/ 294 w 591"/>
                <a:gd name="T9" fmla="*/ 198 h 267"/>
                <a:gd name="T10" fmla="*/ 76 w 591"/>
                <a:gd name="T11" fmla="*/ 172 h 267"/>
                <a:gd name="T12" fmla="*/ 0 w 591"/>
                <a:gd name="T13" fmla="*/ 184 h 267"/>
                <a:gd name="T14" fmla="*/ 304 w 591"/>
                <a:gd name="T15" fmla="*/ 244 h 267"/>
                <a:gd name="T16" fmla="*/ 591 w 591"/>
                <a:gd name="T17" fmla="*/ 0 h 267"/>
                <a:gd name="T18" fmla="*/ 302 w 591"/>
                <a:gd name="T19" fmla="*/ 116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1" h="267">
                  <a:moveTo>
                    <a:pt x="302" y="116"/>
                  </a:moveTo>
                  <a:cubicBezTo>
                    <a:pt x="289" y="121"/>
                    <a:pt x="275" y="124"/>
                    <a:pt x="261" y="128"/>
                  </a:cubicBezTo>
                  <a:cubicBezTo>
                    <a:pt x="265" y="157"/>
                    <a:pt x="282" y="181"/>
                    <a:pt x="306" y="194"/>
                  </a:cubicBezTo>
                  <a:cubicBezTo>
                    <a:pt x="306" y="195"/>
                    <a:pt x="306" y="195"/>
                    <a:pt x="306" y="195"/>
                  </a:cubicBezTo>
                  <a:cubicBezTo>
                    <a:pt x="302" y="196"/>
                    <a:pt x="298" y="197"/>
                    <a:pt x="294" y="198"/>
                  </a:cubicBezTo>
                  <a:cubicBezTo>
                    <a:pt x="217" y="214"/>
                    <a:pt x="141" y="203"/>
                    <a:pt x="76" y="172"/>
                  </a:cubicBezTo>
                  <a:cubicBezTo>
                    <a:pt x="50" y="177"/>
                    <a:pt x="25" y="181"/>
                    <a:pt x="0" y="184"/>
                  </a:cubicBezTo>
                  <a:cubicBezTo>
                    <a:pt x="86" y="243"/>
                    <a:pt x="194" y="267"/>
                    <a:pt x="304" y="244"/>
                  </a:cubicBezTo>
                  <a:cubicBezTo>
                    <a:pt x="440" y="215"/>
                    <a:pt x="544" y="121"/>
                    <a:pt x="591" y="0"/>
                  </a:cubicBezTo>
                  <a:cubicBezTo>
                    <a:pt x="507" y="43"/>
                    <a:pt x="409" y="83"/>
                    <a:pt x="302" y="116"/>
                  </a:cubicBezTo>
                  <a:close/>
                </a:path>
              </a:pathLst>
            </a:custGeom>
            <a:grpFill/>
            <a:ln w="9525">
              <a:no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dirty="0">
                <a:solidFill>
                  <a:schemeClr val="bg1">
                    <a:lumMod val="50000"/>
                  </a:schemeClr>
                </a:solidFill>
                <a:latin typeface="Segoe UI Semilight"/>
              </a:endParaRPr>
            </a:p>
          </p:txBody>
        </p:sp>
      </p:grpSp>
      <p:grpSp>
        <p:nvGrpSpPr>
          <p:cNvPr id="136" name="Group 135">
            <a:extLst>
              <a:ext uri="{FF2B5EF4-FFF2-40B4-BE49-F238E27FC236}">
                <a16:creationId xmlns:a16="http://schemas.microsoft.com/office/drawing/2014/main" id="{65A340A5-D80F-42AA-A569-1E4FDD619D09}"/>
              </a:ext>
            </a:extLst>
          </p:cNvPr>
          <p:cNvGrpSpPr/>
          <p:nvPr/>
        </p:nvGrpSpPr>
        <p:grpSpPr>
          <a:xfrm>
            <a:off x="10695992" y="4253804"/>
            <a:ext cx="841452" cy="919856"/>
            <a:chOff x="9095124" y="3288299"/>
            <a:chExt cx="916056" cy="1001411"/>
          </a:xfrm>
        </p:grpSpPr>
        <p:grpSp>
          <p:nvGrpSpPr>
            <p:cNvPr id="137" name="Group 136">
              <a:extLst>
                <a:ext uri="{FF2B5EF4-FFF2-40B4-BE49-F238E27FC236}">
                  <a16:creationId xmlns:a16="http://schemas.microsoft.com/office/drawing/2014/main" id="{3D87CB03-5282-4441-BB1F-6438E8304F09}"/>
                </a:ext>
              </a:extLst>
            </p:cNvPr>
            <p:cNvGrpSpPr/>
            <p:nvPr/>
          </p:nvGrpSpPr>
          <p:grpSpPr>
            <a:xfrm>
              <a:off x="9615713" y="3659076"/>
              <a:ext cx="288492" cy="206742"/>
              <a:chOff x="3751869" y="1754414"/>
              <a:chExt cx="4688258" cy="3381830"/>
            </a:xfrm>
          </p:grpSpPr>
          <p:sp>
            <p:nvSpPr>
              <p:cNvPr id="153" name="Freeform: Shape 132">
                <a:extLst>
                  <a:ext uri="{FF2B5EF4-FFF2-40B4-BE49-F238E27FC236}">
                    <a16:creationId xmlns:a16="http://schemas.microsoft.com/office/drawing/2014/main" id="{C865A5A6-1B36-4B1D-9362-BBB50B2FF97C}"/>
                  </a:ext>
                </a:extLst>
              </p:cNvPr>
              <p:cNvSpPr/>
              <p:nvPr/>
            </p:nvSpPr>
            <p:spPr bwMode="auto">
              <a:xfrm>
                <a:off x="3751869" y="1754414"/>
                <a:ext cx="1605717" cy="3381830"/>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solidFill>
                    <a:schemeClr val="bg1">
                      <a:lumMod val="50000"/>
                    </a:schemeClr>
                  </a:solidFill>
                  <a:latin typeface="Segoe UI Semilight"/>
                  <a:ea typeface="Segoe UI" pitchFamily="34" charset="0"/>
                  <a:cs typeface="Segoe UI" pitchFamily="34" charset="0"/>
                </a:endParaRPr>
              </a:p>
            </p:txBody>
          </p:sp>
          <p:sp>
            <p:nvSpPr>
              <p:cNvPr id="154" name="Freeform: Shape 133">
                <a:extLst>
                  <a:ext uri="{FF2B5EF4-FFF2-40B4-BE49-F238E27FC236}">
                    <a16:creationId xmlns:a16="http://schemas.microsoft.com/office/drawing/2014/main" id="{DBF73A32-9B6B-4CF5-8B80-EA7DC772AB3C}"/>
                  </a:ext>
                </a:extLst>
              </p:cNvPr>
              <p:cNvSpPr/>
              <p:nvPr/>
            </p:nvSpPr>
            <p:spPr bwMode="auto">
              <a:xfrm>
                <a:off x="6834412" y="1754415"/>
                <a:ext cx="1605715" cy="3381828"/>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solidFill>
                    <a:schemeClr val="bg1">
                      <a:lumMod val="50000"/>
                    </a:schemeClr>
                  </a:solidFill>
                  <a:latin typeface="Segoe UI Semilight"/>
                  <a:ea typeface="Segoe UI" pitchFamily="34" charset="0"/>
                  <a:cs typeface="Segoe UI" pitchFamily="34" charset="0"/>
                </a:endParaRPr>
              </a:p>
            </p:txBody>
          </p:sp>
          <p:sp>
            <p:nvSpPr>
              <p:cNvPr id="155" name="Freeform: Shape 134">
                <a:extLst>
                  <a:ext uri="{FF2B5EF4-FFF2-40B4-BE49-F238E27FC236}">
                    <a16:creationId xmlns:a16="http://schemas.microsoft.com/office/drawing/2014/main" id="{57859F27-A1B1-4F3A-9C2A-878966C4CAA7}"/>
                  </a:ext>
                </a:extLst>
              </p:cNvPr>
              <p:cNvSpPr/>
              <p:nvPr/>
            </p:nvSpPr>
            <p:spPr bwMode="auto">
              <a:xfrm>
                <a:off x="5154384"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solidFill>
                    <a:schemeClr val="bg1">
                      <a:lumMod val="50000"/>
                    </a:schemeClr>
                  </a:solidFill>
                  <a:latin typeface="Segoe UI Semilight"/>
                  <a:ea typeface="Segoe UI" pitchFamily="34" charset="0"/>
                  <a:cs typeface="Segoe UI" pitchFamily="34" charset="0"/>
                </a:endParaRPr>
              </a:p>
            </p:txBody>
          </p:sp>
          <p:sp>
            <p:nvSpPr>
              <p:cNvPr id="156" name="Freeform: Shape 135">
                <a:extLst>
                  <a:ext uri="{FF2B5EF4-FFF2-40B4-BE49-F238E27FC236}">
                    <a16:creationId xmlns:a16="http://schemas.microsoft.com/office/drawing/2014/main" id="{7E6508E1-8447-4E7D-AFB5-2C9E2012F4EE}"/>
                  </a:ext>
                </a:extLst>
              </p:cNvPr>
              <p:cNvSpPr/>
              <p:nvPr/>
            </p:nvSpPr>
            <p:spPr bwMode="auto">
              <a:xfrm>
                <a:off x="6409870"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solidFill>
                    <a:schemeClr val="bg1">
                      <a:lumMod val="50000"/>
                    </a:schemeClr>
                  </a:solidFill>
                  <a:latin typeface="Segoe UI Semilight"/>
                  <a:ea typeface="Segoe UI" pitchFamily="34" charset="0"/>
                  <a:cs typeface="Segoe UI" pitchFamily="34" charset="0"/>
                </a:endParaRPr>
              </a:p>
            </p:txBody>
          </p:sp>
        </p:grpSp>
        <p:grpSp>
          <p:nvGrpSpPr>
            <p:cNvPr id="138" name="Group 137">
              <a:extLst>
                <a:ext uri="{FF2B5EF4-FFF2-40B4-BE49-F238E27FC236}">
                  <a16:creationId xmlns:a16="http://schemas.microsoft.com/office/drawing/2014/main" id="{86486F45-3D24-44FE-870C-7C21CC995657}"/>
                </a:ext>
              </a:extLst>
            </p:cNvPr>
            <p:cNvGrpSpPr/>
            <p:nvPr/>
          </p:nvGrpSpPr>
          <p:grpSpPr>
            <a:xfrm>
              <a:off x="9376759" y="3345220"/>
              <a:ext cx="202922" cy="182040"/>
              <a:chOff x="2760401" y="1824177"/>
              <a:chExt cx="285697" cy="257980"/>
            </a:xfrm>
            <a:noFill/>
          </p:grpSpPr>
          <p:sp>
            <p:nvSpPr>
              <p:cNvPr id="150" name="Rectangle 48">
                <a:extLst>
                  <a:ext uri="{FF2B5EF4-FFF2-40B4-BE49-F238E27FC236}">
                    <a16:creationId xmlns:a16="http://schemas.microsoft.com/office/drawing/2014/main" id="{D6F9C372-7B12-46FE-A661-7857162A1E0C}"/>
                  </a:ext>
                </a:extLst>
              </p:cNvPr>
              <p:cNvSpPr>
                <a:spLocks noChangeArrowheads="1"/>
              </p:cNvSpPr>
              <p:nvPr/>
            </p:nvSpPr>
            <p:spPr bwMode="auto">
              <a:xfrm>
                <a:off x="2760401" y="1824177"/>
                <a:ext cx="285697" cy="257980"/>
              </a:xfrm>
              <a:prstGeom prst="rect">
                <a:avLst/>
              </a:prstGeom>
              <a:grpFill/>
              <a:ln w="12700" cap="flat">
                <a:solidFill>
                  <a:schemeClr val="tx1"/>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dirty="0">
                  <a:solidFill>
                    <a:schemeClr val="bg1">
                      <a:lumMod val="50000"/>
                    </a:schemeClr>
                  </a:solidFill>
                  <a:latin typeface="Segoe UI Semilight"/>
                </a:endParaRPr>
              </a:p>
            </p:txBody>
          </p:sp>
          <p:sp>
            <p:nvSpPr>
              <p:cNvPr id="151" name="Freeform 49">
                <a:extLst>
                  <a:ext uri="{FF2B5EF4-FFF2-40B4-BE49-F238E27FC236}">
                    <a16:creationId xmlns:a16="http://schemas.microsoft.com/office/drawing/2014/main" id="{AF38EFF0-C2B5-4068-97C6-8CD57073C7E3}"/>
                  </a:ext>
                </a:extLst>
              </p:cNvPr>
              <p:cNvSpPr>
                <a:spLocks/>
              </p:cNvSpPr>
              <p:nvPr/>
            </p:nvSpPr>
            <p:spPr bwMode="auto">
              <a:xfrm>
                <a:off x="2760401"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grpFill/>
              <a:ln w="12700" cap="flat">
                <a:solidFill>
                  <a:schemeClr val="tx1"/>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dirty="0">
                  <a:solidFill>
                    <a:schemeClr val="bg1">
                      <a:lumMod val="50000"/>
                    </a:schemeClr>
                  </a:solidFill>
                  <a:latin typeface="Segoe UI Semilight"/>
                </a:endParaRPr>
              </a:p>
            </p:txBody>
          </p:sp>
          <p:sp>
            <p:nvSpPr>
              <p:cNvPr id="152" name="Oval 151">
                <a:extLst>
                  <a:ext uri="{FF2B5EF4-FFF2-40B4-BE49-F238E27FC236}">
                    <a16:creationId xmlns:a16="http://schemas.microsoft.com/office/drawing/2014/main" id="{FE4B65A2-28BB-4011-947D-0F33B0AB38C4}"/>
                  </a:ext>
                </a:extLst>
              </p:cNvPr>
              <p:cNvSpPr>
                <a:spLocks noChangeArrowheads="1"/>
              </p:cNvSpPr>
              <p:nvPr/>
            </p:nvSpPr>
            <p:spPr bwMode="auto">
              <a:xfrm>
                <a:off x="2951221" y="1871082"/>
                <a:ext cx="47971" cy="46905"/>
              </a:xfrm>
              <a:prstGeom prst="ellipse">
                <a:avLst/>
              </a:prstGeom>
              <a:grpFill/>
              <a:ln w="12700">
                <a:solidFill>
                  <a:schemeClr val="tx1"/>
                </a:solidFill>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dirty="0">
                  <a:solidFill>
                    <a:schemeClr val="bg1">
                      <a:lumMod val="50000"/>
                    </a:schemeClr>
                  </a:solidFill>
                  <a:latin typeface="Segoe UI Semilight"/>
                </a:endParaRPr>
              </a:p>
            </p:txBody>
          </p:sp>
        </p:grpSp>
        <p:sp>
          <p:nvSpPr>
            <p:cNvPr id="139" name="Freeform 9">
              <a:extLst>
                <a:ext uri="{FF2B5EF4-FFF2-40B4-BE49-F238E27FC236}">
                  <a16:creationId xmlns:a16="http://schemas.microsoft.com/office/drawing/2014/main" id="{331D1BD9-86AD-4B98-BE5B-E881AC57FA9C}"/>
                </a:ext>
              </a:extLst>
            </p:cNvPr>
            <p:cNvSpPr>
              <a:spLocks noEditPoints="1"/>
            </p:cNvSpPr>
            <p:nvPr/>
          </p:nvSpPr>
          <p:spPr bwMode="auto">
            <a:xfrm>
              <a:off x="9095124" y="4049312"/>
              <a:ext cx="325830" cy="23743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2700" cap="flat">
              <a:solidFill>
                <a:schemeClr val="tx1"/>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dirty="0">
                <a:solidFill>
                  <a:schemeClr val="bg1">
                    <a:lumMod val="50000"/>
                  </a:schemeClr>
                </a:solidFill>
                <a:latin typeface="Segoe UI Semilight"/>
              </a:endParaRPr>
            </a:p>
          </p:txBody>
        </p:sp>
        <p:sp>
          <p:nvSpPr>
            <p:cNvPr id="140" name="Freeform 448">
              <a:extLst>
                <a:ext uri="{FF2B5EF4-FFF2-40B4-BE49-F238E27FC236}">
                  <a16:creationId xmlns:a16="http://schemas.microsoft.com/office/drawing/2014/main" id="{D72B8239-BDF3-4954-8393-1C8FEFE4822A}"/>
                </a:ext>
              </a:extLst>
            </p:cNvPr>
            <p:cNvSpPr>
              <a:spLocks noEditPoints="1"/>
            </p:cNvSpPr>
            <p:nvPr/>
          </p:nvSpPr>
          <p:spPr bwMode="auto">
            <a:xfrm>
              <a:off x="9095124" y="3644731"/>
              <a:ext cx="437121" cy="28956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2700" cap="flat">
              <a:solidFill>
                <a:schemeClr val="tx1"/>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dirty="0">
                <a:solidFill>
                  <a:schemeClr val="bg1">
                    <a:lumMod val="50000"/>
                  </a:schemeClr>
                </a:solidFill>
                <a:latin typeface="Segoe UI Semilight"/>
              </a:endParaRPr>
            </a:p>
          </p:txBody>
        </p:sp>
        <p:sp>
          <p:nvSpPr>
            <p:cNvPr id="141" name="Freeform 5">
              <a:extLst>
                <a:ext uri="{FF2B5EF4-FFF2-40B4-BE49-F238E27FC236}">
                  <a16:creationId xmlns:a16="http://schemas.microsoft.com/office/drawing/2014/main" id="{88D9B70C-E729-4D63-9E56-BE3EDD86C5AB}"/>
                </a:ext>
              </a:extLst>
            </p:cNvPr>
            <p:cNvSpPr>
              <a:spLocks noEditPoints="1"/>
            </p:cNvSpPr>
            <p:nvPr/>
          </p:nvSpPr>
          <p:spPr bwMode="auto">
            <a:xfrm>
              <a:off x="9155155" y="3288299"/>
              <a:ext cx="142762" cy="235885"/>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cap="flat">
              <a:solidFill>
                <a:schemeClr val="tx1"/>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dirty="0">
                <a:solidFill>
                  <a:schemeClr val="bg1">
                    <a:lumMod val="50000"/>
                  </a:schemeClr>
                </a:solidFill>
                <a:latin typeface="Segoe UI Semilight"/>
              </a:endParaRPr>
            </a:p>
          </p:txBody>
        </p:sp>
        <p:grpSp>
          <p:nvGrpSpPr>
            <p:cNvPr id="142" name="Group 141">
              <a:extLst>
                <a:ext uri="{FF2B5EF4-FFF2-40B4-BE49-F238E27FC236}">
                  <a16:creationId xmlns:a16="http://schemas.microsoft.com/office/drawing/2014/main" id="{3D8C1F60-3090-4D97-B5C3-FE87895B5336}"/>
                </a:ext>
              </a:extLst>
            </p:cNvPr>
            <p:cNvGrpSpPr/>
            <p:nvPr/>
          </p:nvGrpSpPr>
          <p:grpSpPr>
            <a:xfrm>
              <a:off x="9528781" y="4077410"/>
              <a:ext cx="97135" cy="181233"/>
              <a:chOff x="4064485" y="1802065"/>
              <a:chExt cx="240628" cy="227361"/>
            </a:xfrm>
            <a:noFill/>
          </p:grpSpPr>
          <p:sp>
            <p:nvSpPr>
              <p:cNvPr id="147" name="Line 46">
                <a:extLst>
                  <a:ext uri="{FF2B5EF4-FFF2-40B4-BE49-F238E27FC236}">
                    <a16:creationId xmlns:a16="http://schemas.microsoft.com/office/drawing/2014/main" id="{CF2C0492-DDFA-4222-AF2D-8C6AACE49971}"/>
                  </a:ext>
                </a:extLst>
              </p:cNvPr>
              <p:cNvSpPr>
                <a:spLocks noChangeShapeType="1"/>
              </p:cNvSpPr>
              <p:nvPr/>
            </p:nvSpPr>
            <p:spPr bwMode="auto">
              <a:xfrm flipH="1">
                <a:off x="4064485" y="1802065"/>
                <a:ext cx="240620" cy="0"/>
              </a:xfrm>
              <a:prstGeom prst="line">
                <a:avLst/>
              </a:prstGeom>
              <a:grpFill/>
              <a:ln w="12700" cap="flat">
                <a:solidFill>
                  <a:schemeClr val="tx1"/>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dirty="0">
                  <a:solidFill>
                    <a:schemeClr val="bg1">
                      <a:lumMod val="50000"/>
                    </a:schemeClr>
                  </a:solidFill>
                  <a:latin typeface="Segoe UI Semilight"/>
                </a:endParaRPr>
              </a:p>
            </p:txBody>
          </p:sp>
          <p:sp>
            <p:nvSpPr>
              <p:cNvPr id="148" name="Line 47">
                <a:extLst>
                  <a:ext uri="{FF2B5EF4-FFF2-40B4-BE49-F238E27FC236}">
                    <a16:creationId xmlns:a16="http://schemas.microsoft.com/office/drawing/2014/main" id="{4779F3B3-D9C6-4EF2-B6D2-BAD18D4B3F24}"/>
                  </a:ext>
                </a:extLst>
              </p:cNvPr>
              <p:cNvSpPr>
                <a:spLocks noChangeShapeType="1"/>
              </p:cNvSpPr>
              <p:nvPr/>
            </p:nvSpPr>
            <p:spPr bwMode="auto">
              <a:xfrm>
                <a:off x="4064489" y="1917069"/>
                <a:ext cx="240620" cy="0"/>
              </a:xfrm>
              <a:prstGeom prst="line">
                <a:avLst/>
              </a:prstGeom>
              <a:grpFill/>
              <a:ln w="12700" cap="flat">
                <a:solidFill>
                  <a:schemeClr val="tx1"/>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dirty="0">
                  <a:solidFill>
                    <a:schemeClr val="bg1">
                      <a:lumMod val="50000"/>
                    </a:schemeClr>
                  </a:solidFill>
                  <a:latin typeface="Segoe UI Semilight"/>
                </a:endParaRPr>
              </a:p>
            </p:txBody>
          </p:sp>
          <p:sp>
            <p:nvSpPr>
              <p:cNvPr id="149" name="Line 54">
                <a:extLst>
                  <a:ext uri="{FF2B5EF4-FFF2-40B4-BE49-F238E27FC236}">
                    <a16:creationId xmlns:a16="http://schemas.microsoft.com/office/drawing/2014/main" id="{3DFBAA30-0153-417A-99D3-CF72E5CF1F04}"/>
                  </a:ext>
                </a:extLst>
              </p:cNvPr>
              <p:cNvSpPr>
                <a:spLocks noChangeShapeType="1"/>
              </p:cNvSpPr>
              <p:nvPr/>
            </p:nvSpPr>
            <p:spPr bwMode="auto">
              <a:xfrm flipH="1">
                <a:off x="4064493" y="2029426"/>
                <a:ext cx="240620" cy="0"/>
              </a:xfrm>
              <a:prstGeom prst="line">
                <a:avLst/>
              </a:prstGeom>
              <a:grpFill/>
              <a:ln w="12700" cap="flat">
                <a:solidFill>
                  <a:schemeClr val="tx1"/>
                </a:solidFill>
                <a:prstDash val="solid"/>
                <a:miter lim="800000"/>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dirty="0">
                  <a:solidFill>
                    <a:schemeClr val="bg1">
                      <a:lumMod val="50000"/>
                    </a:schemeClr>
                  </a:solidFill>
                  <a:latin typeface="Segoe UI Semilight"/>
                </a:endParaRPr>
              </a:p>
            </p:txBody>
          </p:sp>
        </p:grpSp>
        <p:sp>
          <p:nvSpPr>
            <p:cNvPr id="143" name="Freeform: Shape 168">
              <a:extLst>
                <a:ext uri="{FF2B5EF4-FFF2-40B4-BE49-F238E27FC236}">
                  <a16:creationId xmlns:a16="http://schemas.microsoft.com/office/drawing/2014/main" id="{A04A01E5-2D40-49FA-AE38-52EEA4B6575A}"/>
                </a:ext>
              </a:extLst>
            </p:cNvPr>
            <p:cNvSpPr>
              <a:spLocks/>
            </p:cNvSpPr>
            <p:nvPr/>
          </p:nvSpPr>
          <p:spPr bwMode="auto">
            <a:xfrm flipH="1">
              <a:off x="9720227" y="4046344"/>
              <a:ext cx="290953" cy="243366"/>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3260" tIns="46630" rIns="93260" bIns="46630" numCol="1" anchor="t" anchorCtr="0" compatLnSpc="1">
              <a:prstTxWarp prst="textNoShape">
                <a:avLst/>
              </a:prstTxWarp>
              <a:noAutofit/>
            </a:bodyPr>
            <a:lstStyle/>
            <a:p>
              <a:pPr defTabSz="932597">
                <a:defRPr/>
              </a:pPr>
              <a:endParaRPr lang="en-US" sz="1836" dirty="0">
                <a:solidFill>
                  <a:schemeClr val="bg1">
                    <a:lumMod val="50000"/>
                  </a:schemeClr>
                </a:solidFill>
                <a:latin typeface="Segoe UI Semilight"/>
              </a:endParaRPr>
            </a:p>
          </p:txBody>
        </p:sp>
        <p:grpSp>
          <p:nvGrpSpPr>
            <p:cNvPr id="144" name="Group 143">
              <a:extLst>
                <a:ext uri="{FF2B5EF4-FFF2-40B4-BE49-F238E27FC236}">
                  <a16:creationId xmlns:a16="http://schemas.microsoft.com/office/drawing/2014/main" id="{7BC1801A-ED22-44DB-9114-8F18152CB36F}"/>
                </a:ext>
              </a:extLst>
            </p:cNvPr>
            <p:cNvGrpSpPr/>
            <p:nvPr/>
          </p:nvGrpSpPr>
          <p:grpSpPr>
            <a:xfrm>
              <a:off x="9670408" y="3437294"/>
              <a:ext cx="97134" cy="89562"/>
              <a:chOff x="9541035" y="4221497"/>
              <a:chExt cx="118216" cy="109717"/>
            </a:xfrm>
          </p:grpSpPr>
          <p:sp>
            <p:nvSpPr>
              <p:cNvPr id="145" name="Line 47">
                <a:extLst>
                  <a:ext uri="{FF2B5EF4-FFF2-40B4-BE49-F238E27FC236}">
                    <a16:creationId xmlns:a16="http://schemas.microsoft.com/office/drawing/2014/main" id="{6A546EF4-539B-4346-8C8E-073291FE23D0}"/>
                  </a:ext>
                </a:extLst>
              </p:cNvPr>
              <p:cNvSpPr>
                <a:spLocks noChangeShapeType="1"/>
              </p:cNvSpPr>
              <p:nvPr/>
            </p:nvSpPr>
            <p:spPr bwMode="auto">
              <a:xfrm>
                <a:off x="9541035" y="4221497"/>
                <a:ext cx="118214"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dirty="0">
                  <a:solidFill>
                    <a:schemeClr val="bg1">
                      <a:lumMod val="50000"/>
                    </a:schemeClr>
                  </a:solidFill>
                  <a:latin typeface="Segoe UI Semilight"/>
                </a:endParaRPr>
              </a:p>
            </p:txBody>
          </p:sp>
          <p:sp>
            <p:nvSpPr>
              <p:cNvPr id="146" name="Line 54">
                <a:extLst>
                  <a:ext uri="{FF2B5EF4-FFF2-40B4-BE49-F238E27FC236}">
                    <a16:creationId xmlns:a16="http://schemas.microsoft.com/office/drawing/2014/main" id="{43434B9B-13F6-4AA4-A37E-D3A4BA1555F5}"/>
                  </a:ext>
                </a:extLst>
              </p:cNvPr>
              <p:cNvSpPr>
                <a:spLocks noChangeShapeType="1"/>
              </p:cNvSpPr>
              <p:nvPr/>
            </p:nvSpPr>
            <p:spPr bwMode="auto">
              <a:xfrm flipH="1">
                <a:off x="9541037" y="4331214"/>
                <a:ext cx="118214"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dirty="0">
                  <a:solidFill>
                    <a:schemeClr val="bg1">
                      <a:lumMod val="50000"/>
                    </a:schemeClr>
                  </a:solidFill>
                  <a:latin typeface="Segoe UI Semilight"/>
                </a:endParaRPr>
              </a:p>
            </p:txBody>
          </p:sp>
        </p:grpSp>
      </p:grpSp>
      <p:grpSp>
        <p:nvGrpSpPr>
          <p:cNvPr id="164" name="Group 163">
            <a:extLst>
              <a:ext uri="{FF2B5EF4-FFF2-40B4-BE49-F238E27FC236}">
                <a16:creationId xmlns:a16="http://schemas.microsoft.com/office/drawing/2014/main" id="{BC980E04-3BC8-473C-AE8A-1EDD4B6402AC}"/>
              </a:ext>
            </a:extLst>
          </p:cNvPr>
          <p:cNvGrpSpPr/>
          <p:nvPr/>
        </p:nvGrpSpPr>
        <p:grpSpPr>
          <a:xfrm>
            <a:off x="893286" y="3277300"/>
            <a:ext cx="479088" cy="392821"/>
            <a:chOff x="1778647" y="1301093"/>
            <a:chExt cx="307813" cy="252387"/>
          </a:xfrm>
          <a:noFill/>
        </p:grpSpPr>
        <p:grpSp>
          <p:nvGrpSpPr>
            <p:cNvPr id="165" name="Group 164">
              <a:extLst>
                <a:ext uri="{FF2B5EF4-FFF2-40B4-BE49-F238E27FC236}">
                  <a16:creationId xmlns:a16="http://schemas.microsoft.com/office/drawing/2014/main" id="{51024645-45B3-4431-B144-9F00F4AEC7B7}"/>
                </a:ext>
              </a:extLst>
            </p:cNvPr>
            <p:cNvGrpSpPr/>
            <p:nvPr/>
          </p:nvGrpSpPr>
          <p:grpSpPr>
            <a:xfrm>
              <a:off x="1778647" y="1301093"/>
              <a:ext cx="307813" cy="252387"/>
              <a:chOff x="2107086" y="1452805"/>
              <a:chExt cx="307813" cy="252387"/>
            </a:xfrm>
            <a:grpFill/>
          </p:grpSpPr>
          <p:sp>
            <p:nvSpPr>
              <p:cNvPr id="168" name="Rectangle 167">
                <a:extLst>
                  <a:ext uri="{FF2B5EF4-FFF2-40B4-BE49-F238E27FC236}">
                    <a16:creationId xmlns:a16="http://schemas.microsoft.com/office/drawing/2014/main" id="{A21FACC4-DE43-458F-8B99-A29AF7689FE8}"/>
                  </a:ext>
                </a:extLst>
              </p:cNvPr>
              <p:cNvSpPr/>
              <p:nvPr/>
            </p:nvSpPr>
            <p:spPr bwMode="auto">
              <a:xfrm>
                <a:off x="2107086" y="1596776"/>
                <a:ext cx="108416" cy="108416"/>
              </a:xfrm>
              <a:prstGeom prst="rect">
                <a:avLst/>
              </a:prstGeom>
              <a:grpFill/>
              <a:ln w="12700" cap="flat">
                <a:solidFill>
                  <a:schemeClr val="tx1"/>
                </a:solidFill>
                <a:prstDash val="solid"/>
                <a:miter lim="800000"/>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latin typeface="Segoe UI"/>
                </a:endParaRPr>
              </a:p>
            </p:txBody>
          </p:sp>
          <p:sp>
            <p:nvSpPr>
              <p:cNvPr id="169" name="Rectangle 168">
                <a:extLst>
                  <a:ext uri="{FF2B5EF4-FFF2-40B4-BE49-F238E27FC236}">
                    <a16:creationId xmlns:a16="http://schemas.microsoft.com/office/drawing/2014/main" id="{2B88B460-08E9-4C33-8878-F9BF39DDF1ED}"/>
                  </a:ext>
                </a:extLst>
              </p:cNvPr>
              <p:cNvSpPr/>
              <p:nvPr/>
            </p:nvSpPr>
            <p:spPr bwMode="auto">
              <a:xfrm>
                <a:off x="2252041" y="1452805"/>
                <a:ext cx="162858" cy="162858"/>
              </a:xfrm>
              <a:prstGeom prst="rect">
                <a:avLst/>
              </a:prstGeom>
              <a:grpFill/>
              <a:ln w="12700" cap="flat">
                <a:solidFill>
                  <a:schemeClr val="tx1"/>
                </a:solidFill>
                <a:prstDash val="solid"/>
                <a:miter lim="800000"/>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latin typeface="Segoe UI"/>
                </a:endParaRPr>
              </a:p>
            </p:txBody>
          </p:sp>
          <p:sp>
            <p:nvSpPr>
              <p:cNvPr id="170" name="Rectangle 169">
                <a:extLst>
                  <a:ext uri="{FF2B5EF4-FFF2-40B4-BE49-F238E27FC236}">
                    <a16:creationId xmlns:a16="http://schemas.microsoft.com/office/drawing/2014/main" id="{613A8ECE-0E68-441D-8C96-8E6A78A90E87}"/>
                  </a:ext>
                </a:extLst>
              </p:cNvPr>
              <p:cNvSpPr/>
              <p:nvPr/>
            </p:nvSpPr>
            <p:spPr bwMode="auto">
              <a:xfrm>
                <a:off x="2107086" y="1453330"/>
                <a:ext cx="108416" cy="108416"/>
              </a:xfrm>
              <a:prstGeom prst="rect">
                <a:avLst/>
              </a:prstGeom>
              <a:grpFill/>
              <a:ln w="12700" cap="flat">
                <a:solidFill>
                  <a:schemeClr val="tx1"/>
                </a:solidFill>
                <a:prstDash val="solid"/>
                <a:miter lim="800000"/>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latin typeface="Segoe UI"/>
                </a:endParaRPr>
              </a:p>
            </p:txBody>
          </p:sp>
          <p:sp>
            <p:nvSpPr>
              <p:cNvPr id="171" name="Rectangle 170">
                <a:extLst>
                  <a:ext uri="{FF2B5EF4-FFF2-40B4-BE49-F238E27FC236}">
                    <a16:creationId xmlns:a16="http://schemas.microsoft.com/office/drawing/2014/main" id="{9F958FA4-24E2-4772-9B8B-204BA7BC98F2}"/>
                  </a:ext>
                </a:extLst>
              </p:cNvPr>
              <p:cNvSpPr/>
              <p:nvPr/>
            </p:nvSpPr>
            <p:spPr bwMode="auto">
              <a:xfrm>
                <a:off x="2253489" y="1652588"/>
                <a:ext cx="159337" cy="51699"/>
              </a:xfrm>
              <a:prstGeom prst="rect">
                <a:avLst/>
              </a:prstGeom>
              <a:grpFill/>
              <a:ln w="12700" cap="flat">
                <a:solidFill>
                  <a:schemeClr val="tx1"/>
                </a:solidFill>
                <a:prstDash val="solid"/>
                <a:miter lim="800000"/>
                <a:headEnd/>
                <a:tailEnd/>
              </a:ln>
              <a:extLst/>
            </p:spPr>
            <p:txBody>
              <a:bodyPr vert="horz" wrap="square" lIns="91414" tIns="45706" rIns="91414" bIns="45706" numCol="1" anchor="t" anchorCtr="0" compatLnSpc="1">
                <a:prstTxWarp prst="textNoShape">
                  <a:avLst/>
                </a:prstTxWarp>
              </a:bodyPr>
              <a:lstStyle/>
              <a:p>
                <a:pPr defTabSz="914049">
                  <a:defRPr/>
                </a:pPr>
                <a:endParaRPr lang="en-US" kern="0" dirty="0">
                  <a:latin typeface="Segoe UI"/>
                </a:endParaRPr>
              </a:p>
            </p:txBody>
          </p:sp>
        </p:grpSp>
        <p:cxnSp>
          <p:nvCxnSpPr>
            <p:cNvPr id="166" name="Straight Connector 165">
              <a:extLst>
                <a:ext uri="{FF2B5EF4-FFF2-40B4-BE49-F238E27FC236}">
                  <a16:creationId xmlns:a16="http://schemas.microsoft.com/office/drawing/2014/main" id="{F0AC6E5C-5FC6-4528-AEBF-1A4A95122D42}"/>
                </a:ext>
              </a:extLst>
            </p:cNvPr>
            <p:cNvCxnSpPr/>
            <p:nvPr/>
          </p:nvCxnSpPr>
          <p:spPr>
            <a:xfrm>
              <a:off x="1979319" y="1500876"/>
              <a:ext cx="0" cy="51699"/>
            </a:xfrm>
            <a:prstGeom prst="line">
              <a:avLst/>
            </a:prstGeom>
            <a:grpFill/>
            <a:ln w="12700" cap="flat">
              <a:solidFill>
                <a:schemeClr val="tx1"/>
              </a:solidFill>
              <a:prstDash val="solid"/>
              <a:miter lim="800000"/>
              <a:headEnd/>
              <a:tailEnd/>
            </a:ln>
            <a:extLst/>
          </p:spPr>
        </p:cxnSp>
        <p:cxnSp>
          <p:nvCxnSpPr>
            <p:cNvPr id="167" name="Straight Connector 166">
              <a:extLst>
                <a:ext uri="{FF2B5EF4-FFF2-40B4-BE49-F238E27FC236}">
                  <a16:creationId xmlns:a16="http://schemas.microsoft.com/office/drawing/2014/main" id="{2F68AF56-1234-4BC2-BA0E-70B55C67B2A7}"/>
                </a:ext>
              </a:extLst>
            </p:cNvPr>
            <p:cNvCxnSpPr/>
            <p:nvPr/>
          </p:nvCxnSpPr>
          <p:spPr>
            <a:xfrm>
              <a:off x="2031707" y="1500876"/>
              <a:ext cx="0" cy="51699"/>
            </a:xfrm>
            <a:prstGeom prst="line">
              <a:avLst/>
            </a:prstGeom>
            <a:grpFill/>
            <a:ln w="12700" cap="flat">
              <a:solidFill>
                <a:schemeClr val="tx1"/>
              </a:solidFill>
              <a:prstDash val="solid"/>
              <a:miter lim="800000"/>
              <a:headEnd/>
              <a:tailEnd/>
            </a:ln>
            <a:extLst/>
          </p:spPr>
        </p:cxnSp>
      </p:grpSp>
      <p:grpSp>
        <p:nvGrpSpPr>
          <p:cNvPr id="172" name="Group 171">
            <a:extLst>
              <a:ext uri="{FF2B5EF4-FFF2-40B4-BE49-F238E27FC236}">
                <a16:creationId xmlns:a16="http://schemas.microsoft.com/office/drawing/2014/main" id="{302CD009-26ED-4E6B-B22C-D8C3CCDF4DB2}"/>
              </a:ext>
            </a:extLst>
          </p:cNvPr>
          <p:cNvGrpSpPr/>
          <p:nvPr/>
        </p:nvGrpSpPr>
        <p:grpSpPr>
          <a:xfrm rot="16200000">
            <a:off x="-76917" y="3623999"/>
            <a:ext cx="3978789" cy="176218"/>
            <a:chOff x="3142887" y="5221476"/>
            <a:chExt cx="781948" cy="172778"/>
          </a:xfrm>
        </p:grpSpPr>
        <p:sp>
          <p:nvSpPr>
            <p:cNvPr id="173" name="Freeform 106">
              <a:extLst>
                <a:ext uri="{FF2B5EF4-FFF2-40B4-BE49-F238E27FC236}">
                  <a16:creationId xmlns:a16="http://schemas.microsoft.com/office/drawing/2014/main" id="{1A6826C4-71B8-470F-99AA-D29662E39FEC}"/>
                </a:ext>
              </a:extLst>
            </p:cNvPr>
            <p:cNvSpPr/>
            <p:nvPr/>
          </p:nvSpPr>
          <p:spPr bwMode="auto">
            <a:xfrm rot="16200000">
              <a:off x="3490047" y="4959466"/>
              <a:ext cx="87628" cy="781948"/>
            </a:xfrm>
            <a:custGeom>
              <a:avLst/>
              <a:gdLst>
                <a:gd name="connsiteX0" fmla="*/ 5475 w 235444"/>
                <a:gd name="connsiteY0" fmla="*/ 0 h 3860192"/>
                <a:gd name="connsiteX1" fmla="*/ 235444 w 235444"/>
                <a:gd name="connsiteY1" fmla="*/ 0 h 3860192"/>
                <a:gd name="connsiteX2" fmla="*/ 235444 w 235444"/>
                <a:gd name="connsiteY2" fmla="*/ 3860192 h 3860192"/>
                <a:gd name="connsiteX3" fmla="*/ 0 w 235444"/>
                <a:gd name="connsiteY3" fmla="*/ 3860192 h 3860192"/>
              </a:gdLst>
              <a:ahLst/>
              <a:cxnLst>
                <a:cxn ang="0">
                  <a:pos x="connsiteX0" y="connsiteY0"/>
                </a:cxn>
                <a:cxn ang="0">
                  <a:pos x="connsiteX1" y="connsiteY1"/>
                </a:cxn>
                <a:cxn ang="0">
                  <a:pos x="connsiteX2" y="connsiteY2"/>
                </a:cxn>
                <a:cxn ang="0">
                  <a:pos x="connsiteX3" y="connsiteY3"/>
                </a:cxn>
              </a:cxnLst>
              <a:rect l="l" t="t" r="r" b="b"/>
              <a:pathLst>
                <a:path w="235444" h="3860192">
                  <a:moveTo>
                    <a:pt x="5475" y="0"/>
                  </a:moveTo>
                  <a:lnTo>
                    <a:pt x="235444" y="0"/>
                  </a:lnTo>
                  <a:lnTo>
                    <a:pt x="235444" y="3860192"/>
                  </a:lnTo>
                  <a:lnTo>
                    <a:pt x="0" y="3860192"/>
                  </a:lnTo>
                </a:path>
              </a:pathLst>
            </a:custGeom>
            <a:noFill/>
            <a:ln w="12700">
              <a:solidFill>
                <a:schemeClr val="bg1">
                  <a:lumMod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sz="1836">
                <a:solidFill>
                  <a:schemeClr val="tx1"/>
                </a:solidFill>
                <a:latin typeface="Segoe UI Semilight"/>
              </a:endParaRPr>
            </a:p>
          </p:txBody>
        </p:sp>
        <p:sp>
          <p:nvSpPr>
            <p:cNvPr id="174" name="Freeform 111">
              <a:extLst>
                <a:ext uri="{FF2B5EF4-FFF2-40B4-BE49-F238E27FC236}">
                  <a16:creationId xmlns:a16="http://schemas.microsoft.com/office/drawing/2014/main" id="{9E7BED8B-C50C-402A-BE0A-A1F69F116DF8}"/>
                </a:ext>
              </a:extLst>
            </p:cNvPr>
            <p:cNvSpPr/>
            <p:nvPr/>
          </p:nvSpPr>
          <p:spPr bwMode="auto">
            <a:xfrm rot="16200000">
              <a:off x="3539973" y="5216947"/>
              <a:ext cx="81318" cy="90376"/>
            </a:xfrm>
            <a:custGeom>
              <a:avLst/>
              <a:gdLst>
                <a:gd name="connsiteX0" fmla="*/ 0 w 171450"/>
                <a:gd name="connsiteY0" fmla="*/ 161925 h 161925"/>
                <a:gd name="connsiteX1" fmla="*/ 0 w 171450"/>
                <a:gd name="connsiteY1" fmla="*/ 0 h 161925"/>
                <a:gd name="connsiteX2" fmla="*/ 171450 w 171450"/>
                <a:gd name="connsiteY2" fmla="*/ 0 h 161925"/>
                <a:gd name="connsiteX0" fmla="*/ 0 w 171450"/>
                <a:gd name="connsiteY0" fmla="*/ 0 h 0"/>
                <a:gd name="connsiteX1" fmla="*/ 171450 w 171450"/>
                <a:gd name="connsiteY1" fmla="*/ 0 h 0"/>
              </a:gdLst>
              <a:ahLst/>
              <a:cxnLst>
                <a:cxn ang="0">
                  <a:pos x="connsiteX0" y="connsiteY0"/>
                </a:cxn>
                <a:cxn ang="0">
                  <a:pos x="connsiteX1" y="connsiteY1"/>
                </a:cxn>
              </a:cxnLst>
              <a:rect l="l" t="t" r="r" b="b"/>
              <a:pathLst>
                <a:path w="171450">
                  <a:moveTo>
                    <a:pt x="0" y="0"/>
                  </a:moveTo>
                  <a:lnTo>
                    <a:pt x="171450" y="0"/>
                  </a:lnTo>
                </a:path>
              </a:pathLst>
            </a:custGeom>
            <a:noFill/>
            <a:ln w="12700">
              <a:solidFill>
                <a:schemeClr val="bg1">
                  <a:lumMod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sz="1836">
                <a:solidFill>
                  <a:schemeClr val="tx1"/>
                </a:solidFill>
                <a:latin typeface="Segoe UI Semilight"/>
              </a:endParaRPr>
            </a:p>
          </p:txBody>
        </p:sp>
      </p:grpSp>
      <p:sp>
        <p:nvSpPr>
          <p:cNvPr id="176" name="Shape 101">
            <a:extLst>
              <a:ext uri="{FF2B5EF4-FFF2-40B4-BE49-F238E27FC236}">
                <a16:creationId xmlns:a16="http://schemas.microsoft.com/office/drawing/2014/main" id="{EAC70E6B-D17B-4DC2-8083-725B6935F418}"/>
              </a:ext>
            </a:extLst>
          </p:cNvPr>
          <p:cNvSpPr txBox="1"/>
          <p:nvPr/>
        </p:nvSpPr>
        <p:spPr>
          <a:xfrm>
            <a:off x="10374892" y="3952701"/>
            <a:ext cx="1564994" cy="258919"/>
          </a:xfrm>
          <a:prstGeom prst="rect">
            <a:avLst/>
          </a:prstGeom>
          <a:noFill/>
          <a:ln>
            <a:noFill/>
          </a:ln>
        </p:spPr>
        <p:txBody>
          <a:bodyPr wrap="square" lIns="93245" tIns="46610" rIns="93245" bIns="46610" anchor="t" anchorCtr="0">
            <a:spAutoFit/>
          </a:bodyPr>
          <a:lstStyle/>
          <a:p>
            <a:pPr defTabSz="951156">
              <a:defRPr/>
            </a:pPr>
            <a:r>
              <a:rPr lang="en-US" sz="1071" kern="0" dirty="0">
                <a:latin typeface="Segoe UI Semibold" panose="020B0702040204020203" pitchFamily="34" charset="0"/>
                <a:cs typeface="Segoe UI Semibold" panose="020B0702040204020203" pitchFamily="34" charset="0"/>
                <a:sym typeface="Calibri"/>
              </a:rPr>
              <a:t>Analytical dashboards</a:t>
            </a:r>
          </a:p>
        </p:txBody>
      </p:sp>
      <p:sp>
        <p:nvSpPr>
          <p:cNvPr id="177" name="Rectangle 176">
            <a:extLst>
              <a:ext uri="{FF2B5EF4-FFF2-40B4-BE49-F238E27FC236}">
                <a16:creationId xmlns:a16="http://schemas.microsoft.com/office/drawing/2014/main" id="{CA6904EC-4EE4-4AAF-BA6D-BE9F70312845}"/>
              </a:ext>
            </a:extLst>
          </p:cNvPr>
          <p:cNvSpPr/>
          <p:nvPr/>
        </p:nvSpPr>
        <p:spPr>
          <a:xfrm>
            <a:off x="8884519" y="2421498"/>
            <a:ext cx="938992" cy="430887"/>
          </a:xfrm>
          <a:prstGeom prst="rect">
            <a:avLst/>
          </a:prstGeom>
        </p:spPr>
        <p:txBody>
          <a:bodyPr wrap="square">
            <a:spAutoFit/>
          </a:bodyPr>
          <a:lstStyle/>
          <a:p>
            <a:pPr defTabSz="951156">
              <a:defRPr/>
            </a:pPr>
            <a:r>
              <a:rPr lang="en-US" sz="1100" kern="0" dirty="0">
                <a:latin typeface="Segoe UI Semibold" panose="020B0702040204020203" pitchFamily="34" charset="0"/>
                <a:cs typeface="Segoe UI Semibold" panose="020B0702040204020203" pitchFamily="34" charset="0"/>
              </a:rPr>
              <a:t>SQL Data </a:t>
            </a:r>
          </a:p>
          <a:p>
            <a:pPr defTabSz="951156">
              <a:defRPr/>
            </a:pPr>
            <a:r>
              <a:rPr lang="en-US" sz="1100" kern="0" dirty="0">
                <a:latin typeface="Segoe UI Semibold" panose="020B0702040204020203" pitchFamily="34" charset="0"/>
                <a:cs typeface="Segoe UI Semibold" panose="020B0702040204020203" pitchFamily="34" charset="0"/>
              </a:rPr>
              <a:t>Warehouse</a:t>
            </a:r>
          </a:p>
        </p:txBody>
      </p:sp>
      <p:sp>
        <p:nvSpPr>
          <p:cNvPr id="178" name="Rectangle 177">
            <a:extLst>
              <a:ext uri="{FF2B5EF4-FFF2-40B4-BE49-F238E27FC236}">
                <a16:creationId xmlns:a16="http://schemas.microsoft.com/office/drawing/2014/main" id="{7109B65D-2694-44A6-831E-CE53B42B6BF7}"/>
              </a:ext>
            </a:extLst>
          </p:cNvPr>
          <p:cNvSpPr/>
          <p:nvPr/>
        </p:nvSpPr>
        <p:spPr>
          <a:xfrm>
            <a:off x="8884519" y="3481038"/>
            <a:ext cx="931014" cy="430887"/>
          </a:xfrm>
          <a:prstGeom prst="rect">
            <a:avLst/>
          </a:prstGeom>
        </p:spPr>
        <p:txBody>
          <a:bodyPr wrap="square">
            <a:spAutoFit/>
          </a:bodyPr>
          <a:lstStyle/>
          <a:p>
            <a:pPr defTabSz="951156">
              <a:defRPr/>
            </a:pPr>
            <a:r>
              <a:rPr lang="en-US" sz="1100" kern="0" dirty="0">
                <a:latin typeface="Segoe UI Semibold" panose="020B0702040204020203" pitchFamily="34" charset="0"/>
                <a:cs typeface="Segoe UI Semibold" panose="020B0702040204020203" pitchFamily="34" charset="0"/>
              </a:rPr>
              <a:t>Analysis </a:t>
            </a:r>
          </a:p>
          <a:p>
            <a:pPr defTabSz="951156">
              <a:defRPr/>
            </a:pPr>
            <a:r>
              <a:rPr lang="en-US" sz="1100" kern="0" dirty="0">
                <a:latin typeface="Segoe UI Semibold" panose="020B0702040204020203" pitchFamily="34" charset="0"/>
                <a:cs typeface="Segoe UI Semibold" panose="020B0702040204020203" pitchFamily="34" charset="0"/>
              </a:rPr>
              <a:t>Services</a:t>
            </a:r>
          </a:p>
        </p:txBody>
      </p:sp>
      <p:cxnSp>
        <p:nvCxnSpPr>
          <p:cNvPr id="179" name="Straight Arrow Connector 178">
            <a:extLst>
              <a:ext uri="{FF2B5EF4-FFF2-40B4-BE49-F238E27FC236}">
                <a16:creationId xmlns:a16="http://schemas.microsoft.com/office/drawing/2014/main" id="{6946318E-A35D-4F84-AB29-9F66495C0BCF}"/>
              </a:ext>
            </a:extLst>
          </p:cNvPr>
          <p:cNvCxnSpPr>
            <a:cxnSpLocks/>
            <a:stCxn id="177" idx="2"/>
            <a:endCxn id="178" idx="0"/>
          </p:cNvCxnSpPr>
          <p:nvPr/>
        </p:nvCxnSpPr>
        <p:spPr>
          <a:xfrm flipH="1">
            <a:off x="9350026" y="2852385"/>
            <a:ext cx="3989" cy="628653"/>
          </a:xfrm>
          <a:prstGeom prst="straightConnector1">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0" name="Straight Arrow Connector 179">
            <a:extLst>
              <a:ext uri="{FF2B5EF4-FFF2-40B4-BE49-F238E27FC236}">
                <a16:creationId xmlns:a16="http://schemas.microsoft.com/office/drawing/2014/main" id="{DB68CB07-DCE5-42AF-8A4A-BAABBCD1CE28}"/>
              </a:ext>
            </a:extLst>
          </p:cNvPr>
          <p:cNvCxnSpPr>
            <a:cxnSpLocks/>
          </p:cNvCxnSpPr>
          <p:nvPr/>
        </p:nvCxnSpPr>
        <p:spPr>
          <a:xfrm>
            <a:off x="9815533" y="3699712"/>
            <a:ext cx="566809" cy="0"/>
          </a:xfrm>
          <a:prstGeom prst="straightConnector1">
            <a:avLst/>
          </a:prstGeom>
          <a:ln>
            <a:solidFill>
              <a:schemeClr val="bg1">
                <a:lumMod val="50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81" name="Freeform 182">
            <a:extLst>
              <a:ext uri="{FF2B5EF4-FFF2-40B4-BE49-F238E27FC236}">
                <a16:creationId xmlns:a16="http://schemas.microsoft.com/office/drawing/2014/main" id="{2195CAF9-125D-40FE-820F-731B53A52169}"/>
              </a:ext>
            </a:extLst>
          </p:cNvPr>
          <p:cNvSpPr/>
          <p:nvPr/>
        </p:nvSpPr>
        <p:spPr bwMode="auto">
          <a:xfrm flipH="1">
            <a:off x="8404099" y="2421064"/>
            <a:ext cx="404996" cy="445488"/>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dirty="0">
              <a:solidFill>
                <a:schemeClr val="bg1">
                  <a:lumMod val="50000"/>
                </a:schemeClr>
              </a:solidFill>
              <a:latin typeface="Segoe UI Light"/>
              <a:ea typeface="Segoe UI" pitchFamily="34" charset="0"/>
              <a:cs typeface="Segoe UI" pitchFamily="34" charset="0"/>
            </a:endParaRPr>
          </a:p>
        </p:txBody>
      </p:sp>
      <p:sp>
        <p:nvSpPr>
          <p:cNvPr id="182" name="Freeform: Shape 181">
            <a:extLst>
              <a:ext uri="{FF2B5EF4-FFF2-40B4-BE49-F238E27FC236}">
                <a16:creationId xmlns:a16="http://schemas.microsoft.com/office/drawing/2014/main" id="{A5260292-61B4-4E4E-BB93-B7F416D55C1B}"/>
              </a:ext>
            </a:extLst>
          </p:cNvPr>
          <p:cNvSpPr/>
          <p:nvPr/>
        </p:nvSpPr>
        <p:spPr>
          <a:xfrm>
            <a:off x="8381779" y="3529403"/>
            <a:ext cx="449638" cy="402750"/>
          </a:xfrm>
          <a:custGeom>
            <a:avLst/>
            <a:gdLst>
              <a:gd name="connsiteX0" fmla="*/ 389860 w 1425158"/>
              <a:gd name="connsiteY0" fmla="*/ 651501 h 1109587"/>
              <a:gd name="connsiteX1" fmla="*/ 688826 w 1425158"/>
              <a:gd name="connsiteY1" fmla="*/ 651501 h 1109587"/>
              <a:gd name="connsiteX2" fmla="*/ 688826 w 1425158"/>
              <a:gd name="connsiteY2" fmla="*/ 711477 h 1109587"/>
              <a:gd name="connsiteX3" fmla="*/ 599090 w 1425158"/>
              <a:gd name="connsiteY3" fmla="*/ 759660 h 1109587"/>
              <a:gd name="connsiteX4" fmla="*/ 405906 w 1425158"/>
              <a:gd name="connsiteY4" fmla="*/ 759660 h 1109587"/>
              <a:gd name="connsiteX5" fmla="*/ 101797 w 1425158"/>
              <a:gd name="connsiteY5" fmla="*/ 651501 h 1109587"/>
              <a:gd name="connsiteX6" fmla="*/ 316855 w 1425158"/>
              <a:gd name="connsiteY6" fmla="*/ 651501 h 1109587"/>
              <a:gd name="connsiteX7" fmla="*/ 332901 w 1425158"/>
              <a:gd name="connsiteY7" fmla="*/ 759660 h 1109587"/>
              <a:gd name="connsiteX8" fmla="*/ 159058 w 1425158"/>
              <a:gd name="connsiteY8" fmla="*/ 759660 h 1109587"/>
              <a:gd name="connsiteX9" fmla="*/ 159058 w 1425158"/>
              <a:gd name="connsiteY9" fmla="*/ 1052327 h 1109587"/>
              <a:gd name="connsiteX10" fmla="*/ 631566 w 1425158"/>
              <a:gd name="connsiteY10" fmla="*/ 1052327 h 1109587"/>
              <a:gd name="connsiteX11" fmla="*/ 631566 w 1425158"/>
              <a:gd name="connsiteY11" fmla="*/ 824189 h 1109587"/>
              <a:gd name="connsiteX12" fmla="*/ 688826 w 1425158"/>
              <a:gd name="connsiteY12" fmla="*/ 793443 h 1109587"/>
              <a:gd name="connsiteX13" fmla="*/ 688826 w 1425158"/>
              <a:gd name="connsiteY13" fmla="*/ 1109587 h 1109587"/>
              <a:gd name="connsiteX14" fmla="*/ 101797 w 1425158"/>
              <a:gd name="connsiteY14" fmla="*/ 1109587 h 1109587"/>
              <a:gd name="connsiteX15" fmla="*/ 838129 w 1425158"/>
              <a:gd name="connsiteY15" fmla="*/ 464948 h 1109587"/>
              <a:gd name="connsiteX16" fmla="*/ 895390 w 1425158"/>
              <a:gd name="connsiteY16" fmla="*/ 484141 h 1109587"/>
              <a:gd name="connsiteX17" fmla="*/ 895390 w 1425158"/>
              <a:gd name="connsiteY17" fmla="*/ 600562 h 1109587"/>
              <a:gd name="connsiteX18" fmla="*/ 838129 w 1425158"/>
              <a:gd name="connsiteY18" fmla="*/ 631309 h 1109587"/>
              <a:gd name="connsiteX19" fmla="*/ 529769 w 1425158"/>
              <a:gd name="connsiteY19" fmla="*/ 361593 h 1109587"/>
              <a:gd name="connsiteX20" fmla="*/ 587029 w 1425158"/>
              <a:gd name="connsiteY20" fmla="*/ 380785 h 1109587"/>
              <a:gd name="connsiteX21" fmla="*/ 587029 w 1425158"/>
              <a:gd name="connsiteY21" fmla="*/ 458086 h 1109587"/>
              <a:gd name="connsiteX22" fmla="*/ 361165 w 1425158"/>
              <a:gd name="connsiteY22" fmla="*/ 458086 h 1109587"/>
              <a:gd name="connsiteX23" fmla="*/ 352670 w 1425158"/>
              <a:gd name="connsiteY23" fmla="*/ 400826 h 1109587"/>
              <a:gd name="connsiteX24" fmla="*/ 529769 w 1425158"/>
              <a:gd name="connsiteY24" fmla="*/ 400826 h 1109587"/>
              <a:gd name="connsiteX25" fmla="*/ 359677 w 1425158"/>
              <a:gd name="connsiteY25" fmla="*/ 290886 h 1109587"/>
              <a:gd name="connsiteX26" fmla="*/ 347006 w 1425158"/>
              <a:gd name="connsiteY26" fmla="*/ 309679 h 1109587"/>
              <a:gd name="connsiteX27" fmla="*/ 326542 w 1425158"/>
              <a:gd name="connsiteY27" fmla="*/ 323477 h 1109587"/>
              <a:gd name="connsiteX28" fmla="*/ 402143 w 1425158"/>
              <a:gd name="connsiteY28" fmla="*/ 833064 h 1109587"/>
              <a:gd name="connsiteX29" fmla="*/ 423996 w 1425158"/>
              <a:gd name="connsiteY29" fmla="*/ 837475 h 1109587"/>
              <a:gd name="connsiteX30" fmla="*/ 448803 w 1425158"/>
              <a:gd name="connsiteY30" fmla="*/ 854201 h 1109587"/>
              <a:gd name="connsiteX31" fmla="*/ 450445 w 1425158"/>
              <a:gd name="connsiteY31" fmla="*/ 856636 h 1109587"/>
              <a:gd name="connsiteX32" fmla="*/ 1055784 w 1425158"/>
              <a:gd name="connsiteY32" fmla="*/ 531601 h 1109587"/>
              <a:gd name="connsiteX33" fmla="*/ 1054183 w 1425158"/>
              <a:gd name="connsiteY33" fmla="*/ 523670 h 1109587"/>
              <a:gd name="connsiteX34" fmla="*/ 838129 w 1425158"/>
              <a:gd name="connsiteY34" fmla="*/ 254492 h 1109587"/>
              <a:gd name="connsiteX35" fmla="*/ 1425158 w 1425158"/>
              <a:gd name="connsiteY35" fmla="*/ 254492 h 1109587"/>
              <a:gd name="connsiteX36" fmla="*/ 1425158 w 1425158"/>
              <a:gd name="connsiteY36" fmla="*/ 712578 h 1109587"/>
              <a:gd name="connsiteX37" fmla="*/ 839428 w 1425158"/>
              <a:gd name="connsiteY37" fmla="*/ 712578 h 1109587"/>
              <a:gd name="connsiteX38" fmla="*/ 946067 w 1425158"/>
              <a:gd name="connsiteY38" fmla="*/ 655318 h 1109587"/>
              <a:gd name="connsiteX39" fmla="*/ 1367898 w 1425158"/>
              <a:gd name="connsiteY39" fmla="*/ 655318 h 1109587"/>
              <a:gd name="connsiteX40" fmla="*/ 1367898 w 1425158"/>
              <a:gd name="connsiteY40" fmla="*/ 362651 h 1109587"/>
              <a:gd name="connsiteX41" fmla="*/ 895390 w 1425158"/>
              <a:gd name="connsiteY41" fmla="*/ 362651 h 1109587"/>
              <a:gd name="connsiteX42" fmla="*/ 895390 w 1425158"/>
              <a:gd name="connsiteY42" fmla="*/ 407978 h 1109587"/>
              <a:gd name="connsiteX43" fmla="*/ 838129 w 1425158"/>
              <a:gd name="connsiteY43" fmla="*/ 388785 h 1109587"/>
              <a:gd name="connsiteX44" fmla="*/ 291820 w 1425158"/>
              <a:gd name="connsiteY44" fmla="*/ 176448 h 1109587"/>
              <a:gd name="connsiteX45" fmla="*/ 363732 w 1425158"/>
              <a:gd name="connsiteY45" fmla="*/ 224115 h 1109587"/>
              <a:gd name="connsiteX46" fmla="*/ 368177 w 1425158"/>
              <a:gd name="connsiteY46" fmla="*/ 246133 h 1109587"/>
              <a:gd name="connsiteX47" fmla="*/ 710036 w 1425158"/>
              <a:gd name="connsiteY47" fmla="*/ 360717 h 1109587"/>
              <a:gd name="connsiteX48" fmla="*/ 1060589 w 1425158"/>
              <a:gd name="connsiteY48" fmla="*/ 478215 h 1109587"/>
              <a:gd name="connsiteX49" fmla="*/ 1074762 w 1425158"/>
              <a:gd name="connsiteY49" fmla="*/ 457193 h 1109587"/>
              <a:gd name="connsiteX50" fmla="*/ 1129948 w 1425158"/>
              <a:gd name="connsiteY50" fmla="*/ 434334 h 1109587"/>
              <a:gd name="connsiteX51" fmla="*/ 1207993 w 1425158"/>
              <a:gd name="connsiteY51" fmla="*/ 512379 h 1109587"/>
              <a:gd name="connsiteX52" fmla="*/ 1129948 w 1425158"/>
              <a:gd name="connsiteY52" fmla="*/ 590424 h 1109587"/>
              <a:gd name="connsiteX53" fmla="*/ 1099570 w 1425158"/>
              <a:gd name="connsiteY53" fmla="*/ 584291 h 1109587"/>
              <a:gd name="connsiteX54" fmla="*/ 1078951 w 1425158"/>
              <a:gd name="connsiteY54" fmla="*/ 570390 h 1109587"/>
              <a:gd name="connsiteX55" fmla="*/ 469310 w 1425158"/>
              <a:gd name="connsiteY55" fmla="*/ 897736 h 1109587"/>
              <a:gd name="connsiteX56" fmla="*/ 471662 w 1425158"/>
              <a:gd name="connsiteY56" fmla="*/ 909387 h 1109587"/>
              <a:gd name="connsiteX57" fmla="*/ 393617 w 1425158"/>
              <a:gd name="connsiteY57" fmla="*/ 987432 h 1109587"/>
              <a:gd name="connsiteX58" fmla="*/ 315572 w 1425158"/>
              <a:gd name="connsiteY58" fmla="*/ 909387 h 1109587"/>
              <a:gd name="connsiteX59" fmla="*/ 338431 w 1425158"/>
              <a:gd name="connsiteY59" fmla="*/ 854201 h 1109587"/>
              <a:gd name="connsiteX60" fmla="*/ 357722 w 1425158"/>
              <a:gd name="connsiteY60" fmla="*/ 841195 h 1109587"/>
              <a:gd name="connsiteX61" fmla="*/ 281963 w 1425158"/>
              <a:gd name="connsiteY61" fmla="*/ 330548 h 1109587"/>
              <a:gd name="connsiteX62" fmla="*/ 261442 w 1425158"/>
              <a:gd name="connsiteY62" fmla="*/ 326405 h 1109587"/>
              <a:gd name="connsiteX63" fmla="*/ 213775 w 1425158"/>
              <a:gd name="connsiteY63" fmla="*/ 254493 h 1109587"/>
              <a:gd name="connsiteX64" fmla="*/ 291820 w 1425158"/>
              <a:gd name="connsiteY64" fmla="*/ 176448 h 1109587"/>
              <a:gd name="connsiteX65" fmla="*/ 0 w 1425158"/>
              <a:gd name="connsiteY65" fmla="*/ 0 h 1109587"/>
              <a:gd name="connsiteX66" fmla="*/ 587029 w 1425158"/>
              <a:gd name="connsiteY66" fmla="*/ 0 h 1109587"/>
              <a:gd name="connsiteX67" fmla="*/ 587029 w 1425158"/>
              <a:gd name="connsiteY67" fmla="*/ 304622 h 1109587"/>
              <a:gd name="connsiteX68" fmla="*/ 529769 w 1425158"/>
              <a:gd name="connsiteY68" fmla="*/ 285430 h 1109587"/>
              <a:gd name="connsiteX69" fmla="*/ 529769 w 1425158"/>
              <a:gd name="connsiteY69" fmla="*/ 108159 h 1109587"/>
              <a:gd name="connsiteX70" fmla="*/ 57261 w 1425158"/>
              <a:gd name="connsiteY70" fmla="*/ 108159 h 1109587"/>
              <a:gd name="connsiteX71" fmla="*/ 57261 w 1425158"/>
              <a:gd name="connsiteY71" fmla="*/ 400826 h 1109587"/>
              <a:gd name="connsiteX72" fmla="*/ 279666 w 1425158"/>
              <a:gd name="connsiteY72" fmla="*/ 400826 h 1109587"/>
              <a:gd name="connsiteX73" fmla="*/ 288160 w 1425158"/>
              <a:gd name="connsiteY73" fmla="*/ 458086 h 1109587"/>
              <a:gd name="connsiteX74" fmla="*/ 0 w 1425158"/>
              <a:gd name="connsiteY74" fmla="*/ 458086 h 1109587"/>
              <a:gd name="connsiteX0" fmla="*/ 389860 w 1425158"/>
              <a:gd name="connsiteY0" fmla="*/ 651501 h 1109587"/>
              <a:gd name="connsiteX1" fmla="*/ 688826 w 1425158"/>
              <a:gd name="connsiteY1" fmla="*/ 651501 h 1109587"/>
              <a:gd name="connsiteX2" fmla="*/ 688826 w 1425158"/>
              <a:gd name="connsiteY2" fmla="*/ 711477 h 1109587"/>
              <a:gd name="connsiteX3" fmla="*/ 599090 w 1425158"/>
              <a:gd name="connsiteY3" fmla="*/ 759660 h 1109587"/>
              <a:gd name="connsiteX4" fmla="*/ 405906 w 1425158"/>
              <a:gd name="connsiteY4" fmla="*/ 759660 h 1109587"/>
              <a:gd name="connsiteX5" fmla="*/ 389860 w 1425158"/>
              <a:gd name="connsiteY5" fmla="*/ 651501 h 1109587"/>
              <a:gd name="connsiteX6" fmla="*/ 101797 w 1425158"/>
              <a:gd name="connsiteY6" fmla="*/ 651501 h 1109587"/>
              <a:gd name="connsiteX7" fmla="*/ 316855 w 1425158"/>
              <a:gd name="connsiteY7" fmla="*/ 651501 h 1109587"/>
              <a:gd name="connsiteX8" fmla="*/ 332901 w 1425158"/>
              <a:gd name="connsiteY8" fmla="*/ 759660 h 1109587"/>
              <a:gd name="connsiteX9" fmla="*/ 159058 w 1425158"/>
              <a:gd name="connsiteY9" fmla="*/ 759660 h 1109587"/>
              <a:gd name="connsiteX10" fmla="*/ 159058 w 1425158"/>
              <a:gd name="connsiteY10" fmla="*/ 1052327 h 1109587"/>
              <a:gd name="connsiteX11" fmla="*/ 631566 w 1425158"/>
              <a:gd name="connsiteY11" fmla="*/ 1052327 h 1109587"/>
              <a:gd name="connsiteX12" fmla="*/ 631566 w 1425158"/>
              <a:gd name="connsiteY12" fmla="*/ 824189 h 1109587"/>
              <a:gd name="connsiteX13" fmla="*/ 688826 w 1425158"/>
              <a:gd name="connsiteY13" fmla="*/ 793443 h 1109587"/>
              <a:gd name="connsiteX14" fmla="*/ 688826 w 1425158"/>
              <a:gd name="connsiteY14" fmla="*/ 1109587 h 1109587"/>
              <a:gd name="connsiteX15" fmla="*/ 101797 w 1425158"/>
              <a:gd name="connsiteY15" fmla="*/ 1109587 h 1109587"/>
              <a:gd name="connsiteX16" fmla="*/ 101797 w 1425158"/>
              <a:gd name="connsiteY16" fmla="*/ 651501 h 1109587"/>
              <a:gd name="connsiteX17" fmla="*/ 838129 w 1425158"/>
              <a:gd name="connsiteY17" fmla="*/ 464948 h 1109587"/>
              <a:gd name="connsiteX18" fmla="*/ 895390 w 1425158"/>
              <a:gd name="connsiteY18" fmla="*/ 484141 h 1109587"/>
              <a:gd name="connsiteX19" fmla="*/ 895390 w 1425158"/>
              <a:gd name="connsiteY19" fmla="*/ 600562 h 1109587"/>
              <a:gd name="connsiteX20" fmla="*/ 838129 w 1425158"/>
              <a:gd name="connsiteY20" fmla="*/ 631309 h 1109587"/>
              <a:gd name="connsiteX21" fmla="*/ 838129 w 1425158"/>
              <a:gd name="connsiteY21" fmla="*/ 464948 h 1109587"/>
              <a:gd name="connsiteX22" fmla="*/ 529769 w 1425158"/>
              <a:gd name="connsiteY22" fmla="*/ 361593 h 1109587"/>
              <a:gd name="connsiteX23" fmla="*/ 587029 w 1425158"/>
              <a:gd name="connsiteY23" fmla="*/ 380785 h 1109587"/>
              <a:gd name="connsiteX24" fmla="*/ 587029 w 1425158"/>
              <a:gd name="connsiteY24" fmla="*/ 458086 h 1109587"/>
              <a:gd name="connsiteX25" fmla="*/ 361165 w 1425158"/>
              <a:gd name="connsiteY25" fmla="*/ 458086 h 1109587"/>
              <a:gd name="connsiteX26" fmla="*/ 352670 w 1425158"/>
              <a:gd name="connsiteY26" fmla="*/ 400826 h 1109587"/>
              <a:gd name="connsiteX27" fmla="*/ 529769 w 1425158"/>
              <a:gd name="connsiteY27" fmla="*/ 400826 h 1109587"/>
              <a:gd name="connsiteX28" fmla="*/ 529769 w 1425158"/>
              <a:gd name="connsiteY28" fmla="*/ 361593 h 1109587"/>
              <a:gd name="connsiteX29" fmla="*/ 359677 w 1425158"/>
              <a:gd name="connsiteY29" fmla="*/ 290886 h 1109587"/>
              <a:gd name="connsiteX30" fmla="*/ 347006 w 1425158"/>
              <a:gd name="connsiteY30" fmla="*/ 309679 h 1109587"/>
              <a:gd name="connsiteX31" fmla="*/ 326542 w 1425158"/>
              <a:gd name="connsiteY31" fmla="*/ 323477 h 1109587"/>
              <a:gd name="connsiteX32" fmla="*/ 402143 w 1425158"/>
              <a:gd name="connsiteY32" fmla="*/ 833064 h 1109587"/>
              <a:gd name="connsiteX33" fmla="*/ 423996 w 1425158"/>
              <a:gd name="connsiteY33" fmla="*/ 837475 h 1109587"/>
              <a:gd name="connsiteX34" fmla="*/ 448803 w 1425158"/>
              <a:gd name="connsiteY34" fmla="*/ 854201 h 1109587"/>
              <a:gd name="connsiteX35" fmla="*/ 450445 w 1425158"/>
              <a:gd name="connsiteY35" fmla="*/ 856636 h 1109587"/>
              <a:gd name="connsiteX36" fmla="*/ 1055784 w 1425158"/>
              <a:gd name="connsiteY36" fmla="*/ 531601 h 1109587"/>
              <a:gd name="connsiteX37" fmla="*/ 1054183 w 1425158"/>
              <a:gd name="connsiteY37" fmla="*/ 523670 h 1109587"/>
              <a:gd name="connsiteX38" fmla="*/ 359677 w 1425158"/>
              <a:gd name="connsiteY38" fmla="*/ 290886 h 1109587"/>
              <a:gd name="connsiteX39" fmla="*/ 838129 w 1425158"/>
              <a:gd name="connsiteY39" fmla="*/ 254492 h 1109587"/>
              <a:gd name="connsiteX40" fmla="*/ 1425158 w 1425158"/>
              <a:gd name="connsiteY40" fmla="*/ 254492 h 1109587"/>
              <a:gd name="connsiteX41" fmla="*/ 1425158 w 1425158"/>
              <a:gd name="connsiteY41" fmla="*/ 712578 h 1109587"/>
              <a:gd name="connsiteX42" fmla="*/ 839428 w 1425158"/>
              <a:gd name="connsiteY42" fmla="*/ 712578 h 1109587"/>
              <a:gd name="connsiteX43" fmla="*/ 946067 w 1425158"/>
              <a:gd name="connsiteY43" fmla="*/ 655318 h 1109587"/>
              <a:gd name="connsiteX44" fmla="*/ 1367898 w 1425158"/>
              <a:gd name="connsiteY44" fmla="*/ 655318 h 1109587"/>
              <a:gd name="connsiteX45" fmla="*/ 1367898 w 1425158"/>
              <a:gd name="connsiteY45" fmla="*/ 362651 h 1109587"/>
              <a:gd name="connsiteX46" fmla="*/ 895390 w 1425158"/>
              <a:gd name="connsiteY46" fmla="*/ 362651 h 1109587"/>
              <a:gd name="connsiteX47" fmla="*/ 895390 w 1425158"/>
              <a:gd name="connsiteY47" fmla="*/ 407978 h 1109587"/>
              <a:gd name="connsiteX48" fmla="*/ 838129 w 1425158"/>
              <a:gd name="connsiteY48" fmla="*/ 388785 h 1109587"/>
              <a:gd name="connsiteX49" fmla="*/ 838129 w 1425158"/>
              <a:gd name="connsiteY49" fmla="*/ 254492 h 1109587"/>
              <a:gd name="connsiteX50" fmla="*/ 291820 w 1425158"/>
              <a:gd name="connsiteY50" fmla="*/ 176448 h 1109587"/>
              <a:gd name="connsiteX51" fmla="*/ 363732 w 1425158"/>
              <a:gd name="connsiteY51" fmla="*/ 224115 h 1109587"/>
              <a:gd name="connsiteX52" fmla="*/ 368177 w 1425158"/>
              <a:gd name="connsiteY52" fmla="*/ 246133 h 1109587"/>
              <a:gd name="connsiteX53" fmla="*/ 1060589 w 1425158"/>
              <a:gd name="connsiteY53" fmla="*/ 478215 h 1109587"/>
              <a:gd name="connsiteX54" fmla="*/ 1074762 w 1425158"/>
              <a:gd name="connsiteY54" fmla="*/ 457193 h 1109587"/>
              <a:gd name="connsiteX55" fmla="*/ 1129948 w 1425158"/>
              <a:gd name="connsiteY55" fmla="*/ 434334 h 1109587"/>
              <a:gd name="connsiteX56" fmla="*/ 1207993 w 1425158"/>
              <a:gd name="connsiteY56" fmla="*/ 512379 h 1109587"/>
              <a:gd name="connsiteX57" fmla="*/ 1129948 w 1425158"/>
              <a:gd name="connsiteY57" fmla="*/ 590424 h 1109587"/>
              <a:gd name="connsiteX58" fmla="*/ 1099570 w 1425158"/>
              <a:gd name="connsiteY58" fmla="*/ 584291 h 1109587"/>
              <a:gd name="connsiteX59" fmla="*/ 1078951 w 1425158"/>
              <a:gd name="connsiteY59" fmla="*/ 570390 h 1109587"/>
              <a:gd name="connsiteX60" fmla="*/ 469310 w 1425158"/>
              <a:gd name="connsiteY60" fmla="*/ 897736 h 1109587"/>
              <a:gd name="connsiteX61" fmla="*/ 471662 w 1425158"/>
              <a:gd name="connsiteY61" fmla="*/ 909387 h 1109587"/>
              <a:gd name="connsiteX62" fmla="*/ 393617 w 1425158"/>
              <a:gd name="connsiteY62" fmla="*/ 987432 h 1109587"/>
              <a:gd name="connsiteX63" fmla="*/ 315572 w 1425158"/>
              <a:gd name="connsiteY63" fmla="*/ 909387 h 1109587"/>
              <a:gd name="connsiteX64" fmla="*/ 338431 w 1425158"/>
              <a:gd name="connsiteY64" fmla="*/ 854201 h 1109587"/>
              <a:gd name="connsiteX65" fmla="*/ 357722 w 1425158"/>
              <a:gd name="connsiteY65" fmla="*/ 841195 h 1109587"/>
              <a:gd name="connsiteX66" fmla="*/ 281963 w 1425158"/>
              <a:gd name="connsiteY66" fmla="*/ 330548 h 1109587"/>
              <a:gd name="connsiteX67" fmla="*/ 261442 w 1425158"/>
              <a:gd name="connsiteY67" fmla="*/ 326405 h 1109587"/>
              <a:gd name="connsiteX68" fmla="*/ 213775 w 1425158"/>
              <a:gd name="connsiteY68" fmla="*/ 254493 h 1109587"/>
              <a:gd name="connsiteX69" fmla="*/ 291820 w 1425158"/>
              <a:gd name="connsiteY69" fmla="*/ 176448 h 1109587"/>
              <a:gd name="connsiteX70" fmla="*/ 0 w 1425158"/>
              <a:gd name="connsiteY70" fmla="*/ 0 h 1109587"/>
              <a:gd name="connsiteX71" fmla="*/ 587029 w 1425158"/>
              <a:gd name="connsiteY71" fmla="*/ 0 h 1109587"/>
              <a:gd name="connsiteX72" fmla="*/ 587029 w 1425158"/>
              <a:gd name="connsiteY72" fmla="*/ 304622 h 1109587"/>
              <a:gd name="connsiteX73" fmla="*/ 529769 w 1425158"/>
              <a:gd name="connsiteY73" fmla="*/ 285430 h 1109587"/>
              <a:gd name="connsiteX74" fmla="*/ 529769 w 1425158"/>
              <a:gd name="connsiteY74" fmla="*/ 108159 h 1109587"/>
              <a:gd name="connsiteX75" fmla="*/ 57261 w 1425158"/>
              <a:gd name="connsiteY75" fmla="*/ 108159 h 1109587"/>
              <a:gd name="connsiteX76" fmla="*/ 57261 w 1425158"/>
              <a:gd name="connsiteY76" fmla="*/ 400826 h 1109587"/>
              <a:gd name="connsiteX77" fmla="*/ 279666 w 1425158"/>
              <a:gd name="connsiteY77" fmla="*/ 400826 h 1109587"/>
              <a:gd name="connsiteX78" fmla="*/ 288160 w 1425158"/>
              <a:gd name="connsiteY78" fmla="*/ 458086 h 1109587"/>
              <a:gd name="connsiteX79" fmla="*/ 0 w 1425158"/>
              <a:gd name="connsiteY79" fmla="*/ 458086 h 1109587"/>
              <a:gd name="connsiteX80" fmla="*/ 0 w 1425158"/>
              <a:gd name="connsiteY80" fmla="*/ 0 h 1109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425158" h="1109587">
                <a:moveTo>
                  <a:pt x="389860" y="651501"/>
                </a:moveTo>
                <a:lnTo>
                  <a:pt x="688826" y="651501"/>
                </a:lnTo>
                <a:lnTo>
                  <a:pt x="688826" y="711477"/>
                </a:lnTo>
                <a:lnTo>
                  <a:pt x="599090" y="759660"/>
                </a:lnTo>
                <a:lnTo>
                  <a:pt x="405906" y="759660"/>
                </a:lnTo>
                <a:lnTo>
                  <a:pt x="389860" y="651501"/>
                </a:lnTo>
                <a:close/>
                <a:moveTo>
                  <a:pt x="101797" y="651501"/>
                </a:moveTo>
                <a:lnTo>
                  <a:pt x="316855" y="651501"/>
                </a:lnTo>
                <a:lnTo>
                  <a:pt x="332901" y="759660"/>
                </a:lnTo>
                <a:lnTo>
                  <a:pt x="159058" y="759660"/>
                </a:lnTo>
                <a:lnTo>
                  <a:pt x="159058" y="1052327"/>
                </a:lnTo>
                <a:lnTo>
                  <a:pt x="631566" y="1052327"/>
                </a:lnTo>
                <a:lnTo>
                  <a:pt x="631566" y="824189"/>
                </a:lnTo>
                <a:lnTo>
                  <a:pt x="688826" y="793443"/>
                </a:lnTo>
                <a:lnTo>
                  <a:pt x="688826" y="1109587"/>
                </a:lnTo>
                <a:lnTo>
                  <a:pt x="101797" y="1109587"/>
                </a:lnTo>
                <a:lnTo>
                  <a:pt x="101797" y="651501"/>
                </a:lnTo>
                <a:close/>
                <a:moveTo>
                  <a:pt x="838129" y="464948"/>
                </a:moveTo>
                <a:lnTo>
                  <a:pt x="895390" y="484141"/>
                </a:lnTo>
                <a:lnTo>
                  <a:pt x="895390" y="600562"/>
                </a:lnTo>
                <a:lnTo>
                  <a:pt x="838129" y="631309"/>
                </a:lnTo>
                <a:lnTo>
                  <a:pt x="838129" y="464948"/>
                </a:lnTo>
                <a:close/>
                <a:moveTo>
                  <a:pt x="529769" y="361593"/>
                </a:moveTo>
                <a:lnTo>
                  <a:pt x="587029" y="380785"/>
                </a:lnTo>
                <a:lnTo>
                  <a:pt x="587029" y="458086"/>
                </a:lnTo>
                <a:lnTo>
                  <a:pt x="361165" y="458086"/>
                </a:lnTo>
                <a:lnTo>
                  <a:pt x="352670" y="400826"/>
                </a:lnTo>
                <a:lnTo>
                  <a:pt x="529769" y="400826"/>
                </a:lnTo>
                <a:lnTo>
                  <a:pt x="529769" y="361593"/>
                </a:lnTo>
                <a:close/>
                <a:moveTo>
                  <a:pt x="359677" y="290886"/>
                </a:moveTo>
                <a:lnTo>
                  <a:pt x="347006" y="309679"/>
                </a:lnTo>
                <a:lnTo>
                  <a:pt x="326542" y="323477"/>
                </a:lnTo>
                <a:lnTo>
                  <a:pt x="402143" y="833064"/>
                </a:lnTo>
                <a:lnTo>
                  <a:pt x="423996" y="837475"/>
                </a:lnTo>
                <a:cubicBezTo>
                  <a:pt x="433333" y="841425"/>
                  <a:pt x="441742" y="847139"/>
                  <a:pt x="448803" y="854201"/>
                </a:cubicBezTo>
                <a:lnTo>
                  <a:pt x="450445" y="856636"/>
                </a:lnTo>
                <a:lnTo>
                  <a:pt x="1055784" y="531601"/>
                </a:lnTo>
                <a:lnTo>
                  <a:pt x="1054183" y="523670"/>
                </a:lnTo>
                <a:lnTo>
                  <a:pt x="359677" y="290886"/>
                </a:lnTo>
                <a:close/>
                <a:moveTo>
                  <a:pt x="838129" y="254492"/>
                </a:moveTo>
                <a:lnTo>
                  <a:pt x="1425158" y="254492"/>
                </a:lnTo>
                <a:lnTo>
                  <a:pt x="1425158" y="712578"/>
                </a:lnTo>
                <a:lnTo>
                  <a:pt x="839428" y="712578"/>
                </a:lnTo>
                <a:lnTo>
                  <a:pt x="946067" y="655318"/>
                </a:lnTo>
                <a:lnTo>
                  <a:pt x="1367898" y="655318"/>
                </a:lnTo>
                <a:lnTo>
                  <a:pt x="1367898" y="362651"/>
                </a:lnTo>
                <a:lnTo>
                  <a:pt x="895390" y="362651"/>
                </a:lnTo>
                <a:lnTo>
                  <a:pt x="895390" y="407978"/>
                </a:lnTo>
                <a:lnTo>
                  <a:pt x="838129" y="388785"/>
                </a:lnTo>
                <a:lnTo>
                  <a:pt x="838129" y="254492"/>
                </a:lnTo>
                <a:close/>
                <a:moveTo>
                  <a:pt x="291820" y="176448"/>
                </a:moveTo>
                <a:cubicBezTo>
                  <a:pt x="324147" y="176448"/>
                  <a:pt x="351884" y="196103"/>
                  <a:pt x="363732" y="224115"/>
                </a:cubicBezTo>
                <a:lnTo>
                  <a:pt x="368177" y="246133"/>
                </a:lnTo>
                <a:lnTo>
                  <a:pt x="1060589" y="478215"/>
                </a:lnTo>
                <a:lnTo>
                  <a:pt x="1074762" y="457193"/>
                </a:lnTo>
                <a:cubicBezTo>
                  <a:pt x="1088885" y="443070"/>
                  <a:pt x="1108397" y="434334"/>
                  <a:pt x="1129948" y="434334"/>
                </a:cubicBezTo>
                <a:cubicBezTo>
                  <a:pt x="1173051" y="434334"/>
                  <a:pt x="1207993" y="469276"/>
                  <a:pt x="1207993" y="512379"/>
                </a:cubicBezTo>
                <a:cubicBezTo>
                  <a:pt x="1207993" y="555482"/>
                  <a:pt x="1173051" y="590424"/>
                  <a:pt x="1129948" y="590424"/>
                </a:cubicBezTo>
                <a:cubicBezTo>
                  <a:pt x="1119172" y="590424"/>
                  <a:pt x="1108907" y="588240"/>
                  <a:pt x="1099570" y="584291"/>
                </a:cubicBezTo>
                <a:lnTo>
                  <a:pt x="1078951" y="570390"/>
                </a:lnTo>
                <a:lnTo>
                  <a:pt x="469310" y="897736"/>
                </a:lnTo>
                <a:lnTo>
                  <a:pt x="471662" y="909387"/>
                </a:lnTo>
                <a:cubicBezTo>
                  <a:pt x="471662" y="952490"/>
                  <a:pt x="436720" y="987432"/>
                  <a:pt x="393617" y="987432"/>
                </a:cubicBezTo>
                <a:cubicBezTo>
                  <a:pt x="350514" y="987432"/>
                  <a:pt x="315572" y="952490"/>
                  <a:pt x="315572" y="909387"/>
                </a:cubicBezTo>
                <a:cubicBezTo>
                  <a:pt x="315572" y="887836"/>
                  <a:pt x="324308" y="868324"/>
                  <a:pt x="338431" y="854201"/>
                </a:cubicBezTo>
                <a:lnTo>
                  <a:pt x="357722" y="841195"/>
                </a:lnTo>
                <a:lnTo>
                  <a:pt x="281963" y="330548"/>
                </a:lnTo>
                <a:lnTo>
                  <a:pt x="261442" y="326405"/>
                </a:lnTo>
                <a:cubicBezTo>
                  <a:pt x="233430" y="314557"/>
                  <a:pt x="213775" y="286821"/>
                  <a:pt x="213775" y="254493"/>
                </a:cubicBezTo>
                <a:cubicBezTo>
                  <a:pt x="213775" y="211390"/>
                  <a:pt x="248717" y="176448"/>
                  <a:pt x="291820" y="176448"/>
                </a:cubicBezTo>
                <a:close/>
                <a:moveTo>
                  <a:pt x="0" y="0"/>
                </a:moveTo>
                <a:lnTo>
                  <a:pt x="587029" y="0"/>
                </a:lnTo>
                <a:lnTo>
                  <a:pt x="587029" y="304622"/>
                </a:lnTo>
                <a:lnTo>
                  <a:pt x="529769" y="285430"/>
                </a:lnTo>
                <a:lnTo>
                  <a:pt x="529769" y="108159"/>
                </a:lnTo>
                <a:lnTo>
                  <a:pt x="57261" y="108159"/>
                </a:lnTo>
                <a:lnTo>
                  <a:pt x="57261" y="400826"/>
                </a:lnTo>
                <a:lnTo>
                  <a:pt x="279666" y="400826"/>
                </a:lnTo>
                <a:lnTo>
                  <a:pt x="288160" y="458086"/>
                </a:lnTo>
                <a:lnTo>
                  <a:pt x="0" y="458086"/>
                </a:lnTo>
                <a:lnTo>
                  <a:pt x="0" y="0"/>
                </a:lnTo>
                <a:close/>
              </a:path>
            </a:pathLst>
          </a:cu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32597">
              <a:defRPr/>
            </a:pPr>
            <a:endParaRPr lang="en-US" sz="1836" dirty="0">
              <a:solidFill>
                <a:schemeClr val="bg1">
                  <a:lumMod val="50000"/>
                </a:schemeClr>
              </a:solidFill>
              <a:latin typeface="Segoe UI Semilight"/>
            </a:endParaRPr>
          </a:p>
        </p:txBody>
      </p:sp>
      <p:grpSp>
        <p:nvGrpSpPr>
          <p:cNvPr id="183" name="Group 182">
            <a:extLst>
              <a:ext uri="{FF2B5EF4-FFF2-40B4-BE49-F238E27FC236}">
                <a16:creationId xmlns:a16="http://schemas.microsoft.com/office/drawing/2014/main" id="{0C72E8F3-A43F-4070-9F3A-C013F8F23BF4}"/>
              </a:ext>
            </a:extLst>
          </p:cNvPr>
          <p:cNvGrpSpPr/>
          <p:nvPr/>
        </p:nvGrpSpPr>
        <p:grpSpPr>
          <a:xfrm>
            <a:off x="10693717" y="3290509"/>
            <a:ext cx="691001" cy="587819"/>
            <a:chOff x="10725498" y="5087603"/>
            <a:chExt cx="498940" cy="424437"/>
          </a:xfrm>
        </p:grpSpPr>
        <p:sp>
          <p:nvSpPr>
            <p:cNvPr id="195" name="graph_2">
              <a:extLst>
                <a:ext uri="{FF2B5EF4-FFF2-40B4-BE49-F238E27FC236}">
                  <a16:creationId xmlns:a16="http://schemas.microsoft.com/office/drawing/2014/main" id="{EA04EE86-BC70-47A2-A80D-E519D326A253}"/>
                </a:ext>
              </a:extLst>
            </p:cNvPr>
            <p:cNvSpPr>
              <a:spLocks noChangeAspect="1" noEditPoints="1"/>
            </p:cNvSpPr>
            <p:nvPr/>
          </p:nvSpPr>
          <p:spPr bwMode="auto">
            <a:xfrm>
              <a:off x="10829194" y="5267741"/>
              <a:ext cx="291548" cy="170948"/>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dirty="0">
                <a:solidFill>
                  <a:schemeClr val="bg1">
                    <a:lumMod val="50000"/>
                  </a:schemeClr>
                </a:solidFill>
                <a:latin typeface="Segoe UI Semilight"/>
              </a:endParaRPr>
            </a:p>
          </p:txBody>
        </p:sp>
        <p:grpSp>
          <p:nvGrpSpPr>
            <p:cNvPr id="196" name="Group 195">
              <a:extLst>
                <a:ext uri="{FF2B5EF4-FFF2-40B4-BE49-F238E27FC236}">
                  <a16:creationId xmlns:a16="http://schemas.microsoft.com/office/drawing/2014/main" id="{F59E85F8-7C90-4549-84BF-621452F4B76F}"/>
                </a:ext>
              </a:extLst>
            </p:cNvPr>
            <p:cNvGrpSpPr/>
            <p:nvPr/>
          </p:nvGrpSpPr>
          <p:grpSpPr>
            <a:xfrm>
              <a:off x="10725498" y="5087603"/>
              <a:ext cx="498940" cy="424437"/>
              <a:chOff x="10725498" y="5087603"/>
              <a:chExt cx="498940" cy="424437"/>
            </a:xfrm>
          </p:grpSpPr>
          <p:sp>
            <p:nvSpPr>
              <p:cNvPr id="197" name="Rectangle 9">
                <a:extLst>
                  <a:ext uri="{FF2B5EF4-FFF2-40B4-BE49-F238E27FC236}">
                    <a16:creationId xmlns:a16="http://schemas.microsoft.com/office/drawing/2014/main" id="{4876C650-BA7E-4061-8F53-9B97366F9290}"/>
                  </a:ext>
                </a:extLst>
              </p:cNvPr>
              <p:cNvSpPr>
                <a:spLocks noChangeArrowheads="1"/>
              </p:cNvSpPr>
              <p:nvPr/>
            </p:nvSpPr>
            <p:spPr bwMode="auto">
              <a:xfrm>
                <a:off x="10725498" y="5087603"/>
                <a:ext cx="498940" cy="424437"/>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51304">
                  <a:defRPr/>
                </a:pPr>
                <a:endParaRPr lang="en-US" sz="1836" dirty="0">
                  <a:solidFill>
                    <a:schemeClr val="bg1">
                      <a:lumMod val="50000"/>
                    </a:schemeClr>
                  </a:solidFill>
                  <a:latin typeface="Segoe UI"/>
                </a:endParaRPr>
              </a:p>
            </p:txBody>
          </p:sp>
          <p:sp>
            <p:nvSpPr>
              <p:cNvPr id="198" name="Line 10">
                <a:extLst>
                  <a:ext uri="{FF2B5EF4-FFF2-40B4-BE49-F238E27FC236}">
                    <a16:creationId xmlns:a16="http://schemas.microsoft.com/office/drawing/2014/main" id="{68982B08-C2BF-46D0-B0CE-E1CBE48CB82D}"/>
                  </a:ext>
                </a:extLst>
              </p:cNvPr>
              <p:cNvSpPr>
                <a:spLocks noChangeShapeType="1"/>
              </p:cNvSpPr>
              <p:nvPr/>
            </p:nvSpPr>
            <p:spPr bwMode="auto">
              <a:xfrm flipH="1">
                <a:off x="10725498" y="5202743"/>
                <a:ext cx="49894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304">
                  <a:defRPr/>
                </a:pPr>
                <a:endParaRPr lang="en-US" sz="1836" dirty="0">
                  <a:solidFill>
                    <a:schemeClr val="bg1">
                      <a:lumMod val="50000"/>
                    </a:schemeClr>
                  </a:solidFill>
                  <a:latin typeface="Segoe UI"/>
                </a:endParaRPr>
              </a:p>
            </p:txBody>
          </p:sp>
          <p:sp>
            <p:nvSpPr>
              <p:cNvPr id="199" name="Oval 11">
                <a:extLst>
                  <a:ext uri="{FF2B5EF4-FFF2-40B4-BE49-F238E27FC236}">
                    <a16:creationId xmlns:a16="http://schemas.microsoft.com/office/drawing/2014/main" id="{0929F2AD-EC27-42AA-975D-21CE927978F7}"/>
                  </a:ext>
                </a:extLst>
              </p:cNvPr>
              <p:cNvSpPr>
                <a:spLocks noChangeArrowheads="1"/>
              </p:cNvSpPr>
              <p:nvPr/>
            </p:nvSpPr>
            <p:spPr bwMode="auto">
              <a:xfrm>
                <a:off x="11014477" y="5125983"/>
                <a:ext cx="38380" cy="38380"/>
              </a:xfrm>
              <a:prstGeom prst="ellipse">
                <a:avLst/>
              </a:prstGeom>
              <a:solidFill>
                <a:srgbClr val="F2F2F2"/>
              </a:solidFill>
              <a:ln w="12700">
                <a:solidFill>
                  <a:schemeClr val="tx1"/>
                </a:solid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836" dirty="0">
                  <a:solidFill>
                    <a:schemeClr val="bg1">
                      <a:lumMod val="50000"/>
                    </a:schemeClr>
                  </a:solidFill>
                  <a:latin typeface="Segoe UI"/>
                </a:endParaRPr>
              </a:p>
            </p:txBody>
          </p:sp>
          <p:sp>
            <p:nvSpPr>
              <p:cNvPr id="200" name="Oval 12">
                <a:extLst>
                  <a:ext uri="{FF2B5EF4-FFF2-40B4-BE49-F238E27FC236}">
                    <a16:creationId xmlns:a16="http://schemas.microsoft.com/office/drawing/2014/main" id="{9AFB0EDF-F281-41D2-B6AE-B9A1C45A14ED}"/>
                  </a:ext>
                </a:extLst>
              </p:cNvPr>
              <p:cNvSpPr>
                <a:spLocks noChangeArrowheads="1"/>
              </p:cNvSpPr>
              <p:nvPr/>
            </p:nvSpPr>
            <p:spPr bwMode="auto">
              <a:xfrm>
                <a:off x="11070918" y="5125983"/>
                <a:ext cx="38380" cy="38380"/>
              </a:xfrm>
              <a:prstGeom prst="ellipse">
                <a:avLst/>
              </a:prstGeom>
              <a:solidFill>
                <a:srgbClr val="F2F2F2"/>
              </a:solidFill>
              <a:ln w="12700">
                <a:solidFill>
                  <a:schemeClr val="tx1"/>
                </a:solid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836" dirty="0">
                  <a:solidFill>
                    <a:schemeClr val="bg1">
                      <a:lumMod val="50000"/>
                    </a:schemeClr>
                  </a:solidFill>
                  <a:latin typeface="Segoe UI"/>
                </a:endParaRPr>
              </a:p>
            </p:txBody>
          </p:sp>
          <p:sp>
            <p:nvSpPr>
              <p:cNvPr id="201" name="Oval 13">
                <a:extLst>
                  <a:ext uri="{FF2B5EF4-FFF2-40B4-BE49-F238E27FC236}">
                    <a16:creationId xmlns:a16="http://schemas.microsoft.com/office/drawing/2014/main" id="{598E94DD-82DB-4CEA-94BE-8FF69BFF8992}"/>
                  </a:ext>
                </a:extLst>
              </p:cNvPr>
              <p:cNvSpPr>
                <a:spLocks noChangeArrowheads="1"/>
              </p:cNvSpPr>
              <p:nvPr/>
            </p:nvSpPr>
            <p:spPr bwMode="auto">
              <a:xfrm>
                <a:off x="11129617" y="5125983"/>
                <a:ext cx="38380" cy="38380"/>
              </a:xfrm>
              <a:prstGeom prst="ellipse">
                <a:avLst/>
              </a:prstGeom>
              <a:solidFill>
                <a:srgbClr val="F2F2F2"/>
              </a:solidFill>
              <a:ln w="12700">
                <a:solidFill>
                  <a:schemeClr val="tx1"/>
                </a:solid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836" dirty="0">
                  <a:solidFill>
                    <a:schemeClr val="bg1">
                      <a:lumMod val="50000"/>
                    </a:schemeClr>
                  </a:solidFill>
                  <a:latin typeface="Segoe UI"/>
                </a:endParaRPr>
              </a:p>
            </p:txBody>
          </p:sp>
        </p:grpSp>
      </p:grpSp>
      <p:grpSp>
        <p:nvGrpSpPr>
          <p:cNvPr id="184" name="Group 183">
            <a:extLst>
              <a:ext uri="{FF2B5EF4-FFF2-40B4-BE49-F238E27FC236}">
                <a16:creationId xmlns:a16="http://schemas.microsoft.com/office/drawing/2014/main" id="{E0548780-ECAE-4959-8C33-BAFD4AC272BC}"/>
              </a:ext>
            </a:extLst>
          </p:cNvPr>
          <p:cNvGrpSpPr/>
          <p:nvPr/>
        </p:nvGrpSpPr>
        <p:grpSpPr>
          <a:xfrm>
            <a:off x="10681111" y="2148765"/>
            <a:ext cx="691001" cy="587819"/>
            <a:chOff x="10725498" y="5087603"/>
            <a:chExt cx="498940" cy="424437"/>
          </a:xfrm>
        </p:grpSpPr>
        <p:sp>
          <p:nvSpPr>
            <p:cNvPr id="190" name="Rectangle 9">
              <a:extLst>
                <a:ext uri="{FF2B5EF4-FFF2-40B4-BE49-F238E27FC236}">
                  <a16:creationId xmlns:a16="http://schemas.microsoft.com/office/drawing/2014/main" id="{5BB9B415-6F8A-41C6-949A-5957C24D1BE3}"/>
                </a:ext>
              </a:extLst>
            </p:cNvPr>
            <p:cNvSpPr>
              <a:spLocks noChangeArrowheads="1"/>
            </p:cNvSpPr>
            <p:nvPr/>
          </p:nvSpPr>
          <p:spPr bwMode="auto">
            <a:xfrm>
              <a:off x="10725498" y="5087603"/>
              <a:ext cx="498940" cy="424437"/>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51304">
                <a:defRPr/>
              </a:pPr>
              <a:endParaRPr lang="en-US" sz="1836" dirty="0">
                <a:solidFill>
                  <a:schemeClr val="bg1">
                    <a:lumMod val="50000"/>
                  </a:schemeClr>
                </a:solidFill>
                <a:latin typeface="Segoe UI"/>
              </a:endParaRPr>
            </a:p>
          </p:txBody>
        </p:sp>
        <p:sp>
          <p:nvSpPr>
            <p:cNvPr id="191" name="Line 10">
              <a:extLst>
                <a:ext uri="{FF2B5EF4-FFF2-40B4-BE49-F238E27FC236}">
                  <a16:creationId xmlns:a16="http://schemas.microsoft.com/office/drawing/2014/main" id="{0C0B0C64-CF85-4446-ADAC-6D983C93BB92}"/>
                </a:ext>
              </a:extLst>
            </p:cNvPr>
            <p:cNvSpPr>
              <a:spLocks noChangeShapeType="1"/>
            </p:cNvSpPr>
            <p:nvPr/>
          </p:nvSpPr>
          <p:spPr bwMode="auto">
            <a:xfrm flipH="1">
              <a:off x="10725498" y="5202743"/>
              <a:ext cx="49894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51304">
                <a:defRPr/>
              </a:pPr>
              <a:endParaRPr lang="en-US" sz="1836" dirty="0">
                <a:solidFill>
                  <a:schemeClr val="bg1">
                    <a:lumMod val="50000"/>
                  </a:schemeClr>
                </a:solidFill>
                <a:latin typeface="Segoe UI"/>
              </a:endParaRPr>
            </a:p>
          </p:txBody>
        </p:sp>
        <p:sp>
          <p:nvSpPr>
            <p:cNvPr id="192" name="Oval 11">
              <a:extLst>
                <a:ext uri="{FF2B5EF4-FFF2-40B4-BE49-F238E27FC236}">
                  <a16:creationId xmlns:a16="http://schemas.microsoft.com/office/drawing/2014/main" id="{DDB3D0DC-9809-46A2-A975-AD6664891204}"/>
                </a:ext>
              </a:extLst>
            </p:cNvPr>
            <p:cNvSpPr>
              <a:spLocks noChangeArrowheads="1"/>
            </p:cNvSpPr>
            <p:nvPr/>
          </p:nvSpPr>
          <p:spPr bwMode="auto">
            <a:xfrm>
              <a:off x="11014477" y="5125983"/>
              <a:ext cx="38380" cy="38380"/>
            </a:xfrm>
            <a:prstGeom prst="ellipse">
              <a:avLst/>
            </a:prstGeom>
            <a:solidFill>
              <a:srgbClr val="F2F2F2"/>
            </a:solidFill>
            <a:ln w="12700">
              <a:solidFill>
                <a:schemeClr val="tx1"/>
              </a:solid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836" dirty="0">
                <a:solidFill>
                  <a:schemeClr val="bg1">
                    <a:lumMod val="50000"/>
                  </a:schemeClr>
                </a:solidFill>
                <a:latin typeface="Segoe UI"/>
              </a:endParaRPr>
            </a:p>
          </p:txBody>
        </p:sp>
        <p:sp>
          <p:nvSpPr>
            <p:cNvPr id="193" name="Oval 12">
              <a:extLst>
                <a:ext uri="{FF2B5EF4-FFF2-40B4-BE49-F238E27FC236}">
                  <a16:creationId xmlns:a16="http://schemas.microsoft.com/office/drawing/2014/main" id="{287936E6-8958-485A-BF47-C0848252858C}"/>
                </a:ext>
              </a:extLst>
            </p:cNvPr>
            <p:cNvSpPr>
              <a:spLocks noChangeArrowheads="1"/>
            </p:cNvSpPr>
            <p:nvPr/>
          </p:nvSpPr>
          <p:spPr bwMode="auto">
            <a:xfrm>
              <a:off x="11070918" y="5125983"/>
              <a:ext cx="38380" cy="38380"/>
            </a:xfrm>
            <a:prstGeom prst="ellipse">
              <a:avLst/>
            </a:prstGeom>
            <a:solidFill>
              <a:srgbClr val="F2F2F2"/>
            </a:solidFill>
            <a:ln w="12700">
              <a:solidFill>
                <a:schemeClr val="tx1"/>
              </a:solid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836" dirty="0">
                <a:solidFill>
                  <a:schemeClr val="bg1">
                    <a:lumMod val="50000"/>
                  </a:schemeClr>
                </a:solidFill>
                <a:latin typeface="Segoe UI"/>
              </a:endParaRPr>
            </a:p>
          </p:txBody>
        </p:sp>
        <p:sp>
          <p:nvSpPr>
            <p:cNvPr id="194" name="Oval 13">
              <a:extLst>
                <a:ext uri="{FF2B5EF4-FFF2-40B4-BE49-F238E27FC236}">
                  <a16:creationId xmlns:a16="http://schemas.microsoft.com/office/drawing/2014/main" id="{FD255C98-160D-474E-B4ED-E06B7679204F}"/>
                </a:ext>
              </a:extLst>
            </p:cNvPr>
            <p:cNvSpPr>
              <a:spLocks noChangeArrowheads="1"/>
            </p:cNvSpPr>
            <p:nvPr/>
          </p:nvSpPr>
          <p:spPr bwMode="auto">
            <a:xfrm>
              <a:off x="11129617" y="5125983"/>
              <a:ext cx="38380" cy="38380"/>
            </a:xfrm>
            <a:prstGeom prst="ellipse">
              <a:avLst/>
            </a:prstGeom>
            <a:solidFill>
              <a:srgbClr val="F2F2F2"/>
            </a:solidFill>
            <a:ln w="12700">
              <a:solidFill>
                <a:schemeClr val="tx1"/>
              </a:solid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836" dirty="0">
                <a:solidFill>
                  <a:schemeClr val="bg1">
                    <a:lumMod val="50000"/>
                  </a:schemeClr>
                </a:solidFill>
                <a:latin typeface="Segoe UI"/>
              </a:endParaRPr>
            </a:p>
          </p:txBody>
        </p:sp>
      </p:grpSp>
      <p:sp>
        <p:nvSpPr>
          <p:cNvPr id="185" name="Shape 101">
            <a:extLst>
              <a:ext uri="{FF2B5EF4-FFF2-40B4-BE49-F238E27FC236}">
                <a16:creationId xmlns:a16="http://schemas.microsoft.com/office/drawing/2014/main" id="{2A5BE516-AC8C-45AA-B45A-A7F55092443C}"/>
              </a:ext>
            </a:extLst>
          </p:cNvPr>
          <p:cNvSpPr txBox="1"/>
          <p:nvPr/>
        </p:nvSpPr>
        <p:spPr>
          <a:xfrm>
            <a:off x="10325408" y="2812011"/>
            <a:ext cx="1564994" cy="262199"/>
          </a:xfrm>
          <a:prstGeom prst="rect">
            <a:avLst/>
          </a:prstGeom>
          <a:noFill/>
          <a:ln>
            <a:noFill/>
          </a:ln>
        </p:spPr>
        <p:txBody>
          <a:bodyPr wrap="square" lIns="93245" tIns="46610" rIns="93245" bIns="46610" anchor="t" anchorCtr="0">
            <a:spAutoFit/>
          </a:bodyPr>
          <a:lstStyle/>
          <a:p>
            <a:pPr defTabSz="951156">
              <a:defRPr/>
            </a:pPr>
            <a:r>
              <a:rPr lang="en-US" sz="1071" kern="0" dirty="0">
                <a:latin typeface="Segoe UI Semibold" panose="020B0702040204020203" pitchFamily="34" charset="0"/>
                <a:cs typeface="Segoe UI Semibold" panose="020B0702040204020203" pitchFamily="34" charset="0"/>
                <a:sym typeface="Calibri"/>
              </a:rPr>
              <a:t>Operational reports</a:t>
            </a:r>
          </a:p>
        </p:txBody>
      </p:sp>
      <p:sp>
        <p:nvSpPr>
          <p:cNvPr id="186" name="Rectangle 6">
            <a:extLst>
              <a:ext uri="{FF2B5EF4-FFF2-40B4-BE49-F238E27FC236}">
                <a16:creationId xmlns:a16="http://schemas.microsoft.com/office/drawing/2014/main" id="{3ABDB56E-8194-49DC-A1BA-9AFA996A04C9}"/>
              </a:ext>
            </a:extLst>
          </p:cNvPr>
          <p:cNvSpPr>
            <a:spLocks noChangeArrowheads="1"/>
          </p:cNvSpPr>
          <p:nvPr/>
        </p:nvSpPr>
        <p:spPr bwMode="auto">
          <a:xfrm>
            <a:off x="10912250" y="2513009"/>
            <a:ext cx="53910" cy="178577"/>
          </a:xfrm>
          <a:prstGeom prst="rect">
            <a:avLst/>
          </a:prstGeom>
          <a:noFill/>
          <a:ln w="12700" cap="flat">
            <a:solidFill>
              <a:schemeClr val="bg1">
                <a:lumMod val="50000"/>
              </a:schemeClr>
            </a:solidFill>
            <a:prstDash val="solid"/>
            <a:miter lim="800000"/>
            <a:headEnd/>
            <a:tailEnd/>
          </a:ln>
          <a:extLst/>
        </p:spPr>
        <p:txBody>
          <a:bodyPr vert="horz" wrap="square" lIns="73863" tIns="36932" rIns="73863" bIns="36932" numCol="1" anchor="t" anchorCtr="0" compatLnSpc="1">
            <a:prstTxWarp prst="textNoShape">
              <a:avLst/>
            </a:prstTxWarp>
          </a:bodyPr>
          <a:lstStyle/>
          <a:p>
            <a:pPr defTabSz="914049">
              <a:defRPr/>
            </a:pPr>
            <a:endParaRPr lang="en-US" sz="962" kern="0" dirty="0">
              <a:solidFill>
                <a:schemeClr val="bg1">
                  <a:lumMod val="50000"/>
                </a:schemeClr>
              </a:solidFill>
              <a:latin typeface="Segoe UI Semilight"/>
            </a:endParaRPr>
          </a:p>
        </p:txBody>
      </p:sp>
      <p:sp>
        <p:nvSpPr>
          <p:cNvPr id="187" name="Rectangle 7">
            <a:extLst>
              <a:ext uri="{FF2B5EF4-FFF2-40B4-BE49-F238E27FC236}">
                <a16:creationId xmlns:a16="http://schemas.microsoft.com/office/drawing/2014/main" id="{A7CE757B-0D23-40C8-803A-4BA3BC3F087D}"/>
              </a:ext>
            </a:extLst>
          </p:cNvPr>
          <p:cNvSpPr>
            <a:spLocks noChangeArrowheads="1"/>
          </p:cNvSpPr>
          <p:nvPr/>
        </p:nvSpPr>
        <p:spPr bwMode="auto">
          <a:xfrm>
            <a:off x="11018386" y="2356332"/>
            <a:ext cx="55595" cy="335253"/>
          </a:xfrm>
          <a:prstGeom prst="rect">
            <a:avLst/>
          </a:prstGeom>
          <a:noFill/>
          <a:ln w="12700" cap="flat">
            <a:solidFill>
              <a:schemeClr val="bg1">
                <a:lumMod val="50000"/>
              </a:schemeClr>
            </a:solidFill>
            <a:prstDash val="solid"/>
            <a:miter lim="800000"/>
            <a:headEnd/>
            <a:tailEnd/>
          </a:ln>
          <a:extLst/>
        </p:spPr>
        <p:txBody>
          <a:bodyPr vert="horz" wrap="square" lIns="73863" tIns="36932" rIns="73863" bIns="36932" numCol="1" anchor="t" anchorCtr="0" compatLnSpc="1">
            <a:prstTxWarp prst="textNoShape">
              <a:avLst/>
            </a:prstTxWarp>
          </a:bodyPr>
          <a:lstStyle/>
          <a:p>
            <a:pPr defTabSz="914049">
              <a:defRPr/>
            </a:pPr>
            <a:endParaRPr lang="en-US" sz="962" kern="0" dirty="0">
              <a:solidFill>
                <a:schemeClr val="bg1">
                  <a:lumMod val="50000"/>
                </a:schemeClr>
              </a:solidFill>
              <a:latin typeface="Segoe UI Semilight"/>
            </a:endParaRPr>
          </a:p>
        </p:txBody>
      </p:sp>
      <p:sp>
        <p:nvSpPr>
          <p:cNvPr id="188" name="Rectangle 8">
            <a:extLst>
              <a:ext uri="{FF2B5EF4-FFF2-40B4-BE49-F238E27FC236}">
                <a16:creationId xmlns:a16="http://schemas.microsoft.com/office/drawing/2014/main" id="{71A65020-EAFF-4CD8-B73D-C8A2FE7EAB54}"/>
              </a:ext>
            </a:extLst>
          </p:cNvPr>
          <p:cNvSpPr>
            <a:spLocks noChangeArrowheads="1"/>
          </p:cNvSpPr>
          <p:nvPr/>
        </p:nvSpPr>
        <p:spPr bwMode="auto">
          <a:xfrm>
            <a:off x="11126206" y="2425405"/>
            <a:ext cx="55595" cy="266181"/>
          </a:xfrm>
          <a:prstGeom prst="rect">
            <a:avLst/>
          </a:prstGeom>
          <a:noFill/>
          <a:ln w="12700" cap="flat">
            <a:solidFill>
              <a:schemeClr val="bg1">
                <a:lumMod val="50000"/>
              </a:schemeClr>
            </a:solidFill>
            <a:prstDash val="solid"/>
            <a:miter lim="800000"/>
            <a:headEnd/>
            <a:tailEnd/>
          </a:ln>
          <a:extLst/>
        </p:spPr>
        <p:txBody>
          <a:bodyPr vert="horz" wrap="square" lIns="73863" tIns="36932" rIns="73863" bIns="36932" numCol="1" anchor="t" anchorCtr="0" compatLnSpc="1">
            <a:prstTxWarp prst="textNoShape">
              <a:avLst/>
            </a:prstTxWarp>
          </a:bodyPr>
          <a:lstStyle/>
          <a:p>
            <a:pPr defTabSz="914049">
              <a:defRPr/>
            </a:pPr>
            <a:endParaRPr lang="en-US" sz="962" kern="0" dirty="0">
              <a:solidFill>
                <a:schemeClr val="bg1">
                  <a:lumMod val="50000"/>
                </a:schemeClr>
              </a:solidFill>
              <a:latin typeface="Segoe UI Semilight"/>
            </a:endParaRPr>
          </a:p>
        </p:txBody>
      </p:sp>
      <p:cxnSp>
        <p:nvCxnSpPr>
          <p:cNvPr id="189" name="Straight Arrow Connector 188">
            <a:extLst>
              <a:ext uri="{FF2B5EF4-FFF2-40B4-BE49-F238E27FC236}">
                <a16:creationId xmlns:a16="http://schemas.microsoft.com/office/drawing/2014/main" id="{AAB0F4ED-9C48-4BFA-91DD-94DFD1D348B6}"/>
              </a:ext>
            </a:extLst>
          </p:cNvPr>
          <p:cNvCxnSpPr>
            <a:cxnSpLocks/>
          </p:cNvCxnSpPr>
          <p:nvPr/>
        </p:nvCxnSpPr>
        <p:spPr>
          <a:xfrm flipV="1">
            <a:off x="9838392" y="2623258"/>
            <a:ext cx="558831" cy="13684"/>
          </a:xfrm>
          <a:prstGeom prst="straightConnector1">
            <a:avLst/>
          </a:prstGeom>
          <a:ln>
            <a:solidFill>
              <a:schemeClr val="bg1">
                <a:lumMod val="50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2" name="Straight Arrow Connector 201">
            <a:extLst>
              <a:ext uri="{FF2B5EF4-FFF2-40B4-BE49-F238E27FC236}">
                <a16:creationId xmlns:a16="http://schemas.microsoft.com/office/drawing/2014/main" id="{7265B1CD-508E-48E1-99BC-0F8F760F8D94}"/>
              </a:ext>
            </a:extLst>
          </p:cNvPr>
          <p:cNvCxnSpPr>
            <a:cxnSpLocks/>
          </p:cNvCxnSpPr>
          <p:nvPr/>
        </p:nvCxnSpPr>
        <p:spPr>
          <a:xfrm>
            <a:off x="7124971" y="2851017"/>
            <a:ext cx="0" cy="290315"/>
          </a:xfrm>
          <a:prstGeom prst="straightConnector1">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pic>
        <p:nvPicPr>
          <p:cNvPr id="205" name="Graphic 9">
            <a:extLst>
              <a:ext uri="{FF2B5EF4-FFF2-40B4-BE49-F238E27FC236}">
                <a16:creationId xmlns:a16="http://schemas.microsoft.com/office/drawing/2014/main" id="{A1BF2568-A767-4100-9A2D-321B16AA1E5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24222" y="3167913"/>
            <a:ext cx="471913" cy="471913"/>
          </a:xfrm>
          <a:prstGeom prst="rect">
            <a:avLst/>
          </a:prstGeom>
        </p:spPr>
      </p:pic>
      <p:grpSp>
        <p:nvGrpSpPr>
          <p:cNvPr id="206" name="Group 205">
            <a:extLst>
              <a:ext uri="{FF2B5EF4-FFF2-40B4-BE49-F238E27FC236}">
                <a16:creationId xmlns:a16="http://schemas.microsoft.com/office/drawing/2014/main" id="{2ECDAFFD-68EA-40AE-BA5D-96494F575D27}"/>
              </a:ext>
            </a:extLst>
          </p:cNvPr>
          <p:cNvGrpSpPr/>
          <p:nvPr/>
        </p:nvGrpSpPr>
        <p:grpSpPr>
          <a:xfrm>
            <a:off x="6081914" y="3148319"/>
            <a:ext cx="558132" cy="555736"/>
            <a:chOff x="2148168" y="645460"/>
            <a:chExt cx="2587625" cy="2576512"/>
          </a:xfrm>
        </p:grpSpPr>
        <p:sp>
          <p:nvSpPr>
            <p:cNvPr id="207" name="Freeform 19">
              <a:extLst>
                <a:ext uri="{FF2B5EF4-FFF2-40B4-BE49-F238E27FC236}">
                  <a16:creationId xmlns:a16="http://schemas.microsoft.com/office/drawing/2014/main" id="{8291B543-D4D7-4109-A823-454F274548D5}"/>
                </a:ext>
              </a:extLst>
            </p:cNvPr>
            <p:cNvSpPr>
              <a:spLocks noEditPoints="1"/>
            </p:cNvSpPr>
            <p:nvPr/>
          </p:nvSpPr>
          <p:spPr bwMode="auto">
            <a:xfrm>
              <a:off x="2364068" y="861360"/>
              <a:ext cx="2154238" cy="2149475"/>
            </a:xfrm>
            <a:custGeom>
              <a:avLst/>
              <a:gdLst>
                <a:gd name="T0" fmla="*/ 14609 w 16392"/>
                <a:gd name="T1" fmla="*/ 16392 h 16392"/>
                <a:gd name="T2" fmla="*/ 1782 w 16392"/>
                <a:gd name="T3" fmla="*/ 16392 h 16392"/>
                <a:gd name="T4" fmla="*/ 0 w 16392"/>
                <a:gd name="T5" fmla="*/ 14610 h 16392"/>
                <a:gd name="T6" fmla="*/ 0 w 16392"/>
                <a:gd name="T7" fmla="*/ 1782 h 16392"/>
                <a:gd name="T8" fmla="*/ 1782 w 16392"/>
                <a:gd name="T9" fmla="*/ 0 h 16392"/>
                <a:gd name="T10" fmla="*/ 14609 w 16392"/>
                <a:gd name="T11" fmla="*/ 0 h 16392"/>
                <a:gd name="T12" fmla="*/ 16392 w 16392"/>
                <a:gd name="T13" fmla="*/ 1782 h 16392"/>
                <a:gd name="T14" fmla="*/ 16392 w 16392"/>
                <a:gd name="T15" fmla="*/ 14610 h 16392"/>
                <a:gd name="T16" fmla="*/ 14609 w 16392"/>
                <a:gd name="T17" fmla="*/ 16392 h 16392"/>
                <a:gd name="T18" fmla="*/ 1782 w 16392"/>
                <a:gd name="T19" fmla="*/ 1175 h 16392"/>
                <a:gd name="T20" fmla="*/ 1194 w 16392"/>
                <a:gd name="T21" fmla="*/ 1763 h 16392"/>
                <a:gd name="T22" fmla="*/ 1194 w 16392"/>
                <a:gd name="T23" fmla="*/ 14590 h 16392"/>
                <a:gd name="T24" fmla="*/ 1782 w 16392"/>
                <a:gd name="T25" fmla="*/ 15178 h 16392"/>
                <a:gd name="T26" fmla="*/ 14609 w 16392"/>
                <a:gd name="T27" fmla="*/ 15178 h 16392"/>
                <a:gd name="T28" fmla="*/ 15197 w 16392"/>
                <a:gd name="T29" fmla="*/ 14590 h 16392"/>
                <a:gd name="T30" fmla="*/ 15197 w 16392"/>
                <a:gd name="T31" fmla="*/ 1763 h 16392"/>
                <a:gd name="T32" fmla="*/ 14609 w 16392"/>
                <a:gd name="T33" fmla="*/ 1175 h 16392"/>
                <a:gd name="T34" fmla="*/ 1782 w 16392"/>
                <a:gd name="T35" fmla="*/ 1175 h 16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2" h="16392">
                  <a:moveTo>
                    <a:pt x="14609" y="16392"/>
                  </a:moveTo>
                  <a:lnTo>
                    <a:pt x="1782" y="16392"/>
                  </a:lnTo>
                  <a:cubicBezTo>
                    <a:pt x="803" y="16392"/>
                    <a:pt x="0" y="15589"/>
                    <a:pt x="0" y="14610"/>
                  </a:cubicBezTo>
                  <a:lnTo>
                    <a:pt x="0" y="1782"/>
                  </a:lnTo>
                  <a:cubicBezTo>
                    <a:pt x="0" y="803"/>
                    <a:pt x="803" y="0"/>
                    <a:pt x="1782" y="0"/>
                  </a:cubicBezTo>
                  <a:lnTo>
                    <a:pt x="14609" y="0"/>
                  </a:lnTo>
                  <a:cubicBezTo>
                    <a:pt x="15589" y="0"/>
                    <a:pt x="16392" y="803"/>
                    <a:pt x="16392" y="1782"/>
                  </a:cubicBezTo>
                  <a:lnTo>
                    <a:pt x="16392" y="14610"/>
                  </a:lnTo>
                  <a:cubicBezTo>
                    <a:pt x="16392" y="15589"/>
                    <a:pt x="15589" y="16392"/>
                    <a:pt x="14609" y="16392"/>
                  </a:cubicBezTo>
                  <a:close/>
                  <a:moveTo>
                    <a:pt x="1782" y="1175"/>
                  </a:moveTo>
                  <a:cubicBezTo>
                    <a:pt x="1449" y="1175"/>
                    <a:pt x="1194" y="1449"/>
                    <a:pt x="1194" y="1763"/>
                  </a:cubicBezTo>
                  <a:lnTo>
                    <a:pt x="1194" y="14590"/>
                  </a:lnTo>
                  <a:cubicBezTo>
                    <a:pt x="1194" y="14923"/>
                    <a:pt x="1469" y="15178"/>
                    <a:pt x="1782" y="15178"/>
                  </a:cubicBezTo>
                  <a:lnTo>
                    <a:pt x="14609" y="15178"/>
                  </a:lnTo>
                  <a:cubicBezTo>
                    <a:pt x="14942" y="15178"/>
                    <a:pt x="15197" y="14904"/>
                    <a:pt x="15197" y="14590"/>
                  </a:cubicBezTo>
                  <a:lnTo>
                    <a:pt x="15197" y="1763"/>
                  </a:lnTo>
                  <a:cubicBezTo>
                    <a:pt x="15197" y="1430"/>
                    <a:pt x="14923" y="1175"/>
                    <a:pt x="14609" y="1175"/>
                  </a:cubicBezTo>
                  <a:lnTo>
                    <a:pt x="1782" y="1175"/>
                  </a:lnTo>
                  <a:close/>
                </a:path>
              </a:pathLst>
            </a:custGeom>
            <a:solidFill>
              <a:srgbClr val="A0A1A2"/>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000" kern="0" dirty="0"/>
            </a:p>
          </p:txBody>
        </p:sp>
        <p:sp>
          <p:nvSpPr>
            <p:cNvPr id="208" name="Freeform 20">
              <a:extLst>
                <a:ext uri="{FF2B5EF4-FFF2-40B4-BE49-F238E27FC236}">
                  <a16:creationId xmlns:a16="http://schemas.microsoft.com/office/drawing/2014/main" id="{F94A72B4-3EAB-4175-944C-42A776CCD5A7}"/>
                </a:ext>
              </a:extLst>
            </p:cNvPr>
            <p:cNvSpPr>
              <a:spLocks/>
            </p:cNvSpPr>
            <p:nvPr/>
          </p:nvSpPr>
          <p:spPr bwMode="auto">
            <a:xfrm>
              <a:off x="2860955" y="645460"/>
              <a:ext cx="758825" cy="220662"/>
            </a:xfrm>
            <a:custGeom>
              <a:avLst/>
              <a:gdLst>
                <a:gd name="T0" fmla="*/ 2683 w 5778"/>
                <a:gd name="T1" fmla="*/ 235 h 1684"/>
                <a:gd name="T2" fmla="*/ 1293 w 5778"/>
                <a:gd name="T3" fmla="*/ 176 h 1684"/>
                <a:gd name="T4" fmla="*/ 275 w 5778"/>
                <a:gd name="T5" fmla="*/ 1116 h 1684"/>
                <a:gd name="T6" fmla="*/ 0 w 5778"/>
                <a:gd name="T7" fmla="*/ 1684 h 1684"/>
                <a:gd name="T8" fmla="*/ 5778 w 5778"/>
                <a:gd name="T9" fmla="*/ 1684 h 1684"/>
                <a:gd name="T10" fmla="*/ 2683 w 5778"/>
                <a:gd name="T11" fmla="*/ 235 h 1684"/>
              </a:gdLst>
              <a:ahLst/>
              <a:cxnLst>
                <a:cxn ang="0">
                  <a:pos x="T0" y="T1"/>
                </a:cxn>
                <a:cxn ang="0">
                  <a:pos x="T2" y="T3"/>
                </a:cxn>
                <a:cxn ang="0">
                  <a:pos x="T4" y="T5"/>
                </a:cxn>
                <a:cxn ang="0">
                  <a:pos x="T6" y="T7"/>
                </a:cxn>
                <a:cxn ang="0">
                  <a:pos x="T8" y="T9"/>
                </a:cxn>
                <a:cxn ang="0">
                  <a:pos x="T10" y="T11"/>
                </a:cxn>
              </a:cxnLst>
              <a:rect l="0" t="0" r="r" b="b"/>
              <a:pathLst>
                <a:path w="5778" h="1684">
                  <a:moveTo>
                    <a:pt x="2683" y="235"/>
                  </a:moveTo>
                  <a:cubicBezTo>
                    <a:pt x="2253" y="39"/>
                    <a:pt x="1743" y="0"/>
                    <a:pt x="1293" y="176"/>
                  </a:cubicBezTo>
                  <a:cubicBezTo>
                    <a:pt x="843" y="333"/>
                    <a:pt x="471" y="666"/>
                    <a:pt x="275" y="1116"/>
                  </a:cubicBezTo>
                  <a:lnTo>
                    <a:pt x="0" y="1684"/>
                  </a:lnTo>
                  <a:lnTo>
                    <a:pt x="5778" y="1684"/>
                  </a:lnTo>
                  <a:lnTo>
                    <a:pt x="2683" y="235"/>
                  </a:ln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000" kern="0" dirty="0"/>
            </a:p>
          </p:txBody>
        </p:sp>
        <p:sp>
          <p:nvSpPr>
            <p:cNvPr id="209" name="Freeform 21">
              <a:extLst>
                <a:ext uri="{FF2B5EF4-FFF2-40B4-BE49-F238E27FC236}">
                  <a16:creationId xmlns:a16="http://schemas.microsoft.com/office/drawing/2014/main" id="{607654B8-8192-48E0-BF1E-B1E56C0AC5C9}"/>
                </a:ext>
              </a:extLst>
            </p:cNvPr>
            <p:cNvSpPr>
              <a:spLocks/>
            </p:cNvSpPr>
            <p:nvPr/>
          </p:nvSpPr>
          <p:spPr bwMode="auto">
            <a:xfrm>
              <a:off x="4515130" y="1356660"/>
              <a:ext cx="220663" cy="760412"/>
            </a:xfrm>
            <a:custGeom>
              <a:avLst/>
              <a:gdLst>
                <a:gd name="T0" fmla="*/ 1508 w 1684"/>
                <a:gd name="T1" fmla="*/ 1292 h 5797"/>
                <a:gd name="T2" fmla="*/ 568 w 1684"/>
                <a:gd name="T3" fmla="*/ 274 h 5797"/>
                <a:gd name="T4" fmla="*/ 0 w 1684"/>
                <a:gd name="T5" fmla="*/ 0 h 5797"/>
                <a:gd name="T6" fmla="*/ 0 w 1684"/>
                <a:gd name="T7" fmla="*/ 5797 h 5797"/>
                <a:gd name="T8" fmla="*/ 1449 w 1684"/>
                <a:gd name="T9" fmla="*/ 2702 h 5797"/>
                <a:gd name="T10" fmla="*/ 1508 w 1684"/>
                <a:gd name="T11" fmla="*/ 1292 h 5797"/>
              </a:gdLst>
              <a:ahLst/>
              <a:cxnLst>
                <a:cxn ang="0">
                  <a:pos x="T0" y="T1"/>
                </a:cxn>
                <a:cxn ang="0">
                  <a:pos x="T2" y="T3"/>
                </a:cxn>
                <a:cxn ang="0">
                  <a:pos x="T4" y="T5"/>
                </a:cxn>
                <a:cxn ang="0">
                  <a:pos x="T6" y="T7"/>
                </a:cxn>
                <a:cxn ang="0">
                  <a:pos x="T8" y="T9"/>
                </a:cxn>
                <a:cxn ang="0">
                  <a:pos x="T10" y="T11"/>
                </a:cxn>
              </a:cxnLst>
              <a:rect l="0" t="0" r="r" b="b"/>
              <a:pathLst>
                <a:path w="1684" h="5797">
                  <a:moveTo>
                    <a:pt x="1508" y="1292"/>
                  </a:moveTo>
                  <a:cubicBezTo>
                    <a:pt x="1351" y="842"/>
                    <a:pt x="1018" y="470"/>
                    <a:pt x="568" y="274"/>
                  </a:cubicBezTo>
                  <a:lnTo>
                    <a:pt x="0" y="0"/>
                  </a:lnTo>
                  <a:lnTo>
                    <a:pt x="0" y="5797"/>
                  </a:lnTo>
                  <a:lnTo>
                    <a:pt x="1449" y="2702"/>
                  </a:lnTo>
                  <a:cubicBezTo>
                    <a:pt x="1665" y="2252"/>
                    <a:pt x="1684" y="1762"/>
                    <a:pt x="1508" y="1292"/>
                  </a:cubicBez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000" kern="0" dirty="0"/>
            </a:p>
          </p:txBody>
        </p:sp>
        <p:sp>
          <p:nvSpPr>
            <p:cNvPr id="210" name="Freeform 22">
              <a:extLst>
                <a:ext uri="{FF2B5EF4-FFF2-40B4-BE49-F238E27FC236}">
                  <a16:creationId xmlns:a16="http://schemas.microsoft.com/office/drawing/2014/main" id="{8A2BA6B6-26E8-479A-82BC-DD3F9CD62E86}"/>
                </a:ext>
              </a:extLst>
            </p:cNvPr>
            <p:cNvSpPr>
              <a:spLocks/>
            </p:cNvSpPr>
            <p:nvPr/>
          </p:nvSpPr>
          <p:spPr bwMode="auto">
            <a:xfrm>
              <a:off x="2148168" y="1934510"/>
              <a:ext cx="222250" cy="758825"/>
            </a:xfrm>
            <a:custGeom>
              <a:avLst/>
              <a:gdLst>
                <a:gd name="T0" fmla="*/ 235 w 1684"/>
                <a:gd name="T1" fmla="*/ 3095 h 5778"/>
                <a:gd name="T2" fmla="*/ 176 w 1684"/>
                <a:gd name="T3" fmla="*/ 4485 h 5778"/>
                <a:gd name="T4" fmla="*/ 1116 w 1684"/>
                <a:gd name="T5" fmla="*/ 5503 h 5778"/>
                <a:gd name="T6" fmla="*/ 1684 w 1684"/>
                <a:gd name="T7" fmla="*/ 5778 h 5778"/>
                <a:gd name="T8" fmla="*/ 1684 w 1684"/>
                <a:gd name="T9" fmla="*/ 0 h 5778"/>
                <a:gd name="T10" fmla="*/ 235 w 1684"/>
                <a:gd name="T11" fmla="*/ 3095 h 5778"/>
              </a:gdLst>
              <a:ahLst/>
              <a:cxnLst>
                <a:cxn ang="0">
                  <a:pos x="T0" y="T1"/>
                </a:cxn>
                <a:cxn ang="0">
                  <a:pos x="T2" y="T3"/>
                </a:cxn>
                <a:cxn ang="0">
                  <a:pos x="T4" y="T5"/>
                </a:cxn>
                <a:cxn ang="0">
                  <a:pos x="T6" y="T7"/>
                </a:cxn>
                <a:cxn ang="0">
                  <a:pos x="T8" y="T9"/>
                </a:cxn>
                <a:cxn ang="0">
                  <a:pos x="T10" y="T11"/>
                </a:cxn>
              </a:cxnLst>
              <a:rect l="0" t="0" r="r" b="b"/>
              <a:pathLst>
                <a:path w="1684" h="5778">
                  <a:moveTo>
                    <a:pt x="235" y="3095"/>
                  </a:moveTo>
                  <a:cubicBezTo>
                    <a:pt x="39" y="3525"/>
                    <a:pt x="0" y="4035"/>
                    <a:pt x="176" y="4485"/>
                  </a:cubicBezTo>
                  <a:cubicBezTo>
                    <a:pt x="333" y="4935"/>
                    <a:pt x="666" y="5308"/>
                    <a:pt x="1116" y="5503"/>
                  </a:cubicBezTo>
                  <a:lnTo>
                    <a:pt x="1684" y="5778"/>
                  </a:lnTo>
                  <a:lnTo>
                    <a:pt x="1684" y="0"/>
                  </a:lnTo>
                  <a:lnTo>
                    <a:pt x="235" y="3095"/>
                  </a:ln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000" kern="0" dirty="0"/>
            </a:p>
          </p:txBody>
        </p:sp>
        <p:sp>
          <p:nvSpPr>
            <p:cNvPr id="211" name="Freeform 23">
              <a:extLst>
                <a:ext uri="{FF2B5EF4-FFF2-40B4-BE49-F238E27FC236}">
                  <a16:creationId xmlns:a16="http://schemas.microsoft.com/office/drawing/2014/main" id="{21915B8A-E3E5-418E-9503-B1BD0ECA5DB1}"/>
                </a:ext>
              </a:extLst>
            </p:cNvPr>
            <p:cNvSpPr>
              <a:spLocks/>
            </p:cNvSpPr>
            <p:nvPr/>
          </p:nvSpPr>
          <p:spPr bwMode="auto">
            <a:xfrm>
              <a:off x="3440393" y="3009247"/>
              <a:ext cx="758825" cy="212725"/>
            </a:xfrm>
            <a:custGeom>
              <a:avLst/>
              <a:gdLst>
                <a:gd name="T0" fmla="*/ 3094 w 5777"/>
                <a:gd name="T1" fmla="*/ 1450 h 1626"/>
                <a:gd name="T2" fmla="*/ 3858 w 5777"/>
                <a:gd name="T3" fmla="*/ 1626 h 1626"/>
                <a:gd name="T4" fmla="*/ 4485 w 5777"/>
                <a:gd name="T5" fmla="*/ 1508 h 1626"/>
                <a:gd name="T6" fmla="*/ 5503 w 5777"/>
                <a:gd name="T7" fmla="*/ 568 h 1626"/>
                <a:gd name="T8" fmla="*/ 5777 w 5777"/>
                <a:gd name="T9" fmla="*/ 0 h 1626"/>
                <a:gd name="T10" fmla="*/ 0 w 5777"/>
                <a:gd name="T11" fmla="*/ 0 h 1626"/>
                <a:gd name="T12" fmla="*/ 3094 w 5777"/>
                <a:gd name="T13" fmla="*/ 1450 h 1626"/>
              </a:gdLst>
              <a:ahLst/>
              <a:cxnLst>
                <a:cxn ang="0">
                  <a:pos x="T0" y="T1"/>
                </a:cxn>
                <a:cxn ang="0">
                  <a:pos x="T2" y="T3"/>
                </a:cxn>
                <a:cxn ang="0">
                  <a:pos x="T4" y="T5"/>
                </a:cxn>
                <a:cxn ang="0">
                  <a:pos x="T6" y="T7"/>
                </a:cxn>
                <a:cxn ang="0">
                  <a:pos x="T8" y="T9"/>
                </a:cxn>
                <a:cxn ang="0">
                  <a:pos x="T10" y="T11"/>
                </a:cxn>
                <a:cxn ang="0">
                  <a:pos x="T12" y="T13"/>
                </a:cxn>
              </a:cxnLst>
              <a:rect l="0" t="0" r="r" b="b"/>
              <a:pathLst>
                <a:path w="5777" h="1626">
                  <a:moveTo>
                    <a:pt x="3094" y="1450"/>
                  </a:moveTo>
                  <a:cubicBezTo>
                    <a:pt x="3329" y="1567"/>
                    <a:pt x="3603" y="1626"/>
                    <a:pt x="3858" y="1626"/>
                  </a:cubicBezTo>
                  <a:cubicBezTo>
                    <a:pt x="4073" y="1626"/>
                    <a:pt x="4269" y="1587"/>
                    <a:pt x="4485" y="1508"/>
                  </a:cubicBezTo>
                  <a:cubicBezTo>
                    <a:pt x="4935" y="1352"/>
                    <a:pt x="5307" y="1019"/>
                    <a:pt x="5503" y="568"/>
                  </a:cubicBezTo>
                  <a:lnTo>
                    <a:pt x="5777" y="0"/>
                  </a:lnTo>
                  <a:lnTo>
                    <a:pt x="0" y="0"/>
                  </a:lnTo>
                  <a:lnTo>
                    <a:pt x="3094" y="1450"/>
                  </a:ln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000" kern="0" dirty="0"/>
            </a:p>
          </p:txBody>
        </p:sp>
        <p:sp>
          <p:nvSpPr>
            <p:cNvPr id="212" name="Freeform 24">
              <a:extLst>
                <a:ext uri="{FF2B5EF4-FFF2-40B4-BE49-F238E27FC236}">
                  <a16:creationId xmlns:a16="http://schemas.microsoft.com/office/drawing/2014/main" id="{B9E5FD49-BF11-4321-8B72-6A2786F4E5C1}"/>
                </a:ext>
              </a:extLst>
            </p:cNvPr>
            <p:cNvSpPr>
              <a:spLocks/>
            </p:cNvSpPr>
            <p:nvPr/>
          </p:nvSpPr>
          <p:spPr bwMode="auto">
            <a:xfrm>
              <a:off x="2521230" y="1015347"/>
              <a:ext cx="1839913" cy="1836737"/>
            </a:xfrm>
            <a:custGeom>
              <a:avLst/>
              <a:gdLst>
                <a:gd name="T0" fmla="*/ 588 w 14003"/>
                <a:gd name="T1" fmla="*/ 0 h 14003"/>
                <a:gd name="T2" fmla="*/ 0 w 14003"/>
                <a:gd name="T3" fmla="*/ 588 h 14003"/>
                <a:gd name="T4" fmla="*/ 0 w 14003"/>
                <a:gd name="T5" fmla="*/ 13415 h 14003"/>
                <a:gd name="T6" fmla="*/ 588 w 14003"/>
                <a:gd name="T7" fmla="*/ 14003 h 14003"/>
                <a:gd name="T8" fmla="*/ 13415 w 14003"/>
                <a:gd name="T9" fmla="*/ 14003 h 14003"/>
                <a:gd name="T10" fmla="*/ 14003 w 14003"/>
                <a:gd name="T11" fmla="*/ 13415 h 14003"/>
                <a:gd name="T12" fmla="*/ 14003 w 14003"/>
                <a:gd name="T13" fmla="*/ 588 h 14003"/>
                <a:gd name="T14" fmla="*/ 13415 w 14003"/>
                <a:gd name="T15" fmla="*/ 0 h 14003"/>
                <a:gd name="T16" fmla="*/ 588 w 14003"/>
                <a:gd name="T17" fmla="*/ 0 h 14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03" h="14003">
                  <a:moveTo>
                    <a:pt x="588" y="0"/>
                  </a:moveTo>
                  <a:cubicBezTo>
                    <a:pt x="255" y="0"/>
                    <a:pt x="0" y="274"/>
                    <a:pt x="0" y="588"/>
                  </a:cubicBezTo>
                  <a:lnTo>
                    <a:pt x="0" y="13415"/>
                  </a:lnTo>
                  <a:cubicBezTo>
                    <a:pt x="0" y="13748"/>
                    <a:pt x="275" y="14003"/>
                    <a:pt x="588" y="14003"/>
                  </a:cubicBezTo>
                  <a:lnTo>
                    <a:pt x="13415" y="14003"/>
                  </a:lnTo>
                  <a:cubicBezTo>
                    <a:pt x="13748" y="14003"/>
                    <a:pt x="14003" y="13729"/>
                    <a:pt x="14003" y="13415"/>
                  </a:cubicBezTo>
                  <a:lnTo>
                    <a:pt x="14003" y="588"/>
                  </a:lnTo>
                  <a:cubicBezTo>
                    <a:pt x="14003" y="255"/>
                    <a:pt x="13729" y="0"/>
                    <a:pt x="13415" y="0"/>
                  </a:cubicBezTo>
                  <a:lnTo>
                    <a:pt x="588" y="0"/>
                  </a:lnTo>
                  <a:close/>
                </a:path>
              </a:pathLst>
            </a:custGeom>
            <a:solidFill>
              <a:srgbClr val="FFFFFF"/>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000" kern="0" dirty="0"/>
            </a:p>
          </p:txBody>
        </p:sp>
        <p:sp>
          <p:nvSpPr>
            <p:cNvPr id="213" name="Freeform 25">
              <a:extLst>
                <a:ext uri="{FF2B5EF4-FFF2-40B4-BE49-F238E27FC236}">
                  <a16:creationId xmlns:a16="http://schemas.microsoft.com/office/drawing/2014/main" id="{6361F44C-629F-4BD4-8AA7-F171D52ADAD8}"/>
                </a:ext>
              </a:extLst>
            </p:cNvPr>
            <p:cNvSpPr>
              <a:spLocks/>
            </p:cNvSpPr>
            <p:nvPr/>
          </p:nvSpPr>
          <p:spPr bwMode="auto">
            <a:xfrm>
              <a:off x="3046693" y="1288397"/>
              <a:ext cx="792163" cy="1311275"/>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rgbClr val="59B4D9"/>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000" kern="0" dirty="0"/>
            </a:p>
          </p:txBody>
        </p:sp>
      </p:grpSp>
    </p:spTree>
    <p:extLst>
      <p:ext uri="{BB962C8B-B14F-4D97-AF65-F5344CB8AC3E}">
        <p14:creationId xmlns:p14="http://schemas.microsoft.com/office/powerpoint/2010/main" val="14560755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3912644" y="3081238"/>
            <a:ext cx="3115278" cy="1752344"/>
          </a:xfrm>
          <a:prstGeom prst="rect">
            <a:avLst/>
          </a:prstGeom>
          <a:ln w="12700">
            <a:solidFill>
              <a:schemeClr val="tx1"/>
            </a:solidFill>
          </a:ln>
          <a:effectLst/>
        </p:spPr>
      </p:pic>
      <p:cxnSp>
        <p:nvCxnSpPr>
          <p:cNvPr id="19" name="Straight Connector 18"/>
          <p:cNvCxnSpPr>
            <a:cxnSpLocks/>
          </p:cNvCxnSpPr>
          <p:nvPr/>
        </p:nvCxnSpPr>
        <p:spPr>
          <a:xfrm>
            <a:off x="7047541" y="3901236"/>
            <a:ext cx="459640" cy="0"/>
          </a:xfrm>
          <a:prstGeom prst="line">
            <a:avLst/>
          </a:prstGeom>
          <a:ln w="19050">
            <a:solidFill>
              <a:schemeClr val="tx1"/>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194320" y="194292"/>
            <a:ext cx="12047836" cy="1513687"/>
          </a:xfrm>
        </p:spPr>
        <p:txBody>
          <a:bodyPr>
            <a:normAutofit/>
          </a:bodyPr>
          <a:lstStyle/>
          <a:p>
            <a:pPr algn="ctr"/>
            <a:r>
              <a:rPr lang="en-US" sz="4000" dirty="0"/>
              <a:t>Start in seconds, Scale instantly, Pay per job</a:t>
            </a:r>
            <a:endParaRPr lang="en-US" sz="2800" dirty="0"/>
          </a:p>
        </p:txBody>
      </p:sp>
      <p:sp>
        <p:nvSpPr>
          <p:cNvPr id="3" name="Content Placeholder 2"/>
          <p:cNvSpPr>
            <a:spLocks noGrp="1"/>
          </p:cNvSpPr>
          <p:nvPr>
            <p:ph idx="1"/>
          </p:nvPr>
        </p:nvSpPr>
        <p:spPr>
          <a:xfrm>
            <a:off x="194321" y="1942799"/>
            <a:ext cx="3657586" cy="4468849"/>
          </a:xfrm>
        </p:spPr>
        <p:txBody>
          <a:bodyPr>
            <a:noAutofit/>
          </a:bodyPr>
          <a:lstStyle/>
          <a:p>
            <a:pPr marL="0" indent="0">
              <a:buNone/>
            </a:pPr>
            <a:r>
              <a:rPr lang="en-US" sz="2400" dirty="0">
                <a:latin typeface="Segoe UI Light" panose="020B0502040204020203" pitchFamily="34" charset="0"/>
                <a:cs typeface="Segoe UI Light" panose="020B0502040204020203" pitchFamily="34" charset="0"/>
              </a:rPr>
              <a:t>Get started with Azure Data Lake in 60 seconds.</a:t>
            </a:r>
          </a:p>
          <a:p>
            <a:pPr marL="0" indent="0">
              <a:buNone/>
            </a:pPr>
            <a:endParaRPr lang="en-US" sz="2400" dirty="0">
              <a:latin typeface="Segoe UI Light" panose="020B0502040204020203" pitchFamily="34" charset="0"/>
              <a:cs typeface="Segoe UI Light" panose="020B0502040204020203" pitchFamily="34" charset="0"/>
            </a:endParaRPr>
          </a:p>
          <a:p>
            <a:pPr marL="0" indent="0">
              <a:buNone/>
            </a:pPr>
            <a:r>
              <a:rPr lang="en-US" sz="2400" dirty="0">
                <a:latin typeface="Segoe UI Light" panose="020B0502040204020203" pitchFamily="34" charset="0"/>
                <a:cs typeface="Segoe UI Light" panose="020B0502040204020203" pitchFamily="34" charset="0"/>
              </a:rPr>
              <a:t>Instantly scale the processing power from one to thousands of nodes for each job individually. </a:t>
            </a:r>
          </a:p>
          <a:p>
            <a:pPr marL="0" indent="0">
              <a:buNone/>
            </a:pPr>
            <a:endParaRPr lang="en-US" sz="2400" dirty="0">
              <a:latin typeface="Segoe UI Light" panose="020B0502040204020203" pitchFamily="34" charset="0"/>
              <a:cs typeface="Segoe UI Light" panose="020B0502040204020203" pitchFamily="34" charset="0"/>
            </a:endParaRPr>
          </a:p>
          <a:p>
            <a:pPr marL="0" indent="0">
              <a:buNone/>
            </a:pPr>
            <a:r>
              <a:rPr lang="en-US" sz="2400" dirty="0">
                <a:latin typeface="Segoe UI Light" panose="020B0502040204020203" pitchFamily="34" charset="0"/>
                <a:cs typeface="Segoe UI Light" panose="020B0502040204020203" pitchFamily="34" charset="0"/>
              </a:rPr>
              <a:t>You only pay for the processing used per job. </a:t>
            </a:r>
          </a:p>
        </p:txBody>
      </p:sp>
      <p:pic>
        <p:nvPicPr>
          <p:cNvPr id="4" name="Picture 3"/>
          <p:cNvPicPr>
            <a:picLocks noChangeAspect="1"/>
          </p:cNvPicPr>
          <p:nvPr/>
        </p:nvPicPr>
        <p:blipFill>
          <a:blip r:embed="rId4"/>
          <a:stretch>
            <a:fillRect/>
          </a:stretch>
        </p:blipFill>
        <p:spPr>
          <a:xfrm>
            <a:off x="7546420" y="2811056"/>
            <a:ext cx="4795276" cy="3200960"/>
          </a:xfrm>
          <a:prstGeom prst="rect">
            <a:avLst/>
          </a:prstGeom>
          <a:ln w="12700">
            <a:solidFill>
              <a:schemeClr val="tx1"/>
            </a:solidFill>
          </a:ln>
          <a:effectLst/>
        </p:spPr>
      </p:pic>
      <p:sp>
        <p:nvSpPr>
          <p:cNvPr id="11" name="Rectangle 10"/>
          <p:cNvSpPr/>
          <p:nvPr/>
        </p:nvSpPr>
        <p:spPr>
          <a:xfrm>
            <a:off x="3834508" y="2217116"/>
            <a:ext cx="2783836" cy="6802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dirty="0">
                <a:solidFill>
                  <a:prstClr val="black"/>
                </a:solidFill>
                <a:latin typeface="Segoe UI Light" panose="020B0502040204020203" pitchFamily="34" charset="0"/>
                <a:cs typeface="Segoe UI Light" panose="020B0502040204020203" pitchFamily="34" charset="0"/>
              </a:rPr>
              <a:t>Create</a:t>
            </a:r>
            <a:r>
              <a:rPr kumimoji="0" lang="en-US"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 a Data Lake Analytics Account</a:t>
            </a:r>
          </a:p>
        </p:txBody>
      </p:sp>
      <p:sp>
        <p:nvSpPr>
          <p:cNvPr id="12" name="Rectangle 11"/>
          <p:cNvSpPr/>
          <p:nvPr/>
        </p:nvSpPr>
        <p:spPr>
          <a:xfrm>
            <a:off x="4779983" y="5079658"/>
            <a:ext cx="2085987" cy="8229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792508" rtl="0" eaLnBrk="1" fontAlgn="base" latinLnBrk="0" hangingPunct="1">
              <a:lnSpc>
                <a:spcPct val="90000"/>
              </a:lnSpc>
              <a:spcBef>
                <a:spcPct val="0"/>
              </a:spcBef>
              <a:spcAft>
                <a:spcPct val="0"/>
              </a:spcAft>
              <a:buClrTx/>
              <a:buSzTx/>
              <a:buFontTx/>
              <a:buNone/>
              <a:tabLst/>
              <a:defRPr/>
            </a:pPr>
            <a:r>
              <a:rPr lang="en-GB" kern="0" dirty="0">
                <a:solidFill>
                  <a:prstClr val="black"/>
                </a:solidFill>
                <a:latin typeface="Segoe UI Light" panose="020B0502040204020203" pitchFamily="34" charset="0"/>
                <a:ea typeface="Segoe UI" pitchFamily="34" charset="0"/>
                <a:cs typeface="Segoe UI Light" panose="020B0502040204020203" pitchFamily="34" charset="0"/>
              </a:rPr>
              <a:t>Define how to transform the data using U-SQL</a:t>
            </a:r>
            <a:endParaRPr kumimoji="0" lang="en-GB" b="0" i="0" u="none" strike="noStrike" kern="0" cap="none" spc="0" normalizeH="0" baseline="0" noProof="0" dirty="0">
              <a:ln>
                <a:noFill/>
              </a:ln>
              <a:solidFill>
                <a:prstClr val="black"/>
              </a:soli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13" name="Rectangle 12"/>
          <p:cNvSpPr/>
          <p:nvPr/>
        </p:nvSpPr>
        <p:spPr>
          <a:xfrm>
            <a:off x="9284350" y="6152817"/>
            <a:ext cx="2996015" cy="8229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792508" rtl="0" eaLnBrk="1" fontAlgn="base" latinLnBrk="0" hangingPunct="1">
              <a:lnSpc>
                <a:spcPct val="90000"/>
              </a:lnSpc>
              <a:spcBef>
                <a:spcPct val="0"/>
              </a:spcBef>
              <a:spcAft>
                <a:spcPct val="0"/>
              </a:spcAft>
              <a:buClrTx/>
              <a:buSzTx/>
              <a:buFontTx/>
              <a:buNone/>
              <a:tabLst/>
              <a:defRPr/>
            </a:pPr>
            <a:r>
              <a:rPr kumimoji="0" lang="en-US" b="0" i="0" u="none" strike="noStrike" kern="0" cap="none" spc="0" normalizeH="0" baseline="0" noProof="0" dirty="0">
                <a:ln>
                  <a:noFill/>
                </a:ln>
                <a:solidFill>
                  <a:prstClr val="black"/>
                </a:solidFill>
                <a:effectLst/>
                <a:uLnTx/>
                <a:uFillTx/>
                <a:latin typeface="Segoe UI Light" panose="020B0502040204020203" pitchFamily="34" charset="0"/>
                <a:ea typeface="Segoe UI" pitchFamily="34" charset="0"/>
                <a:cs typeface="Segoe UI Light" panose="020B0502040204020203" pitchFamily="34" charset="0"/>
              </a:rPr>
              <a:t>Choose the amount of processing power to reserve for parallel execution</a:t>
            </a:r>
          </a:p>
        </p:txBody>
      </p:sp>
      <p:cxnSp>
        <p:nvCxnSpPr>
          <p:cNvPr id="15" name="Straight Arrow Connector 14"/>
          <p:cNvCxnSpPr/>
          <p:nvPr/>
        </p:nvCxnSpPr>
        <p:spPr>
          <a:xfrm flipH="1" flipV="1">
            <a:off x="10698748" y="4137335"/>
            <a:ext cx="10290" cy="2011656"/>
          </a:xfrm>
          <a:prstGeom prst="straightConnector1">
            <a:avLst/>
          </a:prstGeom>
          <a:ln w="57150">
            <a:solidFill>
              <a:srgbClr val="F0346A"/>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6675432" y="5368095"/>
            <a:ext cx="700768" cy="1"/>
          </a:xfrm>
          <a:prstGeom prst="straightConnector1">
            <a:avLst/>
          </a:prstGeom>
          <a:ln w="57150">
            <a:solidFill>
              <a:srgbClr val="F0346A"/>
            </a:solidFill>
            <a:tailEnd type="triangle"/>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7321857" y="1759921"/>
            <a:ext cx="2645379" cy="440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792508" rtl="0" eaLnBrk="1" fontAlgn="base" latinLnBrk="0" hangingPunct="1">
              <a:lnSpc>
                <a:spcPct val="90000"/>
              </a:lnSpc>
              <a:spcBef>
                <a:spcPct val="0"/>
              </a:spcBef>
              <a:spcAft>
                <a:spcPct val="0"/>
              </a:spcAft>
              <a:buClrTx/>
              <a:buSzTx/>
              <a:buFontTx/>
              <a:buNone/>
              <a:tabLst/>
              <a:defRPr/>
            </a:pPr>
            <a:r>
              <a:rPr kumimoji="0" lang="en-GB" b="0" i="0" u="none" strike="noStrike" kern="0" cap="none" spc="0" normalizeH="0" baseline="0" noProof="0" dirty="0">
                <a:ln>
                  <a:noFill/>
                </a:ln>
                <a:solidFill>
                  <a:prstClr val="black"/>
                </a:solidFill>
                <a:effectLst/>
                <a:uLnTx/>
                <a:uFillTx/>
                <a:latin typeface="Segoe UI Light" panose="020B0502040204020203" pitchFamily="34" charset="0"/>
                <a:ea typeface="Segoe UI" pitchFamily="34" charset="0"/>
                <a:cs typeface="Segoe UI Light" panose="020B0502040204020203" pitchFamily="34" charset="0"/>
              </a:rPr>
              <a:t>Submit the U-SQL Job</a:t>
            </a:r>
          </a:p>
        </p:txBody>
      </p:sp>
      <p:sp>
        <p:nvSpPr>
          <p:cNvPr id="30" name="Oval 29"/>
          <p:cNvSpPr/>
          <p:nvPr/>
        </p:nvSpPr>
        <p:spPr>
          <a:xfrm>
            <a:off x="5623883" y="2863235"/>
            <a:ext cx="373416" cy="373416"/>
          </a:xfrm>
          <a:prstGeom prst="ellipse">
            <a:avLst/>
          </a:prstGeom>
          <a:solidFill>
            <a:srgbClr val="F034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1</a:t>
            </a:r>
          </a:p>
        </p:txBody>
      </p:sp>
      <p:sp>
        <p:nvSpPr>
          <p:cNvPr id="31" name="Oval 30"/>
          <p:cNvSpPr/>
          <p:nvPr/>
        </p:nvSpPr>
        <p:spPr>
          <a:xfrm>
            <a:off x="7406944" y="5143164"/>
            <a:ext cx="373416" cy="373416"/>
          </a:xfrm>
          <a:prstGeom prst="ellipse">
            <a:avLst/>
          </a:prstGeom>
          <a:solidFill>
            <a:srgbClr val="F034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2</a:t>
            </a:r>
          </a:p>
        </p:txBody>
      </p:sp>
      <p:sp>
        <p:nvSpPr>
          <p:cNvPr id="32" name="Oval 31"/>
          <p:cNvSpPr/>
          <p:nvPr/>
        </p:nvSpPr>
        <p:spPr>
          <a:xfrm>
            <a:off x="10522330" y="3680140"/>
            <a:ext cx="373416" cy="373416"/>
          </a:xfrm>
          <a:prstGeom prst="ellipse">
            <a:avLst/>
          </a:prstGeom>
          <a:solidFill>
            <a:srgbClr val="F034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3</a:t>
            </a:r>
          </a:p>
        </p:txBody>
      </p:sp>
      <p:sp>
        <p:nvSpPr>
          <p:cNvPr id="33" name="Oval 32"/>
          <p:cNvSpPr/>
          <p:nvPr/>
        </p:nvSpPr>
        <p:spPr>
          <a:xfrm>
            <a:off x="7277360" y="2993950"/>
            <a:ext cx="373416" cy="373416"/>
          </a:xfrm>
          <a:prstGeom prst="ellipse">
            <a:avLst/>
          </a:prstGeom>
          <a:solidFill>
            <a:srgbClr val="F034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4</a:t>
            </a:r>
          </a:p>
        </p:txBody>
      </p:sp>
      <p:cxnSp>
        <p:nvCxnSpPr>
          <p:cNvPr id="20" name="Straight Arrow Connector 19"/>
          <p:cNvCxnSpPr/>
          <p:nvPr/>
        </p:nvCxnSpPr>
        <p:spPr>
          <a:xfrm>
            <a:off x="7406944" y="2118121"/>
            <a:ext cx="0" cy="822122"/>
          </a:xfrm>
          <a:prstGeom prst="straightConnector1">
            <a:avLst/>
          </a:prstGeom>
          <a:ln w="57150">
            <a:solidFill>
              <a:srgbClr val="F0346A"/>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7976966"/>
      </p:ext>
    </p:extLst>
  </p:cSld>
  <p:clrMapOvr>
    <a:masterClrMapping/>
  </p:clrMapOvr>
  <mc:AlternateContent xmlns:mc="http://schemas.openxmlformats.org/markup-compatibility/2006" xmlns:p14="http://schemas.microsoft.com/office/powerpoint/2010/main">
    <mc:Choice Requires="p14">
      <p:transition p14:dur="0" advTm="5000"/>
    </mc:Choice>
    <mc:Fallback xmlns="">
      <p:transition advTm="500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Scaling per Query</a:t>
            </a:r>
          </a:p>
        </p:txBody>
      </p:sp>
      <p:pic>
        <p:nvPicPr>
          <p:cNvPr id="10" name="Picture 9"/>
          <p:cNvPicPr>
            <a:picLocks noChangeAspect="1"/>
          </p:cNvPicPr>
          <p:nvPr/>
        </p:nvPicPr>
        <p:blipFill>
          <a:blip r:embed="rId3"/>
          <a:stretch>
            <a:fillRect/>
          </a:stretch>
        </p:blipFill>
        <p:spPr>
          <a:xfrm>
            <a:off x="8869968" y="3588701"/>
            <a:ext cx="3088341" cy="914553"/>
          </a:xfrm>
          <a:prstGeom prst="rect">
            <a:avLst/>
          </a:prstGeom>
          <a:ln w="12700">
            <a:solidFill>
              <a:schemeClr val="tx1"/>
            </a:solidFill>
          </a:ln>
          <a:effectLst/>
        </p:spPr>
      </p:pic>
      <p:pic>
        <p:nvPicPr>
          <p:cNvPr id="14" name="Picture 13"/>
          <p:cNvPicPr>
            <a:picLocks noChangeAspect="1"/>
          </p:cNvPicPr>
          <p:nvPr/>
        </p:nvPicPr>
        <p:blipFill>
          <a:blip r:embed="rId4"/>
          <a:stretch>
            <a:fillRect/>
          </a:stretch>
        </p:blipFill>
        <p:spPr>
          <a:xfrm>
            <a:off x="8869968" y="5692747"/>
            <a:ext cx="3088341" cy="914553"/>
          </a:xfrm>
          <a:prstGeom prst="rect">
            <a:avLst/>
          </a:prstGeom>
          <a:ln w="12700">
            <a:solidFill>
              <a:schemeClr val="tx1"/>
            </a:solidFill>
          </a:ln>
          <a:effectLst/>
        </p:spPr>
      </p:pic>
      <p:pic>
        <p:nvPicPr>
          <p:cNvPr id="16" name="Picture 15"/>
          <p:cNvPicPr>
            <a:picLocks noChangeAspect="1"/>
          </p:cNvPicPr>
          <p:nvPr/>
        </p:nvPicPr>
        <p:blipFill>
          <a:blip r:embed="rId5"/>
          <a:stretch>
            <a:fillRect/>
          </a:stretch>
        </p:blipFill>
        <p:spPr>
          <a:xfrm>
            <a:off x="8869968" y="4640724"/>
            <a:ext cx="3088341" cy="914553"/>
          </a:xfrm>
          <a:prstGeom prst="rect">
            <a:avLst/>
          </a:prstGeom>
          <a:ln w="12700">
            <a:solidFill>
              <a:schemeClr val="tx1"/>
            </a:solidFill>
          </a:ln>
          <a:effectLst/>
        </p:spPr>
      </p:pic>
      <p:sp>
        <p:nvSpPr>
          <p:cNvPr id="26" name="Rectangle 25"/>
          <p:cNvSpPr/>
          <p:nvPr/>
        </p:nvSpPr>
        <p:spPr>
          <a:xfrm>
            <a:off x="274702" y="1750812"/>
            <a:ext cx="5029145" cy="51296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777149">
              <a:defRPr/>
            </a:pPr>
            <a:r>
              <a:rPr lang="en-US" sz="2400" kern="0" dirty="0">
                <a:solidFill>
                  <a:prstClr val="black"/>
                </a:solidFill>
                <a:latin typeface="Segoe UI Light" panose="020B0502040204020203" pitchFamily="34" charset="0"/>
                <a:cs typeface="Segoe UI Light" panose="020B0502040204020203" pitchFamily="34" charset="0"/>
              </a:rPr>
              <a:t>Analytics Units (AUs) are the unit of computation in Data Lake.</a:t>
            </a:r>
          </a:p>
          <a:p>
            <a:pPr marL="0" marR="0" lvl="0" indent="0" defTabSz="777149"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0" marR="0" lvl="0" indent="0" defTabSz="777149"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The </a:t>
            </a:r>
            <a:r>
              <a:rPr kumimoji="0" lang="en-US" sz="2400" b="0" i="0" u="none" strike="noStrike" kern="0" cap="none" spc="0" normalizeH="0" baseline="0" noProof="0" dirty="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2400" b="0" i="0" u="none" strike="noStrike" kern="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 approach</a:t>
            </a:r>
            <a:r>
              <a:rPr kumimoji="0" lang="en-US" sz="2400" b="0" i="0" u="none" strike="noStrike" kern="0" cap="none" spc="0" normalizeH="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 of Azure Data Lake allows compute resources to be adjusted for each query.</a:t>
            </a:r>
          </a:p>
          <a:p>
            <a:pPr marL="0" marR="0" lvl="0" indent="0" defTabSz="777149" rtl="0" eaLnBrk="1" fontAlgn="auto" latinLnBrk="0" hangingPunct="1">
              <a:lnSpc>
                <a:spcPct val="100000"/>
              </a:lnSpc>
              <a:spcBef>
                <a:spcPts val="0"/>
              </a:spcBef>
              <a:spcAft>
                <a:spcPts val="0"/>
              </a:spcAft>
              <a:buClrTx/>
              <a:buSzTx/>
              <a:buFontTx/>
              <a:buNone/>
              <a:tabLst/>
              <a:defRPr/>
            </a:pPr>
            <a:endParaRPr lang="en-US" sz="2400" kern="0" dirty="0">
              <a:solidFill>
                <a:prstClr val="black"/>
              </a:solidFill>
              <a:latin typeface="Segoe UI Light" panose="020B0502040204020203" pitchFamily="34" charset="0"/>
              <a:cs typeface="Segoe UI Light" panose="020B0502040204020203" pitchFamily="34" charset="0"/>
            </a:endParaRPr>
          </a:p>
          <a:p>
            <a:pPr marL="0" marR="0" lvl="0" indent="0" defTabSz="777149" rtl="0" eaLnBrk="1" fontAlgn="auto" latinLnBrk="0" hangingPunct="1">
              <a:lnSpc>
                <a:spcPct val="100000"/>
              </a:lnSpc>
              <a:spcBef>
                <a:spcPts val="0"/>
              </a:spcBef>
              <a:spcAft>
                <a:spcPts val="0"/>
              </a:spcAft>
              <a:buClrTx/>
              <a:buSzTx/>
              <a:buFontTx/>
              <a:buNone/>
              <a:tabLst/>
              <a:defRPr/>
            </a:pPr>
            <a:endParaRPr lang="en-US" sz="2400" kern="0" noProof="0" dirty="0">
              <a:solidFill>
                <a:prstClr val="black"/>
              </a:solidFill>
              <a:latin typeface="Segoe UI Light" panose="020B0502040204020203" pitchFamily="34" charset="0"/>
              <a:cs typeface="Segoe UI Light" panose="020B0502040204020203" pitchFamily="34" charset="0"/>
            </a:endParaRPr>
          </a:p>
          <a:p>
            <a:pPr marL="0" marR="0" lvl="0" indent="0" defTabSz="777149"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0" marR="0" lvl="0" indent="0" defTabSz="777149" rtl="0" eaLnBrk="1" fontAlgn="auto" latinLnBrk="0" hangingPunct="1">
              <a:lnSpc>
                <a:spcPct val="100000"/>
              </a:lnSpc>
              <a:spcBef>
                <a:spcPts val="0"/>
              </a:spcBef>
              <a:spcAft>
                <a:spcPts val="0"/>
              </a:spcAft>
              <a:buClrTx/>
              <a:buSzTx/>
              <a:buFontTx/>
              <a:buNone/>
              <a:tabLst/>
              <a:defRPr/>
            </a:pPr>
            <a:endParaRPr lang="en-US" sz="2400" kern="0" noProof="0" dirty="0">
              <a:solidFill>
                <a:prstClr val="black"/>
              </a:solidFill>
              <a:latin typeface="Segoe UI Light" panose="020B0502040204020203" pitchFamily="34" charset="0"/>
              <a:cs typeface="Segoe UI Light" panose="020B0502040204020203" pitchFamily="34" charset="0"/>
            </a:endParaRPr>
          </a:p>
        </p:txBody>
      </p:sp>
      <p:pic>
        <p:nvPicPr>
          <p:cNvPr id="18" name="Picture 17"/>
          <p:cNvPicPr>
            <a:picLocks noChangeAspect="1"/>
          </p:cNvPicPr>
          <p:nvPr/>
        </p:nvPicPr>
        <p:blipFill>
          <a:blip r:embed="rId6"/>
          <a:stretch>
            <a:fillRect/>
          </a:stretch>
        </p:blipFill>
        <p:spPr>
          <a:xfrm>
            <a:off x="6023918" y="227015"/>
            <a:ext cx="6218238" cy="2092032"/>
          </a:xfrm>
          <a:prstGeom prst="rect">
            <a:avLst/>
          </a:prstGeom>
          <a:ln w="12700">
            <a:solidFill>
              <a:schemeClr val="tx1"/>
            </a:solidFill>
          </a:ln>
          <a:effectLst/>
        </p:spPr>
      </p:pic>
      <p:cxnSp>
        <p:nvCxnSpPr>
          <p:cNvPr id="28" name="Straight Arrow Connector 27"/>
          <p:cNvCxnSpPr/>
          <p:nvPr/>
        </p:nvCxnSpPr>
        <p:spPr>
          <a:xfrm flipH="1" flipV="1">
            <a:off x="9688928" y="1485604"/>
            <a:ext cx="10290" cy="2011656"/>
          </a:xfrm>
          <a:prstGeom prst="straightConnector1">
            <a:avLst/>
          </a:prstGeom>
          <a:ln w="57150">
            <a:solidFill>
              <a:srgbClr val="F0346A"/>
            </a:solidFill>
            <a:tailEnd type="triangle"/>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a:xfrm>
            <a:off x="9052846" y="849009"/>
            <a:ext cx="2011658" cy="636595"/>
          </a:xfrm>
          <a:prstGeom prst="rect">
            <a:avLst/>
          </a:prstGeom>
          <a:ln w="57150">
            <a:solidFill>
              <a:srgbClr val="F0346A"/>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4" name="Rectangle 33"/>
          <p:cNvSpPr/>
          <p:nvPr/>
        </p:nvSpPr>
        <p:spPr>
          <a:xfrm>
            <a:off x="8693388" y="3463945"/>
            <a:ext cx="3468383" cy="3325121"/>
          </a:xfrm>
          <a:prstGeom prst="rect">
            <a:avLst/>
          </a:prstGeom>
          <a:ln w="57150">
            <a:solidFill>
              <a:srgbClr val="F0346A"/>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713787824"/>
      </p:ext>
    </p:extLst>
  </p:cSld>
  <p:clrMapOvr>
    <a:masterClrMapping/>
  </p:clrMapOvr>
  <mc:AlternateContent xmlns:mc="http://schemas.openxmlformats.org/markup-compatibility/2006" xmlns:p14="http://schemas.microsoft.com/office/powerpoint/2010/main">
    <mc:Choice Requires="p14">
      <p:transition p14:dur="0" advTm="5000"/>
    </mc:Choice>
    <mc:Fallback xmlns="">
      <p:transition advTm="500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882" y="1737071"/>
            <a:ext cx="5249348" cy="5249348"/>
          </a:xfrm>
          <a:prstGeom prst="rect">
            <a:avLst/>
          </a:prstGeom>
        </p:spPr>
      </p:pic>
      <p:sp>
        <p:nvSpPr>
          <p:cNvPr id="20" name="Freeform: Shape 19"/>
          <p:cNvSpPr/>
          <p:nvPr/>
        </p:nvSpPr>
        <p:spPr>
          <a:xfrm>
            <a:off x="882" y="1737071"/>
            <a:ext cx="5249348" cy="5257454"/>
          </a:xfrm>
          <a:custGeom>
            <a:avLst/>
            <a:gdLst>
              <a:gd name="connsiteX0" fmla="*/ 1697336 w 5146887"/>
              <a:gd name="connsiteY0" fmla="*/ 2605805 h 5154835"/>
              <a:gd name="connsiteX1" fmla="*/ 1697336 w 5146887"/>
              <a:gd name="connsiteY1" fmla="*/ 3825005 h 5154835"/>
              <a:gd name="connsiteX2" fmla="*/ 5055048 w 5146887"/>
              <a:gd name="connsiteY2" fmla="*/ 3825005 h 5154835"/>
              <a:gd name="connsiteX3" fmla="*/ 5055048 w 5146887"/>
              <a:gd name="connsiteY3" fmla="*/ 2605805 h 5154835"/>
              <a:gd name="connsiteX4" fmla="*/ 0 w 5146887"/>
              <a:gd name="connsiteY4" fmla="*/ 0 h 5154835"/>
              <a:gd name="connsiteX5" fmla="*/ 5146887 w 5146887"/>
              <a:gd name="connsiteY5" fmla="*/ 0 h 5154835"/>
              <a:gd name="connsiteX6" fmla="*/ 5146887 w 5146887"/>
              <a:gd name="connsiteY6" fmla="*/ 5154835 h 5154835"/>
              <a:gd name="connsiteX7" fmla="*/ 0 w 5146887"/>
              <a:gd name="connsiteY7" fmla="*/ 5154835 h 5154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46887" h="5154835">
                <a:moveTo>
                  <a:pt x="1697336" y="2605805"/>
                </a:moveTo>
                <a:lnTo>
                  <a:pt x="1697336" y="3825005"/>
                </a:lnTo>
                <a:lnTo>
                  <a:pt x="5055048" y="3825005"/>
                </a:lnTo>
                <a:lnTo>
                  <a:pt x="5055048" y="2605805"/>
                </a:lnTo>
                <a:close/>
                <a:moveTo>
                  <a:pt x="0" y="0"/>
                </a:moveTo>
                <a:lnTo>
                  <a:pt x="5146887" y="0"/>
                </a:lnTo>
                <a:lnTo>
                  <a:pt x="5146887" y="5154835"/>
                </a:lnTo>
                <a:lnTo>
                  <a:pt x="0" y="5154835"/>
                </a:lnTo>
                <a:close/>
              </a:path>
            </a:pathLst>
          </a:custGeom>
          <a:solidFill>
            <a:schemeClr val="tx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 name="Title 1"/>
          <p:cNvSpPr>
            <a:spLocks noGrp="1"/>
          </p:cNvSpPr>
          <p:nvPr>
            <p:ph type="title"/>
          </p:nvPr>
        </p:nvSpPr>
        <p:spPr>
          <a:xfrm>
            <a:off x="195175" y="311319"/>
            <a:ext cx="12046127" cy="880668"/>
          </a:xfrm>
        </p:spPr>
        <p:txBody>
          <a:bodyPr/>
          <a:lstStyle/>
          <a:p>
            <a:r>
              <a:rPr lang="en-US" dirty="0"/>
              <a:t>Analytics Account Properties</a:t>
            </a:r>
          </a:p>
        </p:txBody>
      </p:sp>
      <p:cxnSp>
        <p:nvCxnSpPr>
          <p:cNvPr id="9" name="Straight Connector 8"/>
          <p:cNvCxnSpPr>
            <a:stCxn id="20" idx="0"/>
          </p:cNvCxnSpPr>
          <p:nvPr/>
        </p:nvCxnSpPr>
        <p:spPr>
          <a:xfrm flipV="1">
            <a:off x="1732007" y="3903242"/>
            <a:ext cx="4311363" cy="491509"/>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5156563" y="5638222"/>
            <a:ext cx="6519624" cy="418071"/>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1732007" y="4394750"/>
            <a:ext cx="3424555" cy="1243471"/>
          </a:xfrm>
          <a:prstGeom prst="rect">
            <a:avLst/>
          </a:prstGeom>
          <a:ln w="31750" cap="sq">
            <a:solidFill>
              <a:schemeClr val="accent4"/>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defTabSz="914224">
              <a:defRPr/>
            </a:pPr>
            <a:endParaRPr lang="en-US" kern="0">
              <a:solidFill>
                <a:sysClr val="windowText" lastClr="000000"/>
              </a:solidFill>
            </a:endParaRPr>
          </a:p>
        </p:txBody>
      </p:sp>
      <p:cxnSp>
        <p:nvCxnSpPr>
          <p:cNvPr id="19" name="Straight Connector 18"/>
          <p:cNvCxnSpPr/>
          <p:nvPr/>
        </p:nvCxnSpPr>
        <p:spPr>
          <a:xfrm flipV="1">
            <a:off x="5156563" y="3938548"/>
            <a:ext cx="6519624" cy="456204"/>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a:stCxn id="20" idx="1"/>
          </p:cNvCxnSpPr>
          <p:nvPr/>
        </p:nvCxnSpPr>
        <p:spPr>
          <a:xfrm>
            <a:off x="1732007" y="5638222"/>
            <a:ext cx="4311363" cy="443483"/>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195174" y="1040111"/>
            <a:ext cx="7717529" cy="4482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spAutoFit/>
          </a:bodyPr>
          <a:lstStyle/>
          <a:p>
            <a:pPr defTabSz="777000">
              <a:defRPr/>
            </a:pPr>
            <a:r>
              <a:rPr lang="en-US" sz="2856" kern="0" dirty="0">
                <a:solidFill>
                  <a:schemeClr val="accent1"/>
                </a:solidFill>
                <a:latin typeface="+mj-lt"/>
              </a:rPr>
              <a:t>Azure Data Lake Analytics Unit</a:t>
            </a:r>
          </a:p>
        </p:txBody>
      </p:sp>
      <p:sp>
        <p:nvSpPr>
          <p:cNvPr id="27" name="Rectangle 26"/>
          <p:cNvSpPr/>
          <p:nvPr/>
        </p:nvSpPr>
        <p:spPr>
          <a:xfrm>
            <a:off x="6043371" y="1791495"/>
            <a:ext cx="5719525" cy="6573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defTabSz="777000">
              <a:defRPr/>
            </a:pPr>
            <a:r>
              <a:rPr lang="en-US" sz="1836" kern="0" dirty="0">
                <a:solidFill>
                  <a:schemeClr val="tx1"/>
                </a:solidFill>
              </a:rPr>
              <a:t>Parallelism of </a:t>
            </a:r>
            <a:r>
              <a:rPr lang="en-US" sz="1836" kern="0" dirty="0">
                <a:solidFill>
                  <a:schemeClr val="accent4"/>
                </a:solidFill>
              </a:rPr>
              <a:t>N</a:t>
            </a:r>
            <a:r>
              <a:rPr lang="en-US" sz="1836" kern="0" dirty="0">
                <a:solidFill>
                  <a:schemeClr val="tx1"/>
                </a:solidFill>
              </a:rPr>
              <a:t> = </a:t>
            </a:r>
            <a:r>
              <a:rPr lang="en-US" sz="1836" kern="0" dirty="0">
                <a:solidFill>
                  <a:schemeClr val="accent4"/>
                </a:solidFill>
              </a:rPr>
              <a:t>N</a:t>
            </a:r>
            <a:r>
              <a:rPr lang="en-US" sz="1836" kern="0" dirty="0">
                <a:solidFill>
                  <a:schemeClr val="tx1"/>
                </a:solidFill>
              </a:rPr>
              <a:t> ADLAUs</a:t>
            </a:r>
          </a:p>
          <a:p>
            <a:pPr defTabSz="777000">
              <a:defRPr/>
            </a:pPr>
            <a:r>
              <a:rPr lang="en-US" sz="1836" kern="0" dirty="0">
                <a:solidFill>
                  <a:schemeClr val="tx1"/>
                </a:solidFill>
              </a:rPr>
              <a:t>1 ADLAU ≈ a Container, 2 cores and 6 GB of memory</a:t>
            </a:r>
          </a:p>
        </p:txBody>
      </p:sp>
      <p:pic>
        <p:nvPicPr>
          <p:cNvPr id="16" name="Picture 15"/>
          <p:cNvPicPr>
            <a:picLocks noChangeAspect="1"/>
          </p:cNvPicPr>
          <p:nvPr/>
        </p:nvPicPr>
        <p:blipFill rotWithShape="1">
          <a:blip r:embed="rId3"/>
          <a:srcRect l="32625" t="50422" r="708" b="23229"/>
          <a:stretch/>
        </p:blipFill>
        <p:spPr>
          <a:xfrm>
            <a:off x="6043370" y="3869829"/>
            <a:ext cx="5680851" cy="2245288"/>
          </a:xfrm>
          <a:prstGeom prst="rect">
            <a:avLst/>
          </a:prstGeom>
          <a:ln w="31750">
            <a:solidFill>
              <a:schemeClr val="accent4"/>
            </a:solidFill>
          </a:ln>
        </p:spPr>
      </p:pic>
      <p:sp>
        <p:nvSpPr>
          <p:cNvPr id="32" name="Rectangular Callout 31"/>
          <p:cNvSpPr/>
          <p:nvPr/>
        </p:nvSpPr>
        <p:spPr>
          <a:xfrm flipH="1">
            <a:off x="9280594" y="2989723"/>
            <a:ext cx="2443627" cy="502900"/>
          </a:xfrm>
          <a:prstGeom prst="borderCallout2">
            <a:avLst>
              <a:gd name="adj1" fmla="val 79937"/>
              <a:gd name="adj2" fmla="val -4395"/>
              <a:gd name="adj3" fmla="val 79190"/>
              <a:gd name="adj4" fmla="val -13335"/>
              <a:gd name="adj5" fmla="val 323669"/>
              <a:gd name="adj6" fmla="val 16638"/>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lIns="93260" tIns="74608" bIns="74608" rtlCol="0" anchor="ctr">
            <a:spAutoFit/>
          </a:bodyPr>
          <a:lstStyle/>
          <a:p>
            <a:pPr defTabSz="777000">
              <a:defRPr/>
            </a:pPr>
            <a:r>
              <a:rPr lang="en-US" sz="1122" b="1" kern="0" dirty="0">
                <a:solidFill>
                  <a:schemeClr val="tx2"/>
                </a:solidFill>
                <a:latin typeface="Segoe UI Semibold" charset="0"/>
                <a:ea typeface="Segoe UI Semibold" charset="0"/>
                <a:cs typeface="Segoe UI Semibold" charset="0"/>
              </a:rPr>
              <a:t>This is the number of ADLAUs for the account.</a:t>
            </a:r>
          </a:p>
        </p:txBody>
      </p:sp>
      <p:sp>
        <p:nvSpPr>
          <p:cNvPr id="31" name="Rectangular Callout 30"/>
          <p:cNvSpPr/>
          <p:nvPr/>
        </p:nvSpPr>
        <p:spPr>
          <a:xfrm flipH="1">
            <a:off x="9678490" y="6414191"/>
            <a:ext cx="1348058" cy="326788"/>
          </a:xfrm>
          <a:prstGeom prst="borderCallout2">
            <a:avLst>
              <a:gd name="adj1" fmla="val 18750"/>
              <a:gd name="adj2" fmla="val -8333"/>
              <a:gd name="adj3" fmla="val 18750"/>
              <a:gd name="adj4" fmla="val -16667"/>
              <a:gd name="adj5" fmla="val -157631"/>
              <a:gd name="adj6" fmla="val -4664"/>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lIns="93260" tIns="74608" bIns="74608" rtlCol="0" anchor="ctr">
            <a:spAutoFit/>
          </a:bodyPr>
          <a:lstStyle/>
          <a:p>
            <a:pPr defTabSz="777000">
              <a:defRPr/>
            </a:pPr>
            <a:r>
              <a:rPr lang="en-US" sz="1122" b="1" kern="0" dirty="0">
                <a:solidFill>
                  <a:schemeClr val="tx2"/>
                </a:solidFill>
                <a:latin typeface="Segoe UI Semibold" charset="0"/>
                <a:ea typeface="Segoe UI Semibold" charset="0"/>
                <a:cs typeface="Segoe UI Semibold" charset="0"/>
              </a:rPr>
              <a:t>IGNORE THIS</a:t>
            </a:r>
          </a:p>
        </p:txBody>
      </p:sp>
    </p:spTree>
    <p:extLst>
      <p:ext uri="{BB962C8B-B14F-4D97-AF65-F5344CB8AC3E}">
        <p14:creationId xmlns:p14="http://schemas.microsoft.com/office/powerpoint/2010/main" val="2781536284"/>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cepts: jobs, stages and vertices</a:t>
            </a:r>
          </a:p>
        </p:txBody>
      </p:sp>
      <p:sp>
        <p:nvSpPr>
          <p:cNvPr id="4" name="TextBox 3"/>
          <p:cNvSpPr txBox="1"/>
          <p:nvPr/>
        </p:nvSpPr>
        <p:spPr>
          <a:xfrm>
            <a:off x="444516" y="1664327"/>
            <a:ext cx="4210957" cy="1373590"/>
          </a:xfrm>
          <a:prstGeom prst="rect">
            <a:avLst/>
          </a:prstGeom>
          <a:noFill/>
        </p:spPr>
        <p:txBody>
          <a:bodyPr wrap="square" lIns="0" tIns="0" rIns="0" bIns="0" rtlCol="0">
            <a:spAutoFit/>
          </a:bodyPr>
          <a:lstStyle/>
          <a:p>
            <a:pPr marL="403154" indent="-288198" defTabSz="932597">
              <a:spcBef>
                <a:spcPts val="612"/>
              </a:spcBef>
              <a:spcAft>
                <a:spcPts val="612"/>
              </a:spcAft>
              <a:buClr>
                <a:srgbClr val="50B347"/>
              </a:buClr>
              <a:buSzPct val="100000"/>
              <a:buBlip>
                <a:blip r:embed="rId3"/>
              </a:buBlip>
              <a:defRPr/>
            </a:pPr>
            <a:r>
              <a:rPr lang="en-US" sz="1938" kern="0" dirty="0">
                <a:solidFill>
                  <a:srgbClr val="505050"/>
                </a:solidFill>
                <a:latin typeface="Segoe UI"/>
              </a:rPr>
              <a:t>Each job is broken into ‘n’ number of </a:t>
            </a:r>
            <a:r>
              <a:rPr lang="en-US" sz="1938" kern="0" dirty="0">
                <a:solidFill>
                  <a:srgbClr val="50B347"/>
                </a:solidFill>
                <a:latin typeface="Segoe UI Black" panose="020B0A02040204020203" pitchFamily="34" charset="0"/>
                <a:ea typeface="Segoe UI Black" panose="020B0A02040204020203" pitchFamily="34" charset="0"/>
                <a:cs typeface="Segoe UI Black" panose="020B0A02040204020203" pitchFamily="34" charset="0"/>
              </a:rPr>
              <a:t>vertexes</a:t>
            </a:r>
          </a:p>
          <a:p>
            <a:pPr marL="403154" indent="-288198" defTabSz="932597">
              <a:spcBef>
                <a:spcPts val="612"/>
              </a:spcBef>
              <a:spcAft>
                <a:spcPts val="612"/>
              </a:spcAft>
              <a:buClr>
                <a:srgbClr val="50B347"/>
              </a:buClr>
              <a:buSzPct val="100000"/>
              <a:buBlip>
                <a:blip r:embed="rId3"/>
              </a:buBlip>
              <a:defRPr/>
            </a:pPr>
            <a:r>
              <a:rPr lang="en-US" sz="1938" kern="0" dirty="0">
                <a:solidFill>
                  <a:srgbClr val="505050"/>
                </a:solidFill>
                <a:latin typeface="Segoe UI"/>
              </a:rPr>
              <a:t>Each vertex is some work that needs to be done</a:t>
            </a:r>
          </a:p>
        </p:txBody>
      </p:sp>
      <p:grpSp>
        <p:nvGrpSpPr>
          <p:cNvPr id="92" name="Group 91"/>
          <p:cNvGrpSpPr/>
          <p:nvPr/>
        </p:nvGrpSpPr>
        <p:grpSpPr>
          <a:xfrm>
            <a:off x="5793886" y="1695914"/>
            <a:ext cx="5663916" cy="1768309"/>
            <a:chOff x="5648037" y="1259207"/>
            <a:chExt cx="5719128" cy="1785547"/>
          </a:xfrm>
        </p:grpSpPr>
        <p:pic>
          <p:nvPicPr>
            <p:cNvPr id="48" name="Picture 47"/>
            <p:cNvPicPr>
              <a:picLocks noChangeAspect="1"/>
            </p:cNvPicPr>
            <p:nvPr/>
          </p:nvPicPr>
          <p:blipFill>
            <a:blip r:embed="rId4"/>
            <a:stretch>
              <a:fillRect/>
            </a:stretch>
          </p:blipFill>
          <p:spPr>
            <a:xfrm>
              <a:off x="5648037" y="1259207"/>
              <a:ext cx="2430328" cy="1785547"/>
            </a:xfrm>
            <a:prstGeom prst="rect">
              <a:avLst/>
            </a:prstGeom>
            <a:ln>
              <a:solidFill>
                <a:schemeClr val="accent1">
                  <a:lumMod val="50000"/>
                </a:schemeClr>
              </a:solidFill>
            </a:ln>
          </p:spPr>
        </p:pic>
        <p:grpSp>
          <p:nvGrpSpPr>
            <p:cNvPr id="49" name="Group 48"/>
            <p:cNvGrpSpPr/>
            <p:nvPr/>
          </p:nvGrpSpPr>
          <p:grpSpPr>
            <a:xfrm>
              <a:off x="8703176" y="1259207"/>
              <a:ext cx="2663989" cy="1785547"/>
              <a:chOff x="3403798" y="4385865"/>
              <a:chExt cx="2393987" cy="1604577"/>
            </a:xfrm>
          </p:grpSpPr>
          <p:sp>
            <p:nvSpPr>
              <p:cNvPr id="50" name="Rectangle 49"/>
              <p:cNvSpPr/>
              <p:nvPr/>
            </p:nvSpPr>
            <p:spPr bwMode="auto">
              <a:xfrm>
                <a:off x="3403798" y="4385865"/>
                <a:ext cx="2393987" cy="160457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040" b="1" kern="0" dirty="0">
                  <a:solidFill>
                    <a:srgbClr val="FFFFFF"/>
                  </a:solidFill>
                  <a:latin typeface="Segoe UI Light"/>
                  <a:ea typeface="Segoe UI" pitchFamily="34" charset="0"/>
                  <a:cs typeface="Segoe UI" pitchFamily="34" charset="0"/>
                </a:endParaRPr>
              </a:p>
            </p:txBody>
          </p:sp>
          <p:grpSp>
            <p:nvGrpSpPr>
              <p:cNvPr id="51" name="Group 50"/>
              <p:cNvGrpSpPr/>
              <p:nvPr/>
            </p:nvGrpSpPr>
            <p:grpSpPr>
              <a:xfrm>
                <a:off x="3511670" y="4483811"/>
                <a:ext cx="2178243" cy="1408685"/>
                <a:chOff x="3494434" y="4487588"/>
                <a:chExt cx="2178243" cy="1408685"/>
              </a:xfrm>
            </p:grpSpPr>
            <p:sp>
              <p:nvSpPr>
                <p:cNvPr id="52" name="Rounded Rectangle 51"/>
                <p:cNvSpPr/>
                <p:nvPr/>
              </p:nvSpPr>
              <p:spPr bwMode="auto">
                <a:xfrm>
                  <a:off x="3494434" y="4487588"/>
                  <a:ext cx="472273" cy="39188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040" b="1" kern="0" dirty="0">
                    <a:solidFill>
                      <a:srgbClr val="FFFFFF"/>
                    </a:solidFill>
                    <a:latin typeface="Segoe UI Light"/>
                    <a:ea typeface="Segoe UI" pitchFamily="34" charset="0"/>
                    <a:cs typeface="Segoe UI" pitchFamily="34" charset="0"/>
                  </a:endParaRPr>
                </a:p>
              </p:txBody>
            </p:sp>
            <p:sp>
              <p:nvSpPr>
                <p:cNvPr id="53" name="Rounded Rectangle 52"/>
                <p:cNvSpPr/>
                <p:nvPr/>
              </p:nvSpPr>
              <p:spPr bwMode="auto">
                <a:xfrm>
                  <a:off x="3920926" y="5010789"/>
                  <a:ext cx="472273" cy="39188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040" kern="0" dirty="0">
                    <a:solidFill>
                      <a:srgbClr val="FFFFFF"/>
                    </a:solidFill>
                    <a:latin typeface="Segoe UI Light"/>
                    <a:ea typeface="Segoe UI" pitchFamily="34" charset="0"/>
                    <a:cs typeface="Segoe UI" pitchFamily="34" charset="0"/>
                  </a:endParaRPr>
                </a:p>
              </p:txBody>
            </p:sp>
            <p:sp>
              <p:nvSpPr>
                <p:cNvPr id="54" name="Rounded Rectangle 53"/>
                <p:cNvSpPr/>
                <p:nvPr/>
              </p:nvSpPr>
              <p:spPr bwMode="auto">
                <a:xfrm>
                  <a:off x="4347418" y="4488931"/>
                  <a:ext cx="472273" cy="39188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040" b="1" kern="0" dirty="0">
                    <a:solidFill>
                      <a:srgbClr val="FFFFFF"/>
                    </a:solidFill>
                    <a:latin typeface="Segoe UI Light"/>
                    <a:ea typeface="Segoe UI" pitchFamily="34" charset="0"/>
                    <a:cs typeface="Segoe UI" pitchFamily="34" charset="0"/>
                  </a:endParaRPr>
                </a:p>
              </p:txBody>
            </p:sp>
            <p:sp>
              <p:nvSpPr>
                <p:cNvPr id="55" name="Rounded Rectangle 54"/>
                <p:cNvSpPr/>
                <p:nvPr/>
              </p:nvSpPr>
              <p:spPr bwMode="auto">
                <a:xfrm>
                  <a:off x="3494434" y="5504387"/>
                  <a:ext cx="472273" cy="39188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040" kern="0" dirty="0">
                    <a:solidFill>
                      <a:srgbClr val="FFFFFF"/>
                    </a:solidFill>
                    <a:latin typeface="Segoe UI Light"/>
                    <a:ea typeface="Segoe UI" pitchFamily="34" charset="0"/>
                    <a:cs typeface="Segoe UI" pitchFamily="34" charset="0"/>
                  </a:endParaRPr>
                </a:p>
              </p:txBody>
            </p:sp>
            <p:sp>
              <p:nvSpPr>
                <p:cNvPr id="56" name="Rounded Rectangle 55"/>
                <p:cNvSpPr/>
                <p:nvPr/>
              </p:nvSpPr>
              <p:spPr bwMode="auto">
                <a:xfrm>
                  <a:off x="4347420" y="5504387"/>
                  <a:ext cx="472273" cy="39188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040" kern="0" dirty="0">
                    <a:solidFill>
                      <a:srgbClr val="FFFFFF"/>
                    </a:solidFill>
                    <a:latin typeface="Segoe UI Light"/>
                    <a:ea typeface="Segoe UI" pitchFamily="34" charset="0"/>
                    <a:cs typeface="Segoe UI" pitchFamily="34" charset="0"/>
                  </a:endParaRPr>
                </a:p>
              </p:txBody>
            </p:sp>
            <p:sp>
              <p:nvSpPr>
                <p:cNvPr id="57" name="Rounded Rectangle 56"/>
                <p:cNvSpPr/>
                <p:nvPr/>
              </p:nvSpPr>
              <p:spPr bwMode="auto">
                <a:xfrm>
                  <a:off x="5200404" y="4487588"/>
                  <a:ext cx="472273" cy="39188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040" b="1" kern="0" dirty="0">
                    <a:solidFill>
                      <a:srgbClr val="FFFFFF"/>
                    </a:solidFill>
                    <a:latin typeface="Segoe UI Light"/>
                    <a:ea typeface="Segoe UI" pitchFamily="34" charset="0"/>
                    <a:cs typeface="Segoe UI" pitchFamily="34" charset="0"/>
                  </a:endParaRPr>
                </a:p>
              </p:txBody>
            </p:sp>
            <p:sp>
              <p:nvSpPr>
                <p:cNvPr id="58" name="Rounded Rectangle 57"/>
                <p:cNvSpPr/>
                <p:nvPr/>
              </p:nvSpPr>
              <p:spPr bwMode="auto">
                <a:xfrm>
                  <a:off x="4773910" y="5010789"/>
                  <a:ext cx="472273" cy="39188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040" kern="0" dirty="0">
                    <a:solidFill>
                      <a:srgbClr val="FFFFFF"/>
                    </a:solidFill>
                    <a:latin typeface="Segoe UI Light"/>
                    <a:ea typeface="Segoe UI" pitchFamily="34" charset="0"/>
                    <a:cs typeface="Segoe UI" pitchFamily="34" charset="0"/>
                  </a:endParaRPr>
                </a:p>
              </p:txBody>
            </p:sp>
            <p:sp>
              <p:nvSpPr>
                <p:cNvPr id="59" name="Rounded Rectangle 58"/>
                <p:cNvSpPr/>
                <p:nvPr/>
              </p:nvSpPr>
              <p:spPr bwMode="auto">
                <a:xfrm>
                  <a:off x="5200404" y="5504387"/>
                  <a:ext cx="472273" cy="39188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040" kern="0" dirty="0">
                    <a:solidFill>
                      <a:srgbClr val="FFFFFF"/>
                    </a:solidFill>
                    <a:latin typeface="Segoe UI Light"/>
                    <a:ea typeface="Segoe UI" pitchFamily="34" charset="0"/>
                    <a:cs typeface="Segoe UI" pitchFamily="34" charset="0"/>
                  </a:endParaRPr>
                </a:p>
              </p:txBody>
            </p:sp>
          </p:grpSp>
        </p:grpSp>
        <p:sp>
          <p:nvSpPr>
            <p:cNvPr id="60" name="Right Arrow 59"/>
            <p:cNvSpPr/>
            <p:nvPr/>
          </p:nvSpPr>
          <p:spPr bwMode="auto">
            <a:xfrm>
              <a:off x="8232124" y="1940251"/>
              <a:ext cx="317295" cy="423459"/>
            </a:xfrm>
            <a:prstGeom prst="rightArrow">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040" b="1" kern="0" dirty="0">
                <a:solidFill>
                  <a:srgbClr val="FFFFFF"/>
                </a:solidFill>
                <a:latin typeface="Segoe UI Light"/>
                <a:ea typeface="Segoe UI" pitchFamily="34" charset="0"/>
                <a:cs typeface="Segoe UI" pitchFamily="34" charset="0"/>
              </a:endParaRPr>
            </a:p>
          </p:txBody>
        </p:sp>
      </p:grpSp>
      <p:grpSp>
        <p:nvGrpSpPr>
          <p:cNvPr id="103" name="Group 102"/>
          <p:cNvGrpSpPr/>
          <p:nvPr/>
        </p:nvGrpSpPr>
        <p:grpSpPr>
          <a:xfrm>
            <a:off x="418675" y="3986904"/>
            <a:ext cx="10935357" cy="2527441"/>
            <a:chOff x="409638" y="3909085"/>
            <a:chExt cx="10721912" cy="2478108"/>
          </a:xfrm>
        </p:grpSpPr>
        <p:grpSp>
          <p:nvGrpSpPr>
            <p:cNvPr id="100" name="Group 99"/>
            <p:cNvGrpSpPr/>
            <p:nvPr/>
          </p:nvGrpSpPr>
          <p:grpSpPr>
            <a:xfrm>
              <a:off x="5915025" y="3984973"/>
              <a:ext cx="5216525" cy="2402220"/>
              <a:chOff x="5800300" y="3373413"/>
              <a:chExt cx="5956707" cy="3095655"/>
            </a:xfrm>
          </p:grpSpPr>
          <p:sp>
            <p:nvSpPr>
              <p:cNvPr id="63" name="Rectangle 62"/>
              <p:cNvSpPr/>
              <p:nvPr/>
            </p:nvSpPr>
            <p:spPr bwMode="auto">
              <a:xfrm>
                <a:off x="8571853" y="3373413"/>
                <a:ext cx="1561166" cy="284123"/>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32597" fontAlgn="base">
                  <a:spcBef>
                    <a:spcPct val="0"/>
                  </a:spcBef>
                  <a:spcAft>
                    <a:spcPts val="612"/>
                  </a:spcAft>
                  <a:defRPr/>
                </a:pPr>
                <a:r>
                  <a:rPr lang="en-US" sz="1224" kern="0" dirty="0">
                    <a:solidFill>
                      <a:srgbClr val="FFFFFF"/>
                    </a:solidFill>
                    <a:latin typeface="Segoe UI Semibold" panose="020B0702040204020203" pitchFamily="34" charset="0"/>
                    <a:cs typeface="Segoe UI Semibold" panose="020B0702040204020203" pitchFamily="34" charset="0"/>
                  </a:rPr>
                  <a:t>Input</a:t>
                </a:r>
              </a:p>
            </p:txBody>
          </p:sp>
          <p:sp>
            <p:nvSpPr>
              <p:cNvPr id="64" name="Rectangle 63"/>
              <p:cNvSpPr/>
              <p:nvPr/>
            </p:nvSpPr>
            <p:spPr bwMode="auto">
              <a:xfrm>
                <a:off x="7762743" y="3988878"/>
                <a:ext cx="1561166" cy="4620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040" b="1" kern="0" dirty="0">
                  <a:solidFill>
                    <a:srgbClr val="FFFFFF"/>
                  </a:solidFill>
                  <a:latin typeface="Segoe UI Light"/>
                  <a:ea typeface="Segoe UI" pitchFamily="34" charset="0"/>
                  <a:cs typeface="Segoe UI" pitchFamily="34" charset="0"/>
                </a:endParaRPr>
              </a:p>
            </p:txBody>
          </p:sp>
          <p:sp>
            <p:nvSpPr>
              <p:cNvPr id="65" name="Rectangle 64"/>
              <p:cNvSpPr/>
              <p:nvPr/>
            </p:nvSpPr>
            <p:spPr bwMode="auto">
              <a:xfrm>
                <a:off x="6953635" y="4782257"/>
                <a:ext cx="1561166" cy="4620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040" b="1" kern="0" dirty="0">
                  <a:solidFill>
                    <a:srgbClr val="FFFFFF"/>
                  </a:solidFill>
                  <a:latin typeface="Segoe UI Light"/>
                  <a:ea typeface="Segoe UI" pitchFamily="34" charset="0"/>
                  <a:cs typeface="Segoe UI" pitchFamily="34" charset="0"/>
                </a:endParaRPr>
              </a:p>
            </p:txBody>
          </p:sp>
          <p:sp>
            <p:nvSpPr>
              <p:cNvPr id="66" name="Rectangle 65"/>
              <p:cNvSpPr/>
              <p:nvPr/>
            </p:nvSpPr>
            <p:spPr bwMode="auto">
              <a:xfrm>
                <a:off x="8571853" y="4782257"/>
                <a:ext cx="1561166" cy="4620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040" kern="0" dirty="0">
                  <a:solidFill>
                    <a:srgbClr val="FFFFFF"/>
                  </a:solidFill>
                  <a:latin typeface="Segoe UI Light"/>
                  <a:ea typeface="Segoe UI" pitchFamily="34" charset="0"/>
                  <a:cs typeface="Segoe UI" pitchFamily="34" charset="0"/>
                </a:endParaRPr>
              </a:p>
            </p:txBody>
          </p:sp>
          <p:sp>
            <p:nvSpPr>
              <p:cNvPr id="67" name="Rectangle 66"/>
              <p:cNvSpPr/>
              <p:nvPr/>
            </p:nvSpPr>
            <p:spPr bwMode="auto">
              <a:xfrm>
                <a:off x="10190072" y="4782257"/>
                <a:ext cx="1561166" cy="4620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040" b="1" kern="0" dirty="0">
                  <a:solidFill>
                    <a:srgbClr val="FFFFFF"/>
                  </a:solidFill>
                  <a:latin typeface="Segoe UI Light"/>
                  <a:ea typeface="Segoe UI" pitchFamily="34" charset="0"/>
                  <a:cs typeface="Segoe UI" pitchFamily="34" charset="0"/>
                </a:endParaRPr>
              </a:p>
            </p:txBody>
          </p:sp>
          <p:sp>
            <p:nvSpPr>
              <p:cNvPr id="68" name="Rectangle 67"/>
              <p:cNvSpPr/>
              <p:nvPr/>
            </p:nvSpPr>
            <p:spPr bwMode="auto">
              <a:xfrm>
                <a:off x="7762743" y="5550508"/>
                <a:ext cx="1566936" cy="4620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040" b="1" kern="0" dirty="0">
                  <a:solidFill>
                    <a:srgbClr val="FFFFFF"/>
                  </a:solidFill>
                  <a:latin typeface="Segoe UI Light"/>
                  <a:ea typeface="Segoe UI" pitchFamily="34" charset="0"/>
                  <a:cs typeface="Segoe UI" pitchFamily="34" charset="0"/>
                </a:endParaRPr>
              </a:p>
            </p:txBody>
          </p:sp>
          <p:sp>
            <p:nvSpPr>
              <p:cNvPr id="69" name="Rectangle 68"/>
              <p:cNvSpPr/>
              <p:nvPr/>
            </p:nvSpPr>
            <p:spPr bwMode="auto">
              <a:xfrm>
                <a:off x="9380963" y="3988878"/>
                <a:ext cx="1561166" cy="4620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040" b="1" kern="0" dirty="0">
                  <a:solidFill>
                    <a:srgbClr val="FFFFFF"/>
                  </a:solidFill>
                  <a:latin typeface="Segoe UI Light"/>
                  <a:ea typeface="Segoe UI" pitchFamily="34" charset="0"/>
                  <a:cs typeface="Segoe UI" pitchFamily="34" charset="0"/>
                </a:endParaRPr>
              </a:p>
            </p:txBody>
          </p:sp>
          <p:sp>
            <p:nvSpPr>
              <p:cNvPr id="70" name="Rectangle 69"/>
              <p:cNvSpPr/>
              <p:nvPr/>
            </p:nvSpPr>
            <p:spPr bwMode="auto">
              <a:xfrm>
                <a:off x="7762744" y="6184945"/>
                <a:ext cx="1561166" cy="284123"/>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32597">
                  <a:spcAft>
                    <a:spcPts val="612"/>
                  </a:spcAft>
                  <a:defRPr/>
                </a:pPr>
                <a:r>
                  <a:rPr lang="en-US" sz="1224" kern="0" dirty="0">
                    <a:solidFill>
                      <a:srgbClr val="FFFFFF"/>
                    </a:solidFill>
                    <a:latin typeface="Segoe UI Semibold" panose="020B0702040204020203" pitchFamily="34" charset="0"/>
                    <a:cs typeface="Segoe UI Semibold" panose="020B0702040204020203" pitchFamily="34" charset="0"/>
                  </a:rPr>
                  <a:t>Output</a:t>
                </a:r>
              </a:p>
            </p:txBody>
          </p:sp>
          <p:sp>
            <p:nvSpPr>
              <p:cNvPr id="71" name="Rectangle 70"/>
              <p:cNvSpPr/>
              <p:nvPr/>
            </p:nvSpPr>
            <p:spPr bwMode="auto">
              <a:xfrm>
                <a:off x="10190071" y="5581950"/>
                <a:ext cx="1566936" cy="284123"/>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32597">
                  <a:spcAft>
                    <a:spcPts val="612"/>
                  </a:spcAft>
                  <a:defRPr/>
                </a:pPr>
                <a:r>
                  <a:rPr lang="en-US" sz="1224" kern="0" dirty="0">
                    <a:solidFill>
                      <a:srgbClr val="FFFFFF"/>
                    </a:solidFill>
                    <a:latin typeface="Segoe UI Semibold" panose="020B0702040204020203" pitchFamily="34" charset="0"/>
                    <a:cs typeface="Segoe UI Semibold" panose="020B0702040204020203" pitchFamily="34" charset="0"/>
                  </a:rPr>
                  <a:t>Output</a:t>
                </a:r>
              </a:p>
            </p:txBody>
          </p:sp>
          <p:cxnSp>
            <p:nvCxnSpPr>
              <p:cNvPr id="72" name="Elbow Connector 71"/>
              <p:cNvCxnSpPr>
                <a:stCxn id="64" idx="0"/>
                <a:endCxn id="69" idx="0"/>
              </p:cNvCxnSpPr>
              <p:nvPr/>
            </p:nvCxnSpPr>
            <p:spPr>
              <a:xfrm rot="5400000" flipH="1" flipV="1">
                <a:off x="9353185" y="3179766"/>
                <a:ext cx="8951" cy="1618219"/>
              </a:xfrm>
              <a:prstGeom prst="bentConnector3">
                <a:avLst>
                  <a:gd name="adj1" fmla="val 1800000"/>
                </a:avLst>
              </a:prstGeom>
              <a:ln w="28575">
                <a:solidFill>
                  <a:srgbClr val="50B347"/>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a:stCxn id="63" idx="2"/>
              </p:cNvCxnSpPr>
              <p:nvPr/>
            </p:nvCxnSpPr>
            <p:spPr>
              <a:xfrm>
                <a:off x="9352437" y="3657535"/>
                <a:ext cx="0" cy="175332"/>
              </a:xfrm>
              <a:prstGeom prst="line">
                <a:avLst/>
              </a:prstGeom>
              <a:ln w="28575">
                <a:solidFill>
                  <a:srgbClr val="50B347"/>
                </a:solidFill>
                <a:headEnd type="non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8543326" y="4448739"/>
                <a:ext cx="0" cy="175332"/>
              </a:xfrm>
              <a:prstGeom prst="line">
                <a:avLst/>
              </a:prstGeom>
              <a:ln w="28575">
                <a:solidFill>
                  <a:srgbClr val="50B347"/>
                </a:solidFill>
                <a:headEnd type="non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10161547" y="4448739"/>
                <a:ext cx="0" cy="175332"/>
              </a:xfrm>
              <a:prstGeom prst="line">
                <a:avLst/>
              </a:prstGeom>
              <a:ln w="28575">
                <a:solidFill>
                  <a:srgbClr val="50B347"/>
                </a:solidFill>
                <a:headEnd type="non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76" name="Elbow Connector 75"/>
              <p:cNvCxnSpPr/>
              <p:nvPr/>
            </p:nvCxnSpPr>
            <p:spPr>
              <a:xfrm rot="5400000" flipH="1" flipV="1">
                <a:off x="8544076" y="4025388"/>
                <a:ext cx="8951" cy="1513736"/>
              </a:xfrm>
              <a:prstGeom prst="bentConnector3">
                <a:avLst>
                  <a:gd name="adj1" fmla="val 1800000"/>
                </a:avLst>
              </a:prstGeom>
              <a:ln w="28575">
                <a:solidFill>
                  <a:srgbClr val="50B347"/>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7" name="Elbow Connector 76"/>
              <p:cNvCxnSpPr/>
              <p:nvPr/>
            </p:nvCxnSpPr>
            <p:spPr>
              <a:xfrm rot="5400000" flipH="1" flipV="1">
                <a:off x="10193639" y="4056731"/>
                <a:ext cx="8951" cy="1451048"/>
              </a:xfrm>
              <a:prstGeom prst="bentConnector3">
                <a:avLst>
                  <a:gd name="adj1" fmla="val 1800000"/>
                </a:avLst>
              </a:prstGeom>
              <a:ln w="28575">
                <a:solidFill>
                  <a:srgbClr val="50B347"/>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a:stCxn id="67" idx="2"/>
                <a:endCxn id="71" idx="0"/>
              </p:cNvCxnSpPr>
              <p:nvPr/>
            </p:nvCxnSpPr>
            <p:spPr>
              <a:xfrm>
                <a:off x="10970655" y="5244291"/>
                <a:ext cx="0" cy="337658"/>
              </a:xfrm>
              <a:prstGeom prst="line">
                <a:avLst/>
              </a:prstGeom>
              <a:ln w="28575">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9" name="Elbow Connector 78"/>
              <p:cNvCxnSpPr>
                <a:stCxn id="65" idx="2"/>
                <a:endCxn id="66" idx="2"/>
              </p:cNvCxnSpPr>
              <p:nvPr/>
            </p:nvCxnSpPr>
            <p:spPr>
              <a:xfrm rot="16200000" flipH="1">
                <a:off x="8544075" y="4435181"/>
                <a:ext cx="8951" cy="1618218"/>
              </a:xfrm>
              <a:prstGeom prst="bentConnector3">
                <a:avLst>
                  <a:gd name="adj1" fmla="val 1800000"/>
                </a:avLst>
              </a:prstGeom>
              <a:ln w="28575">
                <a:solidFill>
                  <a:srgbClr val="50B347"/>
                </a:solidFill>
                <a:headEnd type="non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a:endCxn id="68" idx="0"/>
              </p:cNvCxnSpPr>
              <p:nvPr/>
            </p:nvCxnSpPr>
            <p:spPr>
              <a:xfrm>
                <a:off x="8543326" y="5406444"/>
                <a:ext cx="0" cy="144064"/>
              </a:xfrm>
              <a:prstGeom prst="line">
                <a:avLst/>
              </a:prstGeom>
              <a:ln w="28575">
                <a:solidFill>
                  <a:srgbClr val="50B347"/>
                </a:solidFill>
                <a:headEnd type="non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a:stCxn id="68" idx="2"/>
                <a:endCxn id="70" idx="0"/>
              </p:cNvCxnSpPr>
              <p:nvPr/>
            </p:nvCxnSpPr>
            <p:spPr>
              <a:xfrm flipH="1">
                <a:off x="8543327" y="6012545"/>
                <a:ext cx="0" cy="172403"/>
              </a:xfrm>
              <a:prstGeom prst="line">
                <a:avLst/>
              </a:prstGeom>
              <a:ln w="28575">
                <a:solidFill>
                  <a:srgbClr val="50B347"/>
                </a:solidFill>
                <a:headEnd type="none" w="med" len="sm"/>
                <a:tailEnd type="none" w="med" len="sm"/>
              </a:ln>
            </p:spPr>
            <p:style>
              <a:lnRef idx="1">
                <a:schemeClr val="accent1"/>
              </a:lnRef>
              <a:fillRef idx="0">
                <a:schemeClr val="accent1"/>
              </a:fillRef>
              <a:effectRef idx="0">
                <a:schemeClr val="accent1"/>
              </a:effectRef>
              <a:fontRef idx="minor">
                <a:schemeClr val="tx1"/>
              </a:fontRef>
            </p:style>
          </p:cxnSp>
          <p:grpSp>
            <p:nvGrpSpPr>
              <p:cNvPr id="82" name="Group 81"/>
              <p:cNvGrpSpPr/>
              <p:nvPr/>
            </p:nvGrpSpPr>
            <p:grpSpPr>
              <a:xfrm>
                <a:off x="7874922" y="4066485"/>
                <a:ext cx="1336812" cy="306821"/>
                <a:chOff x="1580613" y="2819756"/>
                <a:chExt cx="1561017" cy="386337"/>
              </a:xfrm>
              <a:solidFill>
                <a:schemeClr val="accent2"/>
              </a:solidFill>
            </p:grpSpPr>
            <p:sp>
              <p:nvSpPr>
                <p:cNvPr id="90" name="Rectangle 89"/>
                <p:cNvSpPr/>
                <p:nvPr/>
              </p:nvSpPr>
              <p:spPr bwMode="auto">
                <a:xfrm>
                  <a:off x="1580613" y="2819756"/>
                  <a:ext cx="673983" cy="38633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040" b="1" kern="0" dirty="0">
                    <a:solidFill>
                      <a:srgbClr val="FFFFFF"/>
                    </a:solidFill>
                    <a:latin typeface="Segoe UI Light"/>
                    <a:ea typeface="Segoe UI" pitchFamily="34" charset="0"/>
                    <a:cs typeface="Segoe UI" pitchFamily="34" charset="0"/>
                  </a:endParaRPr>
                </a:p>
              </p:txBody>
            </p:sp>
            <p:sp>
              <p:nvSpPr>
                <p:cNvPr id="91" name="Rectangle 90"/>
                <p:cNvSpPr/>
                <p:nvPr/>
              </p:nvSpPr>
              <p:spPr bwMode="auto">
                <a:xfrm>
                  <a:off x="2467647" y="2819756"/>
                  <a:ext cx="673983" cy="38633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040" b="1" kern="0" dirty="0">
                    <a:solidFill>
                      <a:srgbClr val="FFFFFF"/>
                    </a:solidFill>
                    <a:latin typeface="Segoe UI Light"/>
                    <a:ea typeface="Segoe UI" pitchFamily="34" charset="0"/>
                    <a:cs typeface="Segoe UI" pitchFamily="34" charset="0"/>
                  </a:endParaRPr>
                </a:p>
              </p:txBody>
            </p:sp>
          </p:grpSp>
          <p:grpSp>
            <p:nvGrpSpPr>
              <p:cNvPr id="83" name="Group 82"/>
              <p:cNvGrpSpPr/>
              <p:nvPr/>
            </p:nvGrpSpPr>
            <p:grpSpPr>
              <a:xfrm>
                <a:off x="9493142" y="4066485"/>
                <a:ext cx="1336810" cy="306821"/>
                <a:chOff x="1580613" y="2819756"/>
                <a:chExt cx="1561015" cy="386337"/>
              </a:xfrm>
              <a:solidFill>
                <a:schemeClr val="accent2"/>
              </a:solidFill>
            </p:grpSpPr>
            <p:sp>
              <p:nvSpPr>
                <p:cNvPr id="88" name="Rectangle 87"/>
                <p:cNvSpPr/>
                <p:nvPr/>
              </p:nvSpPr>
              <p:spPr bwMode="auto">
                <a:xfrm>
                  <a:off x="1580613" y="2819756"/>
                  <a:ext cx="673983" cy="38633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040" b="1" kern="0" dirty="0">
                    <a:solidFill>
                      <a:srgbClr val="FFFFFF"/>
                    </a:solidFill>
                    <a:latin typeface="Segoe UI Light"/>
                    <a:ea typeface="Segoe UI" pitchFamily="34" charset="0"/>
                    <a:cs typeface="Segoe UI" pitchFamily="34" charset="0"/>
                  </a:endParaRPr>
                </a:p>
              </p:txBody>
            </p:sp>
            <p:sp>
              <p:nvSpPr>
                <p:cNvPr id="89" name="Rectangle 88"/>
                <p:cNvSpPr/>
                <p:nvPr/>
              </p:nvSpPr>
              <p:spPr bwMode="auto">
                <a:xfrm>
                  <a:off x="2467645" y="2819756"/>
                  <a:ext cx="673983" cy="38633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040" b="1" kern="0" dirty="0">
                    <a:solidFill>
                      <a:srgbClr val="FFFFFF"/>
                    </a:solidFill>
                    <a:latin typeface="Segoe UI Light"/>
                    <a:ea typeface="Segoe UI" pitchFamily="34" charset="0"/>
                    <a:cs typeface="Segoe UI" pitchFamily="34" charset="0"/>
                  </a:endParaRPr>
                </a:p>
              </p:txBody>
            </p:sp>
          </p:grpSp>
          <p:sp>
            <p:nvSpPr>
              <p:cNvPr id="84" name="Rectangle 83"/>
              <p:cNvSpPr/>
              <p:nvPr/>
            </p:nvSpPr>
            <p:spPr bwMode="auto">
              <a:xfrm>
                <a:off x="7446942" y="4859864"/>
                <a:ext cx="574550" cy="30682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040" b="1" kern="0" dirty="0">
                  <a:solidFill>
                    <a:srgbClr val="FFFFFF"/>
                  </a:solidFill>
                  <a:latin typeface="Segoe UI Light"/>
                  <a:ea typeface="Segoe UI" pitchFamily="34" charset="0"/>
                  <a:cs typeface="Segoe UI" pitchFamily="34" charset="0"/>
                </a:endParaRPr>
              </a:p>
            </p:txBody>
          </p:sp>
          <p:sp>
            <p:nvSpPr>
              <p:cNvPr id="85" name="Rectangle 84"/>
              <p:cNvSpPr/>
              <p:nvPr/>
            </p:nvSpPr>
            <p:spPr bwMode="auto">
              <a:xfrm>
                <a:off x="9065162" y="4859864"/>
                <a:ext cx="574550" cy="30682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040" b="1" kern="0" dirty="0">
                  <a:solidFill>
                    <a:srgbClr val="FFFFFF"/>
                  </a:solidFill>
                  <a:latin typeface="Segoe UI Light"/>
                  <a:ea typeface="Segoe UI" pitchFamily="34" charset="0"/>
                  <a:cs typeface="Segoe UI" pitchFamily="34" charset="0"/>
                </a:endParaRPr>
              </a:p>
            </p:txBody>
          </p:sp>
          <p:sp>
            <p:nvSpPr>
              <p:cNvPr id="86" name="Rectangle 85"/>
              <p:cNvSpPr/>
              <p:nvPr/>
            </p:nvSpPr>
            <p:spPr bwMode="auto">
              <a:xfrm>
                <a:off x="10683382" y="4859864"/>
                <a:ext cx="574550" cy="30682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040" b="1" kern="0" dirty="0">
                  <a:solidFill>
                    <a:srgbClr val="FFFFFF"/>
                  </a:solidFill>
                  <a:latin typeface="Segoe UI Light"/>
                  <a:ea typeface="Segoe UI" pitchFamily="34" charset="0"/>
                  <a:cs typeface="Segoe UI" pitchFamily="34" charset="0"/>
                </a:endParaRPr>
              </a:p>
            </p:txBody>
          </p:sp>
          <p:sp>
            <p:nvSpPr>
              <p:cNvPr id="87" name="Rectangle 86"/>
              <p:cNvSpPr/>
              <p:nvPr/>
            </p:nvSpPr>
            <p:spPr bwMode="auto">
              <a:xfrm>
                <a:off x="8258937" y="5628115"/>
                <a:ext cx="574550" cy="30682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040" b="1" kern="0" dirty="0">
                  <a:solidFill>
                    <a:srgbClr val="FFFFFF"/>
                  </a:solidFill>
                  <a:latin typeface="Segoe UI Light"/>
                  <a:ea typeface="Segoe UI" pitchFamily="34" charset="0"/>
                  <a:cs typeface="Segoe UI" pitchFamily="34" charset="0"/>
                </a:endParaRPr>
              </a:p>
            </p:txBody>
          </p:sp>
          <p:sp>
            <p:nvSpPr>
              <p:cNvPr id="93" name="TextBox 92"/>
              <p:cNvSpPr txBox="1"/>
              <p:nvPr/>
            </p:nvSpPr>
            <p:spPr>
              <a:xfrm>
                <a:off x="5800300" y="3823632"/>
                <a:ext cx="1363691" cy="908261"/>
              </a:xfrm>
              <a:prstGeom prst="rect">
                <a:avLst/>
              </a:prstGeom>
              <a:noFill/>
            </p:spPr>
            <p:txBody>
              <a:bodyPr wrap="none" lIns="0" tIns="0" rIns="0" bIns="0" rtlCol="0">
                <a:spAutoFit/>
              </a:bodyPr>
              <a:lstStyle/>
              <a:p>
                <a:pPr defTabSz="932597">
                  <a:spcAft>
                    <a:spcPts val="612"/>
                  </a:spcAft>
                  <a:defRPr/>
                </a:pPr>
                <a:r>
                  <a:rPr lang="en-US" sz="2040" kern="0" dirty="0">
                    <a:solidFill>
                      <a:srgbClr val="505050"/>
                    </a:solidFill>
                    <a:latin typeface="Segoe UI"/>
                  </a:rPr>
                  <a:t>6 Stages</a:t>
                </a:r>
              </a:p>
              <a:p>
                <a:pPr defTabSz="932597">
                  <a:spcAft>
                    <a:spcPts val="612"/>
                  </a:spcAft>
                  <a:defRPr/>
                </a:pPr>
                <a:r>
                  <a:rPr lang="en-US" sz="2040" kern="0" dirty="0">
                    <a:solidFill>
                      <a:srgbClr val="505050"/>
                    </a:solidFill>
                    <a:latin typeface="Segoe UI"/>
                  </a:rPr>
                  <a:t>8 Vertexes</a:t>
                </a:r>
              </a:p>
            </p:txBody>
          </p:sp>
          <p:sp>
            <p:nvSpPr>
              <p:cNvPr id="94" name="Right Arrow 93"/>
              <p:cNvSpPr/>
              <p:nvPr/>
            </p:nvSpPr>
            <p:spPr bwMode="auto">
              <a:xfrm>
                <a:off x="7163663" y="4092193"/>
                <a:ext cx="341380" cy="316510"/>
              </a:xfrm>
              <a:prstGeom prst="rightArrow">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040" b="1" kern="0" dirty="0">
                  <a:solidFill>
                    <a:srgbClr val="FFFFFF"/>
                  </a:solidFill>
                  <a:latin typeface="Segoe UI Light"/>
                  <a:ea typeface="Segoe UI" pitchFamily="34" charset="0"/>
                  <a:cs typeface="Segoe UI" pitchFamily="34" charset="0"/>
                </a:endParaRPr>
              </a:p>
            </p:txBody>
          </p:sp>
        </p:grpSp>
        <p:sp>
          <p:nvSpPr>
            <p:cNvPr id="102" name="Rectangle 101"/>
            <p:cNvSpPr/>
            <p:nvPr/>
          </p:nvSpPr>
          <p:spPr>
            <a:xfrm>
              <a:off x="409638" y="3909085"/>
              <a:ext cx="4648324" cy="2272417"/>
            </a:xfrm>
            <a:prstGeom prst="rect">
              <a:avLst/>
            </a:prstGeom>
          </p:spPr>
          <p:txBody>
            <a:bodyPr wrap="square" tIns="0" bIns="0">
              <a:spAutoFit/>
            </a:bodyPr>
            <a:lstStyle/>
            <a:p>
              <a:pPr marL="403154" indent="-288198" defTabSz="932597">
                <a:spcBef>
                  <a:spcPts val="612"/>
                </a:spcBef>
                <a:spcAft>
                  <a:spcPts val="612"/>
                </a:spcAft>
                <a:buClr>
                  <a:srgbClr val="50B347"/>
                </a:buClr>
                <a:buSzPct val="100000"/>
                <a:buBlip>
                  <a:blip r:embed="rId3"/>
                </a:buBlip>
                <a:defRPr/>
              </a:pPr>
              <a:r>
                <a:rPr lang="en-US" sz="1938" kern="0" dirty="0">
                  <a:solidFill>
                    <a:srgbClr val="505050"/>
                  </a:solidFill>
                  <a:latin typeface="Segoe UI"/>
                </a:rPr>
                <a:t>Vertexes are organized into </a:t>
              </a:r>
              <a:r>
                <a:rPr lang="en-US" sz="1938" kern="0" dirty="0">
                  <a:solidFill>
                    <a:srgbClr val="50B347"/>
                  </a:solidFill>
                  <a:latin typeface="Segoe UI Black" panose="020B0A02040204020203" pitchFamily="34" charset="0"/>
                  <a:ea typeface="Segoe UI Black" panose="020B0A02040204020203" pitchFamily="34" charset="0"/>
                  <a:cs typeface="Segoe UI Black" panose="020B0A02040204020203" pitchFamily="34" charset="0"/>
                </a:rPr>
                <a:t>stages</a:t>
              </a:r>
            </a:p>
            <a:p>
              <a:pPr marL="702686" lvl="1" indent="-301151" defTabSz="932597">
                <a:spcBef>
                  <a:spcPts val="102"/>
                </a:spcBef>
                <a:spcAft>
                  <a:spcPts val="306"/>
                </a:spcAft>
                <a:buClr>
                  <a:srgbClr val="50B347"/>
                </a:buClr>
                <a:buFont typeface="Calibri" panose="020F0502020204030204" pitchFamily="34" charset="0"/>
                <a:buChar char="–"/>
                <a:defRPr/>
              </a:pPr>
              <a:r>
                <a:rPr lang="en-US" sz="1836" kern="0" dirty="0">
                  <a:solidFill>
                    <a:srgbClr val="505050"/>
                  </a:solidFill>
                  <a:latin typeface="Segoe UI"/>
                </a:rPr>
                <a:t>Vertexes in each stage do the same work on the same data</a:t>
              </a:r>
            </a:p>
            <a:p>
              <a:pPr marL="702686" lvl="1" indent="-301151" defTabSz="932597">
                <a:spcBef>
                  <a:spcPts val="102"/>
                </a:spcBef>
                <a:spcAft>
                  <a:spcPts val="306"/>
                </a:spcAft>
                <a:buClr>
                  <a:srgbClr val="50B347"/>
                </a:buClr>
                <a:buFont typeface="Calibri" panose="020F0502020204030204" pitchFamily="34" charset="0"/>
                <a:buChar char="–"/>
                <a:defRPr/>
              </a:pPr>
              <a:r>
                <a:rPr lang="en-US" sz="1836" kern="0" dirty="0">
                  <a:solidFill>
                    <a:srgbClr val="505050"/>
                  </a:solidFill>
                  <a:latin typeface="Segoe UI"/>
                </a:rPr>
                <a:t>Vertex in one stage may depend on a vertex in a earlier stage</a:t>
              </a:r>
            </a:p>
            <a:p>
              <a:pPr marL="403154" indent="-288198" defTabSz="932597">
                <a:spcBef>
                  <a:spcPts val="612"/>
                </a:spcBef>
                <a:spcAft>
                  <a:spcPts val="612"/>
                </a:spcAft>
                <a:buClr>
                  <a:srgbClr val="50B347"/>
                </a:buClr>
                <a:buSzPct val="100000"/>
                <a:buBlip>
                  <a:blip r:embed="rId3"/>
                </a:buBlip>
                <a:defRPr/>
              </a:pPr>
              <a:r>
                <a:rPr lang="en-US" sz="1938" kern="0" dirty="0">
                  <a:solidFill>
                    <a:srgbClr val="505050"/>
                  </a:solidFill>
                  <a:latin typeface="Segoe UI"/>
                </a:rPr>
                <a:t>Stages themselves are organized into an acyclic graph </a:t>
              </a:r>
            </a:p>
          </p:txBody>
        </p:sp>
      </p:grpSp>
      <p:sp>
        <p:nvSpPr>
          <p:cNvPr id="3" name="Slide Number Placeholder 2"/>
          <p:cNvSpPr>
            <a:spLocks noGrp="1"/>
          </p:cNvSpPr>
          <p:nvPr>
            <p:ph type="sldNum" sz="quarter" idx="4"/>
          </p:nvPr>
        </p:nvSpPr>
        <p:spPr/>
        <p:txBody>
          <a:bodyPr/>
          <a:lstStyle/>
          <a:p>
            <a:pPr defTabSz="932597">
              <a:defRPr/>
            </a:pPr>
            <a:fld id="{75FAD755-3BD0-2447-A9DF-109DAABEFD99}" type="slidenum">
              <a:rPr lang="en-US" sz="1836" kern="0">
                <a:solidFill>
                  <a:sysClr val="windowText" lastClr="000000"/>
                </a:solidFill>
                <a:latin typeface="Segoe UI"/>
              </a:rPr>
              <a:pPr defTabSz="932597">
                <a:defRPr/>
              </a:pPr>
              <a:t>15</a:t>
            </a:fld>
            <a:endParaRPr lang="en-US" sz="1836" kern="0" dirty="0">
              <a:solidFill>
                <a:sysClr val="windowText" lastClr="000000"/>
              </a:solidFill>
              <a:latin typeface="Segoe UI"/>
            </a:endParaRPr>
          </a:p>
        </p:txBody>
      </p:sp>
    </p:spTree>
    <p:extLst>
      <p:ext uri="{BB962C8B-B14F-4D97-AF65-F5344CB8AC3E}">
        <p14:creationId xmlns:p14="http://schemas.microsoft.com/office/powerpoint/2010/main" val="173777704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100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882" y="-1"/>
            <a:ext cx="12434711" cy="6994525"/>
          </a:xfrm>
          <a:prstGeom prst="rect">
            <a:avLst/>
          </a:prstGeom>
        </p:spPr>
      </p:pic>
      <p:sp>
        <p:nvSpPr>
          <p:cNvPr id="15" name="Freeform: Shape 14"/>
          <p:cNvSpPr/>
          <p:nvPr/>
        </p:nvSpPr>
        <p:spPr>
          <a:xfrm>
            <a:off x="884" y="-1"/>
            <a:ext cx="12434710" cy="6994525"/>
          </a:xfrm>
          <a:custGeom>
            <a:avLst/>
            <a:gdLst>
              <a:gd name="connsiteX0" fmla="*/ 300492 w 12191999"/>
              <a:gd name="connsiteY0" fmla="*/ 5118792 h 6858000"/>
              <a:gd name="connsiteX1" fmla="*/ 300492 w 12191999"/>
              <a:gd name="connsiteY1" fmla="*/ 5270650 h 6858000"/>
              <a:gd name="connsiteX2" fmla="*/ 1395042 w 12191999"/>
              <a:gd name="connsiteY2" fmla="*/ 5270650 h 6858000"/>
              <a:gd name="connsiteX3" fmla="*/ 1395042 w 12191999"/>
              <a:gd name="connsiteY3" fmla="*/ 5118792 h 6858000"/>
              <a:gd name="connsiteX4" fmla="*/ 300492 w 12191999"/>
              <a:gd name="connsiteY4" fmla="*/ 4380682 h 6858000"/>
              <a:gd name="connsiteX5" fmla="*/ 300492 w 12191999"/>
              <a:gd name="connsiteY5" fmla="*/ 4532540 h 6858000"/>
              <a:gd name="connsiteX6" fmla="*/ 1395042 w 12191999"/>
              <a:gd name="connsiteY6" fmla="*/ 4532540 h 6858000"/>
              <a:gd name="connsiteX7" fmla="*/ 1395042 w 12191999"/>
              <a:gd name="connsiteY7" fmla="*/ 4380682 h 6858000"/>
              <a:gd name="connsiteX8" fmla="*/ 2634343 w 12191999"/>
              <a:gd name="connsiteY8" fmla="*/ 1422400 h 6858000"/>
              <a:gd name="connsiteX9" fmla="*/ 2634343 w 12191999"/>
              <a:gd name="connsiteY9" fmla="*/ 6027057 h 6858000"/>
              <a:gd name="connsiteX10" fmla="*/ 11981542 w 12191999"/>
              <a:gd name="connsiteY10" fmla="*/ 6027057 h 6858000"/>
              <a:gd name="connsiteX11" fmla="*/ 11981542 w 12191999"/>
              <a:gd name="connsiteY11" fmla="*/ 1422400 h 6858000"/>
              <a:gd name="connsiteX12" fmla="*/ 0 w 12191999"/>
              <a:gd name="connsiteY12" fmla="*/ 0 h 6858000"/>
              <a:gd name="connsiteX13" fmla="*/ 12191999 w 12191999"/>
              <a:gd name="connsiteY13" fmla="*/ 0 h 6858000"/>
              <a:gd name="connsiteX14" fmla="*/ 12191999 w 12191999"/>
              <a:gd name="connsiteY14" fmla="*/ 6858000 h 6858000"/>
              <a:gd name="connsiteX15" fmla="*/ 0 w 12191999"/>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1999" h="6858000">
                <a:moveTo>
                  <a:pt x="300492" y="5118792"/>
                </a:moveTo>
                <a:lnTo>
                  <a:pt x="300492" y="5270650"/>
                </a:lnTo>
                <a:lnTo>
                  <a:pt x="1395042" y="5270650"/>
                </a:lnTo>
                <a:lnTo>
                  <a:pt x="1395042" y="5118792"/>
                </a:lnTo>
                <a:close/>
                <a:moveTo>
                  <a:pt x="300492" y="4380682"/>
                </a:moveTo>
                <a:lnTo>
                  <a:pt x="300492" y="4532540"/>
                </a:lnTo>
                <a:lnTo>
                  <a:pt x="1395042" y="4532540"/>
                </a:lnTo>
                <a:lnTo>
                  <a:pt x="1395042" y="4380682"/>
                </a:lnTo>
                <a:close/>
                <a:moveTo>
                  <a:pt x="2634343" y="1422400"/>
                </a:moveTo>
                <a:lnTo>
                  <a:pt x="2634343" y="6027057"/>
                </a:lnTo>
                <a:lnTo>
                  <a:pt x="11981542" y="6027057"/>
                </a:lnTo>
                <a:lnTo>
                  <a:pt x="11981542" y="1422400"/>
                </a:lnTo>
                <a:close/>
                <a:moveTo>
                  <a:pt x="0" y="0"/>
                </a:moveTo>
                <a:lnTo>
                  <a:pt x="12191999" y="0"/>
                </a:lnTo>
                <a:lnTo>
                  <a:pt x="12191999" y="6858000"/>
                </a:lnTo>
                <a:lnTo>
                  <a:pt x="0" y="6858000"/>
                </a:lnTo>
                <a:close/>
              </a:path>
            </a:pathLst>
          </a:custGeom>
          <a:solidFill>
            <a:schemeClr val="tx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latin typeface="Segoe UI"/>
            </a:endParaRPr>
          </a:p>
        </p:txBody>
      </p:sp>
      <p:sp>
        <p:nvSpPr>
          <p:cNvPr id="3" name="Rectangle 2"/>
          <p:cNvSpPr/>
          <p:nvPr/>
        </p:nvSpPr>
        <p:spPr bwMode="auto">
          <a:xfrm>
            <a:off x="307356" y="4467890"/>
            <a:ext cx="1116340" cy="154881"/>
          </a:xfrm>
          <a:prstGeom prst="rect">
            <a:avLst/>
          </a:prstGeom>
          <a:noFill/>
          <a:ln w="31750">
            <a:solidFill>
              <a:schemeClr val="accent4"/>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27" fontAlgn="base">
              <a:spcBef>
                <a:spcPct val="0"/>
              </a:spcBef>
              <a:spcAft>
                <a:spcPct val="0"/>
              </a:spcAft>
              <a:defRPr/>
            </a:pPr>
            <a:endParaRPr lang="en-US" sz="2379" kern="0" dirty="0">
              <a:gradFill>
                <a:gsLst>
                  <a:gs pos="0">
                    <a:srgbClr val="FFFFFF"/>
                  </a:gs>
                  <a:gs pos="100000">
                    <a:srgbClr val="FFFFFF"/>
                  </a:gs>
                </a:gsLst>
                <a:lin ang="5400000" scaled="0"/>
              </a:gradFill>
              <a:latin typeface="Segoe UI"/>
            </a:endParaRPr>
          </a:p>
        </p:txBody>
      </p:sp>
      <p:sp>
        <p:nvSpPr>
          <p:cNvPr id="6" name="Rectangular Callout 5"/>
          <p:cNvSpPr/>
          <p:nvPr/>
        </p:nvSpPr>
        <p:spPr>
          <a:xfrm>
            <a:off x="2193978" y="3519865"/>
            <a:ext cx="1981414" cy="502900"/>
          </a:xfrm>
          <a:prstGeom prst="borderCallout2">
            <a:avLst>
              <a:gd name="adj1" fmla="val 18750"/>
              <a:gd name="adj2" fmla="val -8333"/>
              <a:gd name="adj3" fmla="val 18750"/>
              <a:gd name="adj4" fmla="val -16667"/>
              <a:gd name="adj5" fmla="val 188610"/>
              <a:gd name="adj6" fmla="val -40877"/>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93260" tIns="74608" bIns="74608" rtlCol="0" anchor="ctr">
            <a:spAutoFit/>
          </a:bodyPr>
          <a:lstStyle/>
          <a:p>
            <a:pPr defTabSz="777000">
              <a:defRPr/>
            </a:pPr>
            <a:r>
              <a:rPr lang="en-US" sz="1122" b="1" kern="0" dirty="0">
                <a:solidFill>
                  <a:srgbClr val="002050"/>
                </a:solidFill>
                <a:latin typeface="Segoe UI Semibold" charset="0"/>
                <a:ea typeface="Segoe UI Semibold" charset="0"/>
                <a:cs typeface="Segoe UI Semibold" charset="0"/>
              </a:rPr>
              <a:t>How does the Parallelism number relate to Vertices?</a:t>
            </a:r>
          </a:p>
        </p:txBody>
      </p:sp>
      <p:sp>
        <p:nvSpPr>
          <p:cNvPr id="7" name="Rectangle 6"/>
          <p:cNvSpPr/>
          <p:nvPr/>
        </p:nvSpPr>
        <p:spPr bwMode="auto">
          <a:xfrm>
            <a:off x="307356" y="5220693"/>
            <a:ext cx="1116340" cy="154881"/>
          </a:xfrm>
          <a:prstGeom prst="rect">
            <a:avLst/>
          </a:prstGeom>
          <a:noFill/>
          <a:ln w="31750">
            <a:solidFill>
              <a:schemeClr val="accent4"/>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27" fontAlgn="base">
              <a:spcBef>
                <a:spcPct val="0"/>
              </a:spcBef>
              <a:spcAft>
                <a:spcPct val="0"/>
              </a:spcAft>
              <a:defRPr/>
            </a:pPr>
            <a:endParaRPr lang="en-US" sz="2379" kern="0" dirty="0">
              <a:gradFill>
                <a:gsLst>
                  <a:gs pos="0">
                    <a:srgbClr val="FFFFFF"/>
                  </a:gs>
                  <a:gs pos="100000">
                    <a:srgbClr val="FFFFFF"/>
                  </a:gs>
                </a:gsLst>
                <a:lin ang="5400000" scaled="0"/>
              </a:gradFill>
              <a:latin typeface="Segoe UI"/>
            </a:endParaRPr>
          </a:p>
        </p:txBody>
      </p:sp>
      <p:sp>
        <p:nvSpPr>
          <p:cNvPr id="8" name="Rectangular Callout 7"/>
          <p:cNvSpPr/>
          <p:nvPr/>
        </p:nvSpPr>
        <p:spPr>
          <a:xfrm>
            <a:off x="2138466" y="5792521"/>
            <a:ext cx="2070028" cy="326788"/>
          </a:xfrm>
          <a:prstGeom prst="borderCallout2">
            <a:avLst>
              <a:gd name="adj1" fmla="val 18750"/>
              <a:gd name="adj2" fmla="val -8333"/>
              <a:gd name="adj3" fmla="val 18750"/>
              <a:gd name="adj4" fmla="val -16667"/>
              <a:gd name="adj5" fmla="val -130160"/>
              <a:gd name="adj6" fmla="val -35583"/>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93260" tIns="74608" bIns="74608" rtlCol="0" anchor="ctr">
            <a:spAutoFit/>
          </a:bodyPr>
          <a:lstStyle/>
          <a:p>
            <a:pPr defTabSz="777000">
              <a:defRPr/>
            </a:pPr>
            <a:r>
              <a:rPr lang="en-US" sz="1122" b="1" kern="0" dirty="0">
                <a:solidFill>
                  <a:srgbClr val="002050"/>
                </a:solidFill>
                <a:latin typeface="Segoe UI Semibold" charset="0"/>
                <a:ea typeface="Segoe UI Semibold" charset="0"/>
                <a:cs typeface="Segoe UI Semibold" charset="0"/>
              </a:rPr>
              <a:t>What does Vertices mean?</a:t>
            </a:r>
          </a:p>
        </p:txBody>
      </p:sp>
      <p:sp>
        <p:nvSpPr>
          <p:cNvPr id="9" name="Rectangular Callout 8"/>
          <p:cNvSpPr/>
          <p:nvPr/>
        </p:nvSpPr>
        <p:spPr>
          <a:xfrm>
            <a:off x="9060457" y="2050650"/>
            <a:ext cx="1072822" cy="326788"/>
          </a:xfrm>
          <a:prstGeom prst="borderCallout2">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93260" tIns="74608" bIns="74608" rtlCol="0" anchor="ctr">
            <a:spAutoFit/>
          </a:bodyPr>
          <a:lstStyle/>
          <a:p>
            <a:pPr defTabSz="777000">
              <a:defRPr/>
            </a:pPr>
            <a:r>
              <a:rPr lang="en-US" sz="1122" b="1" kern="0" dirty="0">
                <a:solidFill>
                  <a:srgbClr val="002050"/>
                </a:solidFill>
                <a:latin typeface="Segoe UI Semibold" charset="0"/>
                <a:ea typeface="Segoe UI Semibold" charset="0"/>
                <a:cs typeface="Segoe UI Semibold" charset="0"/>
              </a:rPr>
              <a:t>What is this?</a:t>
            </a:r>
          </a:p>
        </p:txBody>
      </p:sp>
    </p:spTree>
    <p:extLst>
      <p:ext uri="{BB962C8B-B14F-4D97-AF65-F5344CB8AC3E}">
        <p14:creationId xmlns:p14="http://schemas.microsoft.com/office/powerpoint/2010/main" val="3256310648"/>
      </p:ext>
    </p:extLst>
  </p:cSld>
  <p:clrMapOvr>
    <a:masterClrMapping/>
  </p:clrMapOvr>
  <mc:AlternateContent xmlns:mc="http://schemas.openxmlformats.org/markup-compatibility/2006" xmlns:p14="http://schemas.microsoft.com/office/powerpoint/2010/main">
    <mc:Choice Requires="p14">
      <p:transition p14:dur="250">
        <p14:pan/>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ob execution graph </a:t>
            </a:r>
          </a:p>
        </p:txBody>
      </p:sp>
      <p:pic>
        <p:nvPicPr>
          <p:cNvPr id="6" name="Picture 5"/>
          <p:cNvPicPr>
            <a:picLocks/>
          </p:cNvPicPr>
          <p:nvPr/>
        </p:nvPicPr>
        <p:blipFill>
          <a:blip r:embed="rId3"/>
          <a:stretch>
            <a:fillRect/>
          </a:stretch>
        </p:blipFill>
        <p:spPr>
          <a:xfrm>
            <a:off x="4865198" y="1392877"/>
            <a:ext cx="7134416" cy="4663017"/>
          </a:xfrm>
          <a:prstGeom prst="rect">
            <a:avLst/>
          </a:prstGeom>
          <a:ln>
            <a:solidFill>
              <a:schemeClr val="accent1">
                <a:lumMod val="75000"/>
              </a:schemeClr>
            </a:solidFill>
          </a:ln>
        </p:spPr>
      </p:pic>
      <p:grpSp>
        <p:nvGrpSpPr>
          <p:cNvPr id="29" name="Group 28"/>
          <p:cNvGrpSpPr/>
          <p:nvPr/>
        </p:nvGrpSpPr>
        <p:grpSpPr>
          <a:xfrm>
            <a:off x="4865198" y="1392877"/>
            <a:ext cx="7134416" cy="4663017"/>
            <a:chOff x="5860477" y="55690"/>
            <a:chExt cx="6995160" cy="4572000"/>
          </a:xfrm>
        </p:grpSpPr>
        <p:pic>
          <p:nvPicPr>
            <p:cNvPr id="7" name="Picture 6"/>
            <p:cNvPicPr>
              <a:picLocks/>
            </p:cNvPicPr>
            <p:nvPr/>
          </p:nvPicPr>
          <p:blipFill>
            <a:blip r:embed="rId4"/>
            <a:stretch>
              <a:fillRect/>
            </a:stretch>
          </p:blipFill>
          <p:spPr>
            <a:xfrm>
              <a:off x="5860477" y="55690"/>
              <a:ext cx="6995160" cy="4572000"/>
            </a:xfrm>
            <a:prstGeom prst="rect">
              <a:avLst/>
            </a:prstGeom>
            <a:ln>
              <a:solidFill>
                <a:schemeClr val="accent1">
                  <a:lumMod val="75000"/>
                </a:schemeClr>
              </a:solidFill>
            </a:ln>
          </p:spPr>
        </p:pic>
        <p:sp>
          <p:nvSpPr>
            <p:cNvPr id="28" name="Rectangle 27"/>
            <p:cNvSpPr/>
            <p:nvPr/>
          </p:nvSpPr>
          <p:spPr bwMode="auto">
            <a:xfrm>
              <a:off x="6956784" y="2768009"/>
              <a:ext cx="351045" cy="1167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040" b="1" kern="0" dirty="0">
                <a:solidFill>
                  <a:srgbClr val="FFFFFF"/>
                </a:solidFill>
                <a:latin typeface="Segoe UI Light"/>
                <a:ea typeface="Segoe UI" pitchFamily="34" charset="0"/>
                <a:cs typeface="Segoe UI" pitchFamily="34" charset="0"/>
              </a:endParaRPr>
            </a:p>
          </p:txBody>
        </p:sp>
      </p:grpSp>
      <p:grpSp>
        <p:nvGrpSpPr>
          <p:cNvPr id="23" name="Group 22"/>
          <p:cNvGrpSpPr/>
          <p:nvPr/>
        </p:nvGrpSpPr>
        <p:grpSpPr>
          <a:xfrm>
            <a:off x="4865198" y="1377096"/>
            <a:ext cx="7134416" cy="4694580"/>
            <a:chOff x="3868316" y="1524558"/>
            <a:chExt cx="6995160" cy="4602947"/>
          </a:xfrm>
        </p:grpSpPr>
        <p:pic>
          <p:nvPicPr>
            <p:cNvPr id="8" name="Picture 7"/>
            <p:cNvPicPr>
              <a:picLocks/>
            </p:cNvPicPr>
            <p:nvPr/>
          </p:nvPicPr>
          <p:blipFill>
            <a:blip r:embed="rId5"/>
            <a:stretch>
              <a:fillRect/>
            </a:stretch>
          </p:blipFill>
          <p:spPr>
            <a:xfrm>
              <a:off x="3868316" y="1524558"/>
              <a:ext cx="6995160" cy="4602947"/>
            </a:xfrm>
            <a:prstGeom prst="rect">
              <a:avLst/>
            </a:prstGeom>
            <a:ln>
              <a:solidFill>
                <a:schemeClr val="accent1">
                  <a:lumMod val="75000"/>
                </a:schemeClr>
              </a:solidFill>
            </a:ln>
          </p:spPr>
        </p:pic>
        <p:sp>
          <p:nvSpPr>
            <p:cNvPr id="16" name="Rectangle 15"/>
            <p:cNvSpPr/>
            <p:nvPr/>
          </p:nvSpPr>
          <p:spPr bwMode="auto">
            <a:xfrm>
              <a:off x="5147499" y="4143983"/>
              <a:ext cx="351045" cy="1167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040" b="1" kern="0" dirty="0">
                <a:solidFill>
                  <a:srgbClr val="FFFFFF"/>
                </a:solidFill>
                <a:latin typeface="Segoe UI Light"/>
                <a:ea typeface="Segoe UI" pitchFamily="34" charset="0"/>
                <a:cs typeface="Segoe UI" pitchFamily="34" charset="0"/>
              </a:endParaRPr>
            </a:p>
          </p:txBody>
        </p:sp>
      </p:grpSp>
      <p:grpSp>
        <p:nvGrpSpPr>
          <p:cNvPr id="31" name="Group 30"/>
          <p:cNvGrpSpPr/>
          <p:nvPr/>
        </p:nvGrpSpPr>
        <p:grpSpPr>
          <a:xfrm>
            <a:off x="4865198" y="1392877"/>
            <a:ext cx="7134416" cy="4663017"/>
            <a:chOff x="7942133" y="3844545"/>
            <a:chExt cx="6995160" cy="4572000"/>
          </a:xfrm>
        </p:grpSpPr>
        <p:pic>
          <p:nvPicPr>
            <p:cNvPr id="9" name="Picture 8"/>
            <p:cNvPicPr>
              <a:picLocks/>
            </p:cNvPicPr>
            <p:nvPr/>
          </p:nvPicPr>
          <p:blipFill>
            <a:blip r:embed="rId6"/>
            <a:stretch>
              <a:fillRect/>
            </a:stretch>
          </p:blipFill>
          <p:spPr>
            <a:xfrm>
              <a:off x="7942133" y="3844545"/>
              <a:ext cx="6995160" cy="4572000"/>
            </a:xfrm>
            <a:prstGeom prst="rect">
              <a:avLst/>
            </a:prstGeom>
            <a:ln>
              <a:solidFill>
                <a:schemeClr val="accent1">
                  <a:lumMod val="75000"/>
                </a:schemeClr>
              </a:solidFill>
            </a:ln>
          </p:spPr>
        </p:pic>
        <p:sp>
          <p:nvSpPr>
            <p:cNvPr id="30" name="Rectangle 29"/>
            <p:cNvSpPr/>
            <p:nvPr/>
          </p:nvSpPr>
          <p:spPr bwMode="auto">
            <a:xfrm>
              <a:off x="9232597" y="6477799"/>
              <a:ext cx="351045" cy="1167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040" b="1" kern="0" dirty="0">
                <a:solidFill>
                  <a:srgbClr val="FFFFFF"/>
                </a:solidFill>
                <a:latin typeface="Segoe UI Light"/>
                <a:ea typeface="Segoe UI" pitchFamily="34" charset="0"/>
                <a:cs typeface="Segoe UI" pitchFamily="34" charset="0"/>
              </a:endParaRPr>
            </a:p>
          </p:txBody>
        </p:sp>
      </p:grpSp>
      <p:grpSp>
        <p:nvGrpSpPr>
          <p:cNvPr id="27" name="Group 26"/>
          <p:cNvGrpSpPr/>
          <p:nvPr/>
        </p:nvGrpSpPr>
        <p:grpSpPr>
          <a:xfrm>
            <a:off x="4865198" y="1392877"/>
            <a:ext cx="7134416" cy="4663017"/>
            <a:chOff x="12559461" y="878481"/>
            <a:chExt cx="6995160" cy="4572000"/>
          </a:xfrm>
        </p:grpSpPr>
        <p:pic>
          <p:nvPicPr>
            <p:cNvPr id="10" name="Picture 9"/>
            <p:cNvPicPr>
              <a:picLocks/>
            </p:cNvPicPr>
            <p:nvPr/>
          </p:nvPicPr>
          <p:blipFill>
            <a:blip r:embed="rId7"/>
            <a:stretch>
              <a:fillRect/>
            </a:stretch>
          </p:blipFill>
          <p:spPr>
            <a:xfrm>
              <a:off x="12559461" y="878481"/>
              <a:ext cx="6995160" cy="4572000"/>
            </a:xfrm>
            <a:prstGeom prst="rect">
              <a:avLst/>
            </a:prstGeom>
            <a:ln>
              <a:solidFill>
                <a:schemeClr val="accent1">
                  <a:lumMod val="75000"/>
                </a:schemeClr>
              </a:solidFill>
            </a:ln>
          </p:spPr>
        </p:pic>
        <p:sp>
          <p:nvSpPr>
            <p:cNvPr id="21" name="Rectangle 20"/>
            <p:cNvSpPr/>
            <p:nvPr/>
          </p:nvSpPr>
          <p:spPr bwMode="auto">
            <a:xfrm>
              <a:off x="13834303" y="3508705"/>
              <a:ext cx="351045" cy="1167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040" b="1" kern="0" dirty="0">
                <a:solidFill>
                  <a:srgbClr val="FFFFFF"/>
                </a:solidFill>
                <a:latin typeface="Segoe UI Light"/>
                <a:ea typeface="Segoe UI" pitchFamily="34" charset="0"/>
                <a:cs typeface="Segoe UI" pitchFamily="34" charset="0"/>
              </a:endParaRPr>
            </a:p>
          </p:txBody>
        </p:sp>
      </p:grpSp>
      <p:grpSp>
        <p:nvGrpSpPr>
          <p:cNvPr id="25" name="Group 24"/>
          <p:cNvGrpSpPr/>
          <p:nvPr/>
        </p:nvGrpSpPr>
        <p:grpSpPr>
          <a:xfrm>
            <a:off x="4865198" y="1392877"/>
            <a:ext cx="7134416" cy="4663017"/>
            <a:chOff x="6919559" y="140026"/>
            <a:chExt cx="6995160" cy="4572000"/>
          </a:xfrm>
        </p:grpSpPr>
        <p:pic>
          <p:nvPicPr>
            <p:cNvPr id="11" name="Picture 10"/>
            <p:cNvPicPr>
              <a:picLocks/>
            </p:cNvPicPr>
            <p:nvPr/>
          </p:nvPicPr>
          <p:blipFill>
            <a:blip r:embed="rId8"/>
            <a:stretch>
              <a:fillRect/>
            </a:stretch>
          </p:blipFill>
          <p:spPr>
            <a:xfrm>
              <a:off x="6919559" y="140026"/>
              <a:ext cx="6995160" cy="4572000"/>
            </a:xfrm>
            <a:prstGeom prst="rect">
              <a:avLst/>
            </a:prstGeom>
            <a:ln>
              <a:solidFill>
                <a:schemeClr val="accent1">
                  <a:lumMod val="75000"/>
                </a:schemeClr>
              </a:solidFill>
            </a:ln>
          </p:spPr>
        </p:pic>
        <p:sp>
          <p:nvSpPr>
            <p:cNvPr id="20" name="Rectangle 19"/>
            <p:cNvSpPr/>
            <p:nvPr/>
          </p:nvSpPr>
          <p:spPr bwMode="auto">
            <a:xfrm>
              <a:off x="8168573" y="2779515"/>
              <a:ext cx="351045" cy="1167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040" b="1" kern="0" dirty="0">
                <a:solidFill>
                  <a:srgbClr val="FFFFFF"/>
                </a:solidFill>
                <a:latin typeface="Segoe UI Light"/>
                <a:ea typeface="Segoe UI" pitchFamily="34" charset="0"/>
                <a:cs typeface="Segoe UI" pitchFamily="34" charset="0"/>
              </a:endParaRPr>
            </a:p>
          </p:txBody>
        </p:sp>
      </p:grpSp>
      <p:grpSp>
        <p:nvGrpSpPr>
          <p:cNvPr id="26" name="Group 25"/>
          <p:cNvGrpSpPr/>
          <p:nvPr/>
        </p:nvGrpSpPr>
        <p:grpSpPr>
          <a:xfrm>
            <a:off x="4865198" y="1290567"/>
            <a:ext cx="7134416" cy="4663017"/>
            <a:chOff x="11363693" y="1446476"/>
            <a:chExt cx="6995160" cy="4572000"/>
          </a:xfrm>
        </p:grpSpPr>
        <p:pic>
          <p:nvPicPr>
            <p:cNvPr id="12" name="Picture 11"/>
            <p:cNvPicPr>
              <a:picLocks/>
            </p:cNvPicPr>
            <p:nvPr/>
          </p:nvPicPr>
          <p:blipFill>
            <a:blip r:embed="rId9"/>
            <a:stretch>
              <a:fillRect/>
            </a:stretch>
          </p:blipFill>
          <p:spPr>
            <a:xfrm>
              <a:off x="11363693" y="1446476"/>
              <a:ext cx="6995160" cy="4572000"/>
            </a:xfrm>
            <a:prstGeom prst="rect">
              <a:avLst/>
            </a:prstGeom>
            <a:ln>
              <a:solidFill>
                <a:schemeClr val="accent1">
                  <a:lumMod val="75000"/>
                </a:schemeClr>
              </a:solidFill>
            </a:ln>
          </p:spPr>
        </p:pic>
        <p:sp>
          <p:nvSpPr>
            <p:cNvPr id="22" name="Rectangle 21"/>
            <p:cNvSpPr/>
            <p:nvPr/>
          </p:nvSpPr>
          <p:spPr bwMode="auto">
            <a:xfrm>
              <a:off x="12614110" y="4373274"/>
              <a:ext cx="351045" cy="1167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040" b="1" kern="0" dirty="0">
                <a:solidFill>
                  <a:srgbClr val="FFFFFF"/>
                </a:solidFill>
                <a:latin typeface="Segoe UI Light"/>
                <a:ea typeface="Segoe UI" pitchFamily="34" charset="0"/>
                <a:cs typeface="Segoe UI" pitchFamily="34" charset="0"/>
              </a:endParaRPr>
            </a:p>
          </p:txBody>
        </p:sp>
      </p:grpSp>
      <p:sp>
        <p:nvSpPr>
          <p:cNvPr id="4" name="Rectangle 3"/>
          <p:cNvSpPr/>
          <p:nvPr/>
        </p:nvSpPr>
        <p:spPr bwMode="auto">
          <a:xfrm>
            <a:off x="5084101" y="4891628"/>
            <a:ext cx="491509" cy="225464"/>
          </a:xfrm>
          <a:prstGeom prst="rect">
            <a:avLst/>
          </a:prstGeom>
          <a:noFill/>
          <a:ln w="285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040" b="1" kern="0" dirty="0">
              <a:solidFill>
                <a:srgbClr val="FFFFFF"/>
              </a:solidFill>
              <a:latin typeface="Segoe UI Light"/>
              <a:ea typeface="Segoe UI" pitchFamily="34" charset="0"/>
              <a:cs typeface="Segoe UI" pitchFamily="34" charset="0"/>
            </a:endParaRPr>
          </a:p>
        </p:txBody>
      </p:sp>
      <p:sp>
        <p:nvSpPr>
          <p:cNvPr id="15" name="Rectangle 14"/>
          <p:cNvSpPr/>
          <p:nvPr/>
        </p:nvSpPr>
        <p:spPr bwMode="auto">
          <a:xfrm>
            <a:off x="5102806" y="3003910"/>
            <a:ext cx="797256" cy="183689"/>
          </a:xfrm>
          <a:prstGeom prst="rect">
            <a:avLst/>
          </a:prstGeom>
          <a:noFill/>
          <a:ln w="285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040" b="1" kern="0" dirty="0">
              <a:solidFill>
                <a:srgbClr val="FFFFFF"/>
              </a:solidFill>
              <a:latin typeface="Segoe UI Light"/>
              <a:ea typeface="Segoe UI" pitchFamily="34" charset="0"/>
              <a:cs typeface="Segoe UI" pitchFamily="34" charset="0"/>
            </a:endParaRPr>
          </a:p>
        </p:txBody>
      </p:sp>
      <p:sp>
        <p:nvSpPr>
          <p:cNvPr id="33" name="Text Placeholder 1"/>
          <p:cNvSpPr txBox="1">
            <a:spLocks/>
          </p:cNvSpPr>
          <p:nvPr/>
        </p:nvSpPr>
        <p:spPr>
          <a:xfrm>
            <a:off x="275481" y="1290567"/>
            <a:ext cx="4034263" cy="4422902"/>
          </a:xfrm>
          <a:prstGeom prst="rect">
            <a:avLst/>
          </a:prstGeom>
        </p:spPr>
        <p:txBody>
          <a:bodyPr lIns="186521" tIns="93260" rIns="186521" bIns="93260"/>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403154" indent="-288198" defTabSz="932597" fontAlgn="auto">
              <a:lnSpc>
                <a:spcPct val="100000"/>
              </a:lnSpc>
              <a:spcBef>
                <a:spcPts val="612"/>
              </a:spcBef>
              <a:spcAft>
                <a:spcPts val="612"/>
              </a:spcAft>
              <a:buClr>
                <a:srgbClr val="50B347"/>
              </a:buClr>
              <a:buSzPct val="100000"/>
              <a:buBlip>
                <a:blip r:embed="rId10"/>
              </a:buBlip>
              <a:defRPr/>
            </a:pPr>
            <a:r>
              <a:rPr lang="en-US" sz="2448" dirty="0">
                <a:solidFill>
                  <a:srgbClr val="505050"/>
                </a:solidFill>
                <a:latin typeface="Segoe UI"/>
                <a:cs typeface="+mn-cs"/>
              </a:rPr>
              <a:t>After a job is submitted the progress of the execution of the job as it goes through the different stages is shown and updated continuously</a:t>
            </a:r>
          </a:p>
          <a:p>
            <a:pPr marL="403154" indent="-288198" defTabSz="932597" fontAlgn="auto">
              <a:lnSpc>
                <a:spcPct val="100000"/>
              </a:lnSpc>
              <a:spcBef>
                <a:spcPts val="612"/>
              </a:spcBef>
              <a:spcAft>
                <a:spcPts val="612"/>
              </a:spcAft>
              <a:buClr>
                <a:srgbClr val="50B347"/>
              </a:buClr>
              <a:buSzPct val="100000"/>
              <a:buBlip>
                <a:blip r:embed="rId10"/>
              </a:buBlip>
              <a:defRPr/>
            </a:pPr>
            <a:r>
              <a:rPr lang="en-US" sz="2448" dirty="0">
                <a:solidFill>
                  <a:srgbClr val="505050"/>
                </a:solidFill>
                <a:latin typeface="Segoe UI"/>
                <a:cs typeface="+mn-cs"/>
              </a:rPr>
              <a:t>Important stats about the job are also displayed and updated continuously </a:t>
            </a:r>
          </a:p>
        </p:txBody>
      </p:sp>
      <p:sp>
        <p:nvSpPr>
          <p:cNvPr id="34" name="Right Arrow 33"/>
          <p:cNvSpPr/>
          <p:nvPr/>
        </p:nvSpPr>
        <p:spPr bwMode="auto">
          <a:xfrm>
            <a:off x="4212307" y="2953650"/>
            <a:ext cx="544019" cy="268308"/>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040" b="1" kern="0" dirty="0">
              <a:solidFill>
                <a:srgbClr val="FFFFFF"/>
              </a:solidFill>
              <a:latin typeface="Segoe UI Light"/>
              <a:ea typeface="Segoe UI" pitchFamily="34" charset="0"/>
              <a:cs typeface="Segoe UI" pitchFamily="34" charset="0"/>
            </a:endParaRPr>
          </a:p>
        </p:txBody>
      </p:sp>
      <p:sp>
        <p:nvSpPr>
          <p:cNvPr id="35" name="Right Arrow 34"/>
          <p:cNvSpPr/>
          <p:nvPr/>
        </p:nvSpPr>
        <p:spPr bwMode="auto">
          <a:xfrm>
            <a:off x="4201296" y="4870205"/>
            <a:ext cx="544019" cy="268308"/>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040" b="1" kern="0" dirty="0">
              <a:solidFill>
                <a:srgbClr val="FFFFFF"/>
              </a:solidFill>
              <a:latin typeface="Segoe UI Light"/>
              <a:ea typeface="Segoe UI" pitchFamily="34" charset="0"/>
              <a:cs typeface="Segoe UI" pitchFamily="34" charset="0"/>
            </a:endParaRPr>
          </a:p>
        </p:txBody>
      </p:sp>
      <p:sp>
        <p:nvSpPr>
          <p:cNvPr id="3" name="Slide Number Placeholder 2"/>
          <p:cNvSpPr>
            <a:spLocks noGrp="1"/>
          </p:cNvSpPr>
          <p:nvPr>
            <p:ph type="sldNum" sz="quarter" idx="4"/>
          </p:nvPr>
        </p:nvSpPr>
        <p:spPr/>
        <p:txBody>
          <a:bodyPr/>
          <a:lstStyle/>
          <a:p>
            <a:pPr defTabSz="932597">
              <a:defRPr/>
            </a:pPr>
            <a:fld id="{75FAD755-3BD0-2447-A9DF-109DAABEFD99}" type="slidenum">
              <a:rPr lang="en-US" sz="1836" kern="0">
                <a:solidFill>
                  <a:sysClr val="windowText" lastClr="000000"/>
                </a:solidFill>
                <a:latin typeface="Segoe UI"/>
              </a:rPr>
              <a:pPr defTabSz="932597">
                <a:defRPr/>
              </a:pPr>
              <a:t>17</a:t>
            </a:fld>
            <a:endParaRPr lang="en-US" sz="1836" kern="0" dirty="0">
              <a:solidFill>
                <a:sysClr val="windowText" lastClr="000000"/>
              </a:solidFill>
              <a:latin typeface="Segoe UI"/>
            </a:endParaRPr>
          </a:p>
        </p:txBody>
      </p:sp>
    </p:spTree>
    <p:extLst>
      <p:ext uri="{BB962C8B-B14F-4D97-AF65-F5344CB8AC3E}">
        <p14:creationId xmlns:p14="http://schemas.microsoft.com/office/powerpoint/2010/main" val="388573513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3">
                                            <p:txEl>
                                              <p:pRg st="0" end="0"/>
                                            </p:txEl>
                                          </p:spTgt>
                                        </p:tgtEl>
                                        <p:attrNameLst>
                                          <p:attrName>style.visibility</p:attrName>
                                        </p:attrNameLst>
                                      </p:cBhvr>
                                      <p:to>
                                        <p:strVal val="visible"/>
                                      </p:to>
                                    </p:set>
                                    <p:animEffect transition="in" filter="fade">
                                      <p:cBhvr>
                                        <p:cTn id="11" dur="500"/>
                                        <p:tgtEl>
                                          <p:spTgt spid="33">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34"/>
                                        </p:tgtEl>
                                        <p:attrNameLst>
                                          <p:attrName>style.visibility</p:attrName>
                                        </p:attrNameLst>
                                      </p:cBhvr>
                                      <p:to>
                                        <p:strVal val="visible"/>
                                      </p:to>
                                    </p:set>
                                    <p:animEffect transition="in" filter="wipe(left)">
                                      <p:cBhvr>
                                        <p:cTn id="15" dur="500"/>
                                        <p:tgtEl>
                                          <p:spTgt spid="3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1"/>
                                        </p:tgtEl>
                                        <p:attrNameLst>
                                          <p:attrName>style.visibility</p:attrName>
                                        </p:attrNameLst>
                                      </p:cBhvr>
                                      <p:to>
                                        <p:strVal val="visible"/>
                                      </p:to>
                                    </p:set>
                                    <p:animEffect transition="in" filter="fade">
                                      <p:cBhvr>
                                        <p:cTn id="20" dur="500"/>
                                        <p:tgtEl>
                                          <p:spTgt spid="31"/>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7"/>
                                        </p:tgtEl>
                                        <p:attrNameLst>
                                          <p:attrName>style.visibility</p:attrName>
                                        </p:attrNameLst>
                                      </p:cBhvr>
                                      <p:to>
                                        <p:strVal val="visible"/>
                                      </p:to>
                                    </p:set>
                                    <p:animEffect transition="in" filter="fade">
                                      <p:cBhvr>
                                        <p:cTn id="25" dur="500"/>
                                        <p:tgtEl>
                                          <p:spTgt spid="27"/>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25"/>
                                        </p:tgtEl>
                                        <p:attrNameLst>
                                          <p:attrName>style.visibility</p:attrName>
                                        </p:attrNameLst>
                                      </p:cBhvr>
                                      <p:to>
                                        <p:strVal val="visible"/>
                                      </p:to>
                                    </p:set>
                                    <p:animEffect transition="in" filter="fade">
                                      <p:cBhvr>
                                        <p:cTn id="30" dur="500"/>
                                        <p:tgtEl>
                                          <p:spTgt spid="25"/>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fade">
                                      <p:cBhvr>
                                        <p:cTn id="35" dur="500"/>
                                        <p:tgtEl>
                                          <p:spTgt spid="2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26"/>
                                        </p:tgtEl>
                                        <p:attrNameLst>
                                          <p:attrName>style.visibility</p:attrName>
                                        </p:attrNameLst>
                                      </p:cBhvr>
                                      <p:to>
                                        <p:strVal val="visible"/>
                                      </p:to>
                                    </p:set>
                                    <p:animEffect transition="in" filter="fade">
                                      <p:cBhvr>
                                        <p:cTn id="40" dur="500"/>
                                        <p:tgtEl>
                                          <p:spTgt spid="26"/>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8" fill="hold" grpId="0" nodeType="clickEffect">
                                  <p:stCondLst>
                                    <p:cond delay="0"/>
                                  </p:stCondLst>
                                  <p:childTnLst>
                                    <p:set>
                                      <p:cBhvr>
                                        <p:cTn id="44" dur="1" fill="hold">
                                          <p:stCondLst>
                                            <p:cond delay="0"/>
                                          </p:stCondLst>
                                        </p:cTn>
                                        <p:tgtEl>
                                          <p:spTgt spid="15"/>
                                        </p:tgtEl>
                                        <p:attrNameLst>
                                          <p:attrName>style.visibility</p:attrName>
                                        </p:attrNameLst>
                                      </p:cBhvr>
                                      <p:to>
                                        <p:strVal val="visible"/>
                                      </p:to>
                                    </p:set>
                                    <p:animEffect transition="in" filter="wipe(left)">
                                      <p:cBhvr>
                                        <p:cTn id="45" dur="500"/>
                                        <p:tgtEl>
                                          <p:spTgt spid="15"/>
                                        </p:tgtEl>
                                      </p:cBhvr>
                                    </p:animEffect>
                                  </p:childTnLst>
                                </p:cTn>
                              </p:par>
                            </p:childTnLst>
                          </p:cTn>
                        </p:par>
                        <p:par>
                          <p:cTn id="46" fill="hold">
                            <p:stCondLst>
                              <p:cond delay="500"/>
                            </p:stCondLst>
                            <p:childTnLst>
                              <p:par>
                                <p:cTn id="47" presetID="10" presetClass="entr" presetSubtype="0" fill="hold" nodeType="afterEffect">
                                  <p:stCondLst>
                                    <p:cond delay="0"/>
                                  </p:stCondLst>
                                  <p:childTnLst>
                                    <p:set>
                                      <p:cBhvr>
                                        <p:cTn id="48" dur="1" fill="hold">
                                          <p:stCondLst>
                                            <p:cond delay="0"/>
                                          </p:stCondLst>
                                        </p:cTn>
                                        <p:tgtEl>
                                          <p:spTgt spid="33">
                                            <p:txEl>
                                              <p:pRg st="1" end="1"/>
                                            </p:txEl>
                                          </p:spTgt>
                                        </p:tgtEl>
                                        <p:attrNameLst>
                                          <p:attrName>style.visibility</p:attrName>
                                        </p:attrNameLst>
                                      </p:cBhvr>
                                      <p:to>
                                        <p:strVal val="visible"/>
                                      </p:to>
                                    </p:set>
                                    <p:animEffect transition="in" filter="fade">
                                      <p:cBhvr>
                                        <p:cTn id="49" dur="500"/>
                                        <p:tgtEl>
                                          <p:spTgt spid="33">
                                            <p:txEl>
                                              <p:pRg st="1" end="1"/>
                                            </p:txEl>
                                          </p:spTgt>
                                        </p:tgtEl>
                                      </p:cBhvr>
                                    </p:animEffect>
                                  </p:childTnLst>
                                </p:cTn>
                              </p:par>
                            </p:childTnLst>
                          </p:cTn>
                        </p:par>
                        <p:par>
                          <p:cTn id="50" fill="hold">
                            <p:stCondLst>
                              <p:cond delay="1000"/>
                            </p:stCondLst>
                            <p:childTnLst>
                              <p:par>
                                <p:cTn id="51" presetID="22" presetClass="entr" presetSubtype="8" fill="hold" grpId="0" nodeType="afterEffect">
                                  <p:stCondLst>
                                    <p:cond delay="0"/>
                                  </p:stCondLst>
                                  <p:childTnLst>
                                    <p:set>
                                      <p:cBhvr>
                                        <p:cTn id="52" dur="1" fill="hold">
                                          <p:stCondLst>
                                            <p:cond delay="0"/>
                                          </p:stCondLst>
                                        </p:cTn>
                                        <p:tgtEl>
                                          <p:spTgt spid="35"/>
                                        </p:tgtEl>
                                        <p:attrNameLst>
                                          <p:attrName>style.visibility</p:attrName>
                                        </p:attrNameLst>
                                      </p:cBhvr>
                                      <p:to>
                                        <p:strVal val="visible"/>
                                      </p:to>
                                    </p:set>
                                    <p:animEffect transition="in" filter="wipe(left)">
                                      <p:cBhvr>
                                        <p:cTn id="53" dur="500"/>
                                        <p:tgtEl>
                                          <p:spTgt spid="35"/>
                                        </p:tgtEl>
                                      </p:cBhvr>
                                    </p:animEffect>
                                  </p:childTnLst>
                                </p:cTn>
                              </p:par>
                              <p:par>
                                <p:cTn id="54" presetID="22" presetClass="entr" presetSubtype="8" fill="hold" grpId="0" nodeType="withEffect">
                                  <p:stCondLst>
                                    <p:cond delay="0"/>
                                  </p:stCondLst>
                                  <p:childTnLst>
                                    <p:set>
                                      <p:cBhvr>
                                        <p:cTn id="55" dur="1" fill="hold">
                                          <p:stCondLst>
                                            <p:cond delay="0"/>
                                          </p:stCondLst>
                                        </p:cTn>
                                        <p:tgtEl>
                                          <p:spTgt spid="4"/>
                                        </p:tgtEl>
                                        <p:attrNameLst>
                                          <p:attrName>style.visibility</p:attrName>
                                        </p:attrNameLst>
                                      </p:cBhvr>
                                      <p:to>
                                        <p:strVal val="visible"/>
                                      </p:to>
                                    </p:set>
                                    <p:animEffect transition="in" filter="wipe(left)">
                                      <p:cBhvr>
                                        <p:cTn id="56" dur="500"/>
                                        <p:tgtEl>
                                          <p:spTgt spid="4"/>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6"/>
                                        </p:tgtEl>
                                        <p:attrNameLst>
                                          <p:attrName>style.visibility</p:attrName>
                                        </p:attrNameLst>
                                      </p:cBhvr>
                                      <p:to>
                                        <p:strVal val="visible"/>
                                      </p:to>
                                    </p:set>
                                    <p:animEffect transition="in" filter="fade">
                                      <p:cBhvr>
                                        <p:cTn id="6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5" grpId="0" animBg="1"/>
      <p:bldP spid="34" grpId="0" animBg="1"/>
      <p:bldP spid="3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482" y="2928039"/>
            <a:ext cx="11885514" cy="1138448"/>
          </a:xfrm>
        </p:spPr>
        <p:txBody>
          <a:bodyPr/>
          <a:lstStyle/>
          <a:p>
            <a:pPr algn="ctr"/>
            <a:r>
              <a:rPr lang="en-US" dirty="0"/>
              <a:t>Visual Studio integration</a:t>
            </a:r>
          </a:p>
        </p:txBody>
      </p:sp>
    </p:spTree>
    <p:extLst>
      <p:ext uri="{BB962C8B-B14F-4D97-AF65-F5344CB8AC3E}">
        <p14:creationId xmlns:p14="http://schemas.microsoft.com/office/powerpoint/2010/main" val="38301803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nvPr>
        </p:nvGraphicFramePr>
        <p:xfrm>
          <a:off x="2501" y="1619"/>
          <a:ext cx="1619" cy="1619"/>
        </p:xfrm>
        <a:graphic>
          <a:graphicData uri="http://schemas.openxmlformats.org/presentationml/2006/ole">
            <mc:AlternateContent xmlns:mc="http://schemas.openxmlformats.org/markup-compatibility/2006">
              <mc:Choice xmlns:v="urn:schemas-microsoft-com:vml" Requires="v">
                <p:oleObj spid="_x0000_s4102" name="think-cell Slide" r:id="rId5" imgW="377" imgH="377" progId="TCLayout.ActiveDocument.1">
                  <p:embed/>
                </p:oleObj>
              </mc:Choice>
              <mc:Fallback>
                <p:oleObj name="think-cell Slide" r:id="rId5" imgW="377" imgH="377" progId="TCLayout.ActiveDocument.1">
                  <p:embed/>
                  <p:pic>
                    <p:nvPicPr>
                      <p:cNvPr id="13" name="Object 12" hidden="1"/>
                      <p:cNvPicPr/>
                      <p:nvPr/>
                    </p:nvPicPr>
                    <p:blipFill>
                      <a:blip r:embed="rId6"/>
                      <a:stretch>
                        <a:fillRect/>
                      </a:stretch>
                    </p:blipFill>
                    <p:spPr>
                      <a:xfrm>
                        <a:off x="2501" y="1619"/>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What can you do with Visual Studio?</a:t>
            </a:r>
          </a:p>
        </p:txBody>
      </p:sp>
      <p:grpSp>
        <p:nvGrpSpPr>
          <p:cNvPr id="702" name="Group 701"/>
          <p:cNvGrpSpPr/>
          <p:nvPr/>
        </p:nvGrpSpPr>
        <p:grpSpPr>
          <a:xfrm>
            <a:off x="444516" y="1287188"/>
            <a:ext cx="11547442" cy="5202177"/>
            <a:chOff x="434975" y="1262063"/>
            <a:chExt cx="11322049" cy="5100637"/>
          </a:xfrm>
        </p:grpSpPr>
        <p:sp>
          <p:nvSpPr>
            <p:cNvPr id="154" name="Rectangle 153"/>
            <p:cNvSpPr/>
            <p:nvPr/>
          </p:nvSpPr>
          <p:spPr bwMode="auto">
            <a:xfrm>
              <a:off x="2324099" y="3836853"/>
              <a:ext cx="9432925" cy="25258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GB" sz="2040" b="1" kern="0" dirty="0">
                <a:solidFill>
                  <a:srgbClr val="FFFFFF"/>
                </a:solidFill>
                <a:latin typeface="Segoe UI Light"/>
                <a:ea typeface="Segoe UI" pitchFamily="34" charset="0"/>
                <a:cs typeface="Segoe UI" pitchFamily="34" charset="0"/>
              </a:endParaRPr>
            </a:p>
          </p:txBody>
        </p:sp>
        <p:sp>
          <p:nvSpPr>
            <p:cNvPr id="190" name="Rectangle 189"/>
            <p:cNvSpPr/>
            <p:nvPr/>
          </p:nvSpPr>
          <p:spPr bwMode="auto">
            <a:xfrm>
              <a:off x="2324099" y="1262063"/>
              <a:ext cx="9432925" cy="25258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GB" sz="2040" b="1" kern="0" dirty="0">
                <a:solidFill>
                  <a:srgbClr val="FFFFFF"/>
                </a:solidFill>
                <a:latin typeface="Segoe UI Light"/>
                <a:ea typeface="Segoe UI" pitchFamily="34" charset="0"/>
                <a:cs typeface="Segoe UI" pitchFamily="34" charset="0"/>
              </a:endParaRPr>
            </a:p>
          </p:txBody>
        </p:sp>
        <p:sp>
          <p:nvSpPr>
            <p:cNvPr id="11" name="Rectangle 10"/>
            <p:cNvSpPr/>
            <p:nvPr/>
          </p:nvSpPr>
          <p:spPr bwMode="auto">
            <a:xfrm>
              <a:off x="434975" y="1262063"/>
              <a:ext cx="1889125" cy="5100637"/>
            </a:xfrm>
            <a:prstGeom prst="rect">
              <a:avLst/>
            </a:prstGeom>
            <a:solidFill>
              <a:srgbClr val="002050"/>
            </a:solidFill>
            <a:ln w="3175">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652822" rIns="139891" bIns="93260"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3264" kern="0" dirty="0">
                <a:solidFill>
                  <a:srgbClr val="FFFFFF"/>
                </a:solidFill>
                <a:latin typeface="Segoe UI Light"/>
                <a:ea typeface="Segoe UI" pitchFamily="34" charset="0"/>
                <a:cs typeface="Segoe UI" pitchFamily="34" charset="0"/>
              </a:endParaRPr>
            </a:p>
          </p:txBody>
        </p:sp>
      </p:grpSp>
      <p:pic>
        <p:nvPicPr>
          <p:cNvPr id="59" name="Picture 2" descr="http://www.tanchunsiong.com/wp-content/uploads/2012/11/visual-studio-logo.png"/>
          <p:cNvPicPr>
            <a:picLocks noChangeAspect="1" noChangeArrowheads="1"/>
          </p:cNvPicPr>
          <p:nvPr/>
        </p:nvPicPr>
        <p:blipFill rotWithShape="1">
          <a:blip r:embed="rId7" cstate="print">
            <a:biLevel thresh="50000"/>
            <a:extLst>
              <a:ext uri="{28A0092B-C50C-407E-A947-70E740481C1C}">
                <a14:useLocalDpi xmlns:a14="http://schemas.microsoft.com/office/drawing/2010/main" val="0"/>
              </a:ext>
            </a:extLst>
          </a:blip>
          <a:stretch/>
        </p:blipFill>
        <p:spPr bwMode="auto">
          <a:xfrm>
            <a:off x="545091" y="3074321"/>
            <a:ext cx="1725582" cy="1627909"/>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708" name="Group 707"/>
          <p:cNvGrpSpPr/>
          <p:nvPr/>
        </p:nvGrpSpPr>
        <p:grpSpPr>
          <a:xfrm>
            <a:off x="2371246" y="4037146"/>
            <a:ext cx="2473206" cy="2426313"/>
            <a:chOff x="2324098" y="3958346"/>
            <a:chExt cx="2424932" cy="2378954"/>
          </a:xfrm>
        </p:grpSpPr>
        <p:sp>
          <p:nvSpPr>
            <p:cNvPr id="186" name="TextBox 185"/>
            <p:cNvSpPr txBox="1"/>
            <p:nvPr/>
          </p:nvSpPr>
          <p:spPr>
            <a:xfrm>
              <a:off x="2324098" y="5044638"/>
              <a:ext cx="2424932" cy="1292662"/>
            </a:xfrm>
            <a:prstGeom prst="rect">
              <a:avLst/>
            </a:prstGeom>
            <a:noFill/>
          </p:spPr>
          <p:txBody>
            <a:bodyPr wrap="square" lIns="93260" tIns="93260" rIns="93260" bIns="93260" rtlCol="0">
              <a:noAutofit/>
            </a:bodyPr>
            <a:lstStyle/>
            <a:p>
              <a:pPr algn="ctr" defTabSz="932597">
                <a:defRPr/>
              </a:pPr>
              <a:r>
                <a:rPr lang="en-US" sz="2040" kern="0" dirty="0">
                  <a:solidFill>
                    <a:srgbClr val="505050"/>
                  </a:solidFill>
                  <a:latin typeface="Segoe UI Semibold" panose="020B0702040204020203" pitchFamily="34" charset="0"/>
                </a:rPr>
                <a:t>Visualize and replay progress</a:t>
              </a:r>
              <a:br>
                <a:rPr lang="en-US" sz="2040" kern="0" dirty="0">
                  <a:solidFill>
                    <a:srgbClr val="505050"/>
                  </a:solidFill>
                  <a:latin typeface="Segoe UI Semibold" panose="020B0702040204020203" pitchFamily="34" charset="0"/>
                </a:rPr>
              </a:br>
              <a:r>
                <a:rPr lang="en-US" sz="2040" kern="0" dirty="0">
                  <a:solidFill>
                    <a:srgbClr val="505050"/>
                  </a:solidFill>
                  <a:latin typeface="Segoe UI Semibold" panose="020B0702040204020203" pitchFamily="34" charset="0"/>
                </a:rPr>
                <a:t>of job</a:t>
              </a:r>
            </a:p>
          </p:txBody>
        </p:sp>
        <p:grpSp>
          <p:nvGrpSpPr>
            <p:cNvPr id="68" name="Group 67"/>
            <p:cNvGrpSpPr/>
            <p:nvPr/>
          </p:nvGrpSpPr>
          <p:grpSpPr>
            <a:xfrm>
              <a:off x="3093651" y="3958346"/>
              <a:ext cx="885826" cy="1063625"/>
              <a:chOff x="6004292" y="3702662"/>
              <a:chExt cx="885826" cy="1063625"/>
            </a:xfrm>
          </p:grpSpPr>
          <p:sp>
            <p:nvSpPr>
              <p:cNvPr id="69" name="Oval 68"/>
              <p:cNvSpPr>
                <a:spLocks noChangeArrowheads="1"/>
              </p:cNvSpPr>
              <p:nvPr/>
            </p:nvSpPr>
            <p:spPr bwMode="auto">
              <a:xfrm>
                <a:off x="6575792" y="4134462"/>
                <a:ext cx="69850" cy="698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70" name="Freeform 69"/>
              <p:cNvSpPr>
                <a:spLocks/>
              </p:cNvSpPr>
              <p:nvPr/>
            </p:nvSpPr>
            <p:spPr bwMode="auto">
              <a:xfrm>
                <a:off x="6223367" y="3748699"/>
                <a:ext cx="620713" cy="285750"/>
              </a:xfrm>
              <a:custGeom>
                <a:avLst/>
                <a:gdLst>
                  <a:gd name="T0" fmla="*/ 0 w 391"/>
                  <a:gd name="T1" fmla="*/ 160 h 180"/>
                  <a:gd name="T2" fmla="*/ 8 w 391"/>
                  <a:gd name="T3" fmla="*/ 180 h 180"/>
                  <a:gd name="T4" fmla="*/ 391 w 391"/>
                  <a:gd name="T5" fmla="*/ 61 h 180"/>
                  <a:gd name="T6" fmla="*/ 367 w 391"/>
                  <a:gd name="T7" fmla="*/ 0 h 180"/>
                  <a:gd name="T8" fmla="*/ 0 w 391"/>
                  <a:gd name="T9" fmla="*/ 160 h 180"/>
                </a:gdLst>
                <a:ahLst/>
                <a:cxnLst>
                  <a:cxn ang="0">
                    <a:pos x="T0" y="T1"/>
                  </a:cxn>
                  <a:cxn ang="0">
                    <a:pos x="T2" y="T3"/>
                  </a:cxn>
                  <a:cxn ang="0">
                    <a:pos x="T4" y="T5"/>
                  </a:cxn>
                  <a:cxn ang="0">
                    <a:pos x="T6" y="T7"/>
                  </a:cxn>
                  <a:cxn ang="0">
                    <a:pos x="T8" y="T9"/>
                  </a:cxn>
                </a:cxnLst>
                <a:rect l="0" t="0" r="r" b="b"/>
                <a:pathLst>
                  <a:path w="391" h="180">
                    <a:moveTo>
                      <a:pt x="0" y="160"/>
                    </a:moveTo>
                    <a:lnTo>
                      <a:pt x="8" y="180"/>
                    </a:lnTo>
                    <a:lnTo>
                      <a:pt x="391" y="61"/>
                    </a:lnTo>
                    <a:lnTo>
                      <a:pt x="367" y="0"/>
                    </a:lnTo>
                    <a:lnTo>
                      <a:pt x="0" y="160"/>
                    </a:ln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71" name="Freeform 70"/>
              <p:cNvSpPr>
                <a:spLocks/>
              </p:cNvSpPr>
              <p:nvPr/>
            </p:nvSpPr>
            <p:spPr bwMode="auto">
              <a:xfrm>
                <a:off x="6223367" y="3748699"/>
                <a:ext cx="620713" cy="285750"/>
              </a:xfrm>
              <a:custGeom>
                <a:avLst/>
                <a:gdLst>
                  <a:gd name="T0" fmla="*/ 0 w 391"/>
                  <a:gd name="T1" fmla="*/ 160 h 180"/>
                  <a:gd name="T2" fmla="*/ 8 w 391"/>
                  <a:gd name="T3" fmla="*/ 180 h 180"/>
                  <a:gd name="T4" fmla="*/ 391 w 391"/>
                  <a:gd name="T5" fmla="*/ 61 h 180"/>
                  <a:gd name="T6" fmla="*/ 367 w 391"/>
                  <a:gd name="T7" fmla="*/ 0 h 180"/>
                  <a:gd name="T8" fmla="*/ 0 w 391"/>
                  <a:gd name="T9" fmla="*/ 160 h 180"/>
                </a:gdLst>
                <a:ahLst/>
                <a:cxnLst>
                  <a:cxn ang="0">
                    <a:pos x="T0" y="T1"/>
                  </a:cxn>
                  <a:cxn ang="0">
                    <a:pos x="T2" y="T3"/>
                  </a:cxn>
                  <a:cxn ang="0">
                    <a:pos x="T4" y="T5"/>
                  </a:cxn>
                  <a:cxn ang="0">
                    <a:pos x="T6" y="T7"/>
                  </a:cxn>
                  <a:cxn ang="0">
                    <a:pos x="T8" y="T9"/>
                  </a:cxn>
                </a:cxnLst>
                <a:rect l="0" t="0" r="r" b="b"/>
                <a:pathLst>
                  <a:path w="391" h="180">
                    <a:moveTo>
                      <a:pt x="0" y="160"/>
                    </a:moveTo>
                    <a:lnTo>
                      <a:pt x="8" y="180"/>
                    </a:lnTo>
                    <a:lnTo>
                      <a:pt x="391" y="61"/>
                    </a:lnTo>
                    <a:lnTo>
                      <a:pt x="367" y="0"/>
                    </a:lnTo>
                    <a:lnTo>
                      <a:pt x="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72" name="Freeform 71"/>
              <p:cNvSpPr>
                <a:spLocks/>
              </p:cNvSpPr>
              <p:nvPr/>
            </p:nvSpPr>
            <p:spPr bwMode="auto">
              <a:xfrm>
                <a:off x="6761530" y="3702662"/>
                <a:ext cx="128588" cy="188913"/>
              </a:xfrm>
              <a:custGeom>
                <a:avLst/>
                <a:gdLst>
                  <a:gd name="T0" fmla="*/ 0 w 81"/>
                  <a:gd name="T1" fmla="*/ 17 h 119"/>
                  <a:gd name="T2" fmla="*/ 40 w 81"/>
                  <a:gd name="T3" fmla="*/ 119 h 119"/>
                  <a:gd name="T4" fmla="*/ 81 w 81"/>
                  <a:gd name="T5" fmla="*/ 103 h 119"/>
                  <a:gd name="T6" fmla="*/ 41 w 81"/>
                  <a:gd name="T7" fmla="*/ 0 h 119"/>
                  <a:gd name="T8" fmla="*/ 0 w 81"/>
                  <a:gd name="T9" fmla="*/ 17 h 119"/>
                </a:gdLst>
                <a:ahLst/>
                <a:cxnLst>
                  <a:cxn ang="0">
                    <a:pos x="T0" y="T1"/>
                  </a:cxn>
                  <a:cxn ang="0">
                    <a:pos x="T2" y="T3"/>
                  </a:cxn>
                  <a:cxn ang="0">
                    <a:pos x="T4" y="T5"/>
                  </a:cxn>
                  <a:cxn ang="0">
                    <a:pos x="T6" y="T7"/>
                  </a:cxn>
                  <a:cxn ang="0">
                    <a:pos x="T8" y="T9"/>
                  </a:cxn>
                </a:cxnLst>
                <a:rect l="0" t="0" r="r" b="b"/>
                <a:pathLst>
                  <a:path w="81" h="119">
                    <a:moveTo>
                      <a:pt x="0" y="17"/>
                    </a:moveTo>
                    <a:lnTo>
                      <a:pt x="40" y="119"/>
                    </a:lnTo>
                    <a:lnTo>
                      <a:pt x="81" y="103"/>
                    </a:lnTo>
                    <a:lnTo>
                      <a:pt x="41" y="0"/>
                    </a:lnTo>
                    <a:lnTo>
                      <a:pt x="0" y="17"/>
                    </a:ln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73" name="Freeform 72"/>
              <p:cNvSpPr>
                <a:spLocks/>
              </p:cNvSpPr>
              <p:nvPr/>
            </p:nvSpPr>
            <p:spPr bwMode="auto">
              <a:xfrm>
                <a:off x="6761530" y="3702662"/>
                <a:ext cx="128588" cy="188913"/>
              </a:xfrm>
              <a:custGeom>
                <a:avLst/>
                <a:gdLst>
                  <a:gd name="T0" fmla="*/ 0 w 81"/>
                  <a:gd name="T1" fmla="*/ 17 h 119"/>
                  <a:gd name="T2" fmla="*/ 40 w 81"/>
                  <a:gd name="T3" fmla="*/ 119 h 119"/>
                  <a:gd name="T4" fmla="*/ 81 w 81"/>
                  <a:gd name="T5" fmla="*/ 103 h 119"/>
                  <a:gd name="T6" fmla="*/ 41 w 81"/>
                  <a:gd name="T7" fmla="*/ 0 h 119"/>
                  <a:gd name="T8" fmla="*/ 0 w 81"/>
                  <a:gd name="T9" fmla="*/ 17 h 119"/>
                </a:gdLst>
                <a:ahLst/>
                <a:cxnLst>
                  <a:cxn ang="0">
                    <a:pos x="T0" y="T1"/>
                  </a:cxn>
                  <a:cxn ang="0">
                    <a:pos x="T2" y="T3"/>
                  </a:cxn>
                  <a:cxn ang="0">
                    <a:pos x="T4" y="T5"/>
                  </a:cxn>
                  <a:cxn ang="0">
                    <a:pos x="T6" y="T7"/>
                  </a:cxn>
                  <a:cxn ang="0">
                    <a:pos x="T8" y="T9"/>
                  </a:cxn>
                </a:cxnLst>
                <a:rect l="0" t="0" r="r" b="b"/>
                <a:pathLst>
                  <a:path w="81" h="119">
                    <a:moveTo>
                      <a:pt x="0" y="17"/>
                    </a:moveTo>
                    <a:lnTo>
                      <a:pt x="40" y="119"/>
                    </a:lnTo>
                    <a:lnTo>
                      <a:pt x="81" y="103"/>
                    </a:lnTo>
                    <a:lnTo>
                      <a:pt x="41" y="0"/>
                    </a:lnTo>
                    <a:lnTo>
                      <a:pt x="0"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74" name="Freeform 73"/>
              <p:cNvSpPr>
                <a:spLocks/>
              </p:cNvSpPr>
              <p:nvPr/>
            </p:nvSpPr>
            <p:spPr bwMode="auto">
              <a:xfrm>
                <a:off x="6267817" y="3983649"/>
                <a:ext cx="333375" cy="436563"/>
              </a:xfrm>
              <a:custGeom>
                <a:avLst/>
                <a:gdLst>
                  <a:gd name="T0" fmla="*/ 0 w 448"/>
                  <a:gd name="T1" fmla="*/ 462 h 583"/>
                  <a:gd name="T2" fmla="*/ 0 w 448"/>
                  <a:gd name="T3" fmla="*/ 469 h 583"/>
                  <a:gd name="T4" fmla="*/ 0 w 448"/>
                  <a:gd name="T5" fmla="*/ 462 h 583"/>
                  <a:gd name="T6" fmla="*/ 1 w 448"/>
                  <a:gd name="T7" fmla="*/ 462 h 583"/>
                  <a:gd name="T8" fmla="*/ 6 w 448"/>
                  <a:gd name="T9" fmla="*/ 462 h 583"/>
                  <a:gd name="T10" fmla="*/ 29 w 448"/>
                  <a:gd name="T11" fmla="*/ 459 h 583"/>
                  <a:gd name="T12" fmla="*/ 105 w 448"/>
                  <a:gd name="T13" fmla="*/ 443 h 583"/>
                  <a:gd name="T14" fmla="*/ 277 w 448"/>
                  <a:gd name="T15" fmla="*/ 324 h 583"/>
                  <a:gd name="T16" fmla="*/ 327 w 448"/>
                  <a:gd name="T17" fmla="*/ 136 h 583"/>
                  <a:gd name="T18" fmla="*/ 316 w 448"/>
                  <a:gd name="T19" fmla="*/ 22 h 583"/>
                  <a:gd name="T20" fmla="*/ 435 w 448"/>
                  <a:gd name="T21" fmla="*/ 0 h 583"/>
                  <a:gd name="T22" fmla="*/ 448 w 448"/>
                  <a:gd name="T23" fmla="*/ 136 h 583"/>
                  <a:gd name="T24" fmla="*/ 377 w 448"/>
                  <a:gd name="T25" fmla="*/ 391 h 583"/>
                  <a:gd name="T26" fmla="*/ 221 w 448"/>
                  <a:gd name="T27" fmla="*/ 527 h 583"/>
                  <a:gd name="T28" fmla="*/ 1 w 448"/>
                  <a:gd name="T29" fmla="*/ 583 h 583"/>
                  <a:gd name="T30" fmla="*/ 0 w 448"/>
                  <a:gd name="T31" fmla="*/ 46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8" h="583">
                    <a:moveTo>
                      <a:pt x="0" y="462"/>
                    </a:moveTo>
                    <a:cubicBezTo>
                      <a:pt x="0" y="469"/>
                      <a:pt x="0" y="469"/>
                      <a:pt x="0" y="469"/>
                    </a:cubicBezTo>
                    <a:cubicBezTo>
                      <a:pt x="0" y="462"/>
                      <a:pt x="0" y="462"/>
                      <a:pt x="0" y="462"/>
                    </a:cubicBezTo>
                    <a:cubicBezTo>
                      <a:pt x="0" y="462"/>
                      <a:pt x="0" y="462"/>
                      <a:pt x="1" y="462"/>
                    </a:cubicBezTo>
                    <a:cubicBezTo>
                      <a:pt x="2" y="462"/>
                      <a:pt x="4" y="462"/>
                      <a:pt x="6" y="462"/>
                    </a:cubicBezTo>
                    <a:cubicBezTo>
                      <a:pt x="11" y="461"/>
                      <a:pt x="19" y="461"/>
                      <a:pt x="29" y="459"/>
                    </a:cubicBezTo>
                    <a:cubicBezTo>
                      <a:pt x="48" y="457"/>
                      <a:pt x="75" y="452"/>
                      <a:pt x="105" y="443"/>
                    </a:cubicBezTo>
                    <a:cubicBezTo>
                      <a:pt x="165" y="425"/>
                      <a:pt x="233" y="389"/>
                      <a:pt x="277" y="324"/>
                    </a:cubicBezTo>
                    <a:cubicBezTo>
                      <a:pt x="306" y="280"/>
                      <a:pt x="327" y="221"/>
                      <a:pt x="327" y="136"/>
                    </a:cubicBezTo>
                    <a:cubicBezTo>
                      <a:pt x="327" y="102"/>
                      <a:pt x="323" y="64"/>
                      <a:pt x="316" y="22"/>
                    </a:cubicBezTo>
                    <a:cubicBezTo>
                      <a:pt x="435" y="0"/>
                      <a:pt x="435" y="0"/>
                      <a:pt x="435" y="0"/>
                    </a:cubicBezTo>
                    <a:cubicBezTo>
                      <a:pt x="444" y="49"/>
                      <a:pt x="448" y="94"/>
                      <a:pt x="448" y="136"/>
                    </a:cubicBezTo>
                    <a:cubicBezTo>
                      <a:pt x="448" y="242"/>
                      <a:pt x="420" y="327"/>
                      <a:pt x="377" y="391"/>
                    </a:cubicBezTo>
                    <a:cubicBezTo>
                      <a:pt x="334" y="456"/>
                      <a:pt x="276" y="499"/>
                      <a:pt x="221" y="527"/>
                    </a:cubicBezTo>
                    <a:cubicBezTo>
                      <a:pt x="110" y="582"/>
                      <a:pt x="6" y="582"/>
                      <a:pt x="1" y="583"/>
                    </a:cubicBezTo>
                    <a:cubicBezTo>
                      <a:pt x="0" y="462"/>
                      <a:pt x="0" y="462"/>
                      <a:pt x="0" y="462"/>
                    </a:cubicBezTo>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75" name="Freeform 74"/>
              <p:cNvSpPr>
                <a:spLocks/>
              </p:cNvSpPr>
              <p:nvPr/>
            </p:nvSpPr>
            <p:spPr bwMode="auto">
              <a:xfrm>
                <a:off x="6361480" y="3983649"/>
                <a:ext cx="239713" cy="420688"/>
              </a:xfrm>
              <a:custGeom>
                <a:avLst/>
                <a:gdLst>
                  <a:gd name="T0" fmla="*/ 309 w 322"/>
                  <a:gd name="T1" fmla="*/ 0 h 562"/>
                  <a:gd name="T2" fmla="*/ 190 w 322"/>
                  <a:gd name="T3" fmla="*/ 22 h 562"/>
                  <a:gd name="T4" fmla="*/ 201 w 322"/>
                  <a:gd name="T5" fmla="*/ 136 h 562"/>
                  <a:gd name="T6" fmla="*/ 201 w 322"/>
                  <a:gd name="T7" fmla="*/ 136 h 562"/>
                  <a:gd name="T8" fmla="*/ 201 w 322"/>
                  <a:gd name="T9" fmla="*/ 136 h 562"/>
                  <a:gd name="T10" fmla="*/ 151 w 322"/>
                  <a:gd name="T11" fmla="*/ 324 h 562"/>
                  <a:gd name="T12" fmla="*/ 0 w 322"/>
                  <a:gd name="T13" fmla="*/ 436 h 562"/>
                  <a:gd name="T14" fmla="*/ 5 w 322"/>
                  <a:gd name="T15" fmla="*/ 468 h 562"/>
                  <a:gd name="T16" fmla="*/ 5 w 322"/>
                  <a:gd name="T17" fmla="*/ 562 h 562"/>
                  <a:gd name="T18" fmla="*/ 95 w 322"/>
                  <a:gd name="T19" fmla="*/ 527 h 562"/>
                  <a:gd name="T20" fmla="*/ 251 w 322"/>
                  <a:gd name="T21" fmla="*/ 391 h 562"/>
                  <a:gd name="T22" fmla="*/ 322 w 322"/>
                  <a:gd name="T23" fmla="*/ 137 h 562"/>
                  <a:gd name="T24" fmla="*/ 322 w 322"/>
                  <a:gd name="T25" fmla="*/ 136 h 562"/>
                  <a:gd name="T26" fmla="*/ 309 w 322"/>
                  <a:gd name="T27" fmla="*/ 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2" h="562">
                    <a:moveTo>
                      <a:pt x="309" y="0"/>
                    </a:moveTo>
                    <a:cubicBezTo>
                      <a:pt x="190" y="22"/>
                      <a:pt x="190" y="22"/>
                      <a:pt x="190" y="22"/>
                    </a:cubicBezTo>
                    <a:cubicBezTo>
                      <a:pt x="197" y="64"/>
                      <a:pt x="201" y="102"/>
                      <a:pt x="201" y="136"/>
                    </a:cubicBezTo>
                    <a:cubicBezTo>
                      <a:pt x="201" y="136"/>
                      <a:pt x="201" y="136"/>
                      <a:pt x="201" y="136"/>
                    </a:cubicBezTo>
                    <a:cubicBezTo>
                      <a:pt x="201" y="136"/>
                      <a:pt x="201" y="136"/>
                      <a:pt x="201" y="136"/>
                    </a:cubicBezTo>
                    <a:cubicBezTo>
                      <a:pt x="201" y="221"/>
                      <a:pt x="180" y="280"/>
                      <a:pt x="151" y="324"/>
                    </a:cubicBezTo>
                    <a:cubicBezTo>
                      <a:pt x="112" y="382"/>
                      <a:pt x="55" y="416"/>
                      <a:pt x="0" y="436"/>
                    </a:cubicBezTo>
                    <a:cubicBezTo>
                      <a:pt x="3" y="445"/>
                      <a:pt x="5" y="455"/>
                      <a:pt x="5" y="468"/>
                    </a:cubicBezTo>
                    <a:cubicBezTo>
                      <a:pt x="5" y="562"/>
                      <a:pt x="5" y="562"/>
                      <a:pt x="5" y="562"/>
                    </a:cubicBezTo>
                    <a:cubicBezTo>
                      <a:pt x="33" y="553"/>
                      <a:pt x="64" y="542"/>
                      <a:pt x="95" y="527"/>
                    </a:cubicBezTo>
                    <a:cubicBezTo>
                      <a:pt x="150" y="499"/>
                      <a:pt x="208" y="456"/>
                      <a:pt x="251" y="391"/>
                    </a:cubicBezTo>
                    <a:cubicBezTo>
                      <a:pt x="294" y="327"/>
                      <a:pt x="322" y="242"/>
                      <a:pt x="322" y="137"/>
                    </a:cubicBezTo>
                    <a:cubicBezTo>
                      <a:pt x="322" y="137"/>
                      <a:pt x="322" y="136"/>
                      <a:pt x="322" y="136"/>
                    </a:cubicBezTo>
                    <a:cubicBezTo>
                      <a:pt x="322" y="94"/>
                      <a:pt x="318" y="49"/>
                      <a:pt x="309" y="0"/>
                    </a:cubicBezTo>
                  </a:path>
                </a:pathLst>
              </a:custGeom>
              <a:solidFill>
                <a:srgbClr val="00C2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76" name="Freeform 75"/>
              <p:cNvSpPr>
                <a:spLocks/>
              </p:cNvSpPr>
              <p:nvPr/>
            </p:nvSpPr>
            <p:spPr bwMode="auto">
              <a:xfrm>
                <a:off x="6769467" y="3856649"/>
                <a:ext cx="42863" cy="12700"/>
              </a:xfrm>
              <a:custGeom>
                <a:avLst/>
                <a:gdLst>
                  <a:gd name="T0" fmla="*/ 27 w 27"/>
                  <a:gd name="T1" fmla="*/ 0 h 8"/>
                  <a:gd name="T2" fmla="*/ 0 w 27"/>
                  <a:gd name="T3" fmla="*/ 8 h 8"/>
                  <a:gd name="T4" fmla="*/ 0 w 27"/>
                  <a:gd name="T5" fmla="*/ 8 h 8"/>
                  <a:gd name="T6" fmla="*/ 27 w 27"/>
                  <a:gd name="T7" fmla="*/ 0 h 8"/>
                  <a:gd name="T8" fmla="*/ 27 w 27"/>
                  <a:gd name="T9" fmla="*/ 0 h 8"/>
                </a:gdLst>
                <a:ahLst/>
                <a:cxnLst>
                  <a:cxn ang="0">
                    <a:pos x="T0" y="T1"/>
                  </a:cxn>
                  <a:cxn ang="0">
                    <a:pos x="T2" y="T3"/>
                  </a:cxn>
                  <a:cxn ang="0">
                    <a:pos x="T4" y="T5"/>
                  </a:cxn>
                  <a:cxn ang="0">
                    <a:pos x="T6" y="T7"/>
                  </a:cxn>
                  <a:cxn ang="0">
                    <a:pos x="T8" y="T9"/>
                  </a:cxn>
                </a:cxnLst>
                <a:rect l="0" t="0" r="r" b="b"/>
                <a:pathLst>
                  <a:path w="27" h="8">
                    <a:moveTo>
                      <a:pt x="27" y="0"/>
                    </a:moveTo>
                    <a:lnTo>
                      <a:pt x="0" y="8"/>
                    </a:lnTo>
                    <a:lnTo>
                      <a:pt x="0" y="8"/>
                    </a:lnTo>
                    <a:lnTo>
                      <a:pt x="27" y="0"/>
                    </a:lnTo>
                    <a:lnTo>
                      <a:pt x="27" y="0"/>
                    </a:lnTo>
                    <a:close/>
                  </a:path>
                </a:pathLst>
              </a:custGeom>
              <a:solidFill>
                <a:srgbClr val="0014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77" name="Freeform 76"/>
              <p:cNvSpPr>
                <a:spLocks/>
              </p:cNvSpPr>
              <p:nvPr/>
            </p:nvSpPr>
            <p:spPr bwMode="auto">
              <a:xfrm>
                <a:off x="6769467" y="3856649"/>
                <a:ext cx="42863" cy="12700"/>
              </a:xfrm>
              <a:custGeom>
                <a:avLst/>
                <a:gdLst>
                  <a:gd name="T0" fmla="*/ 27 w 27"/>
                  <a:gd name="T1" fmla="*/ 0 h 8"/>
                  <a:gd name="T2" fmla="*/ 0 w 27"/>
                  <a:gd name="T3" fmla="*/ 8 h 8"/>
                  <a:gd name="T4" fmla="*/ 0 w 27"/>
                  <a:gd name="T5" fmla="*/ 8 h 8"/>
                  <a:gd name="T6" fmla="*/ 27 w 27"/>
                  <a:gd name="T7" fmla="*/ 0 h 8"/>
                  <a:gd name="T8" fmla="*/ 27 w 27"/>
                  <a:gd name="T9" fmla="*/ 0 h 8"/>
                </a:gdLst>
                <a:ahLst/>
                <a:cxnLst>
                  <a:cxn ang="0">
                    <a:pos x="T0" y="T1"/>
                  </a:cxn>
                  <a:cxn ang="0">
                    <a:pos x="T2" y="T3"/>
                  </a:cxn>
                  <a:cxn ang="0">
                    <a:pos x="T4" y="T5"/>
                  </a:cxn>
                  <a:cxn ang="0">
                    <a:pos x="T6" y="T7"/>
                  </a:cxn>
                  <a:cxn ang="0">
                    <a:pos x="T8" y="T9"/>
                  </a:cxn>
                </a:cxnLst>
                <a:rect l="0" t="0" r="r" b="b"/>
                <a:pathLst>
                  <a:path w="27" h="8">
                    <a:moveTo>
                      <a:pt x="27" y="0"/>
                    </a:moveTo>
                    <a:lnTo>
                      <a:pt x="0" y="8"/>
                    </a:lnTo>
                    <a:lnTo>
                      <a:pt x="0" y="8"/>
                    </a:lnTo>
                    <a:lnTo>
                      <a:pt x="27" y="0"/>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78" name="Freeform 77"/>
              <p:cNvSpPr>
                <a:spLocks/>
              </p:cNvSpPr>
              <p:nvPr/>
            </p:nvSpPr>
            <p:spPr bwMode="auto">
              <a:xfrm>
                <a:off x="6734542" y="3762987"/>
                <a:ext cx="77788" cy="106363"/>
              </a:xfrm>
              <a:custGeom>
                <a:avLst/>
                <a:gdLst>
                  <a:gd name="T0" fmla="*/ 25 w 49"/>
                  <a:gd name="T1" fmla="*/ 0 h 67"/>
                  <a:gd name="T2" fmla="*/ 0 w 49"/>
                  <a:gd name="T3" fmla="*/ 11 h 67"/>
                  <a:gd name="T4" fmla="*/ 22 w 49"/>
                  <a:gd name="T5" fmla="*/ 67 h 67"/>
                  <a:gd name="T6" fmla="*/ 49 w 49"/>
                  <a:gd name="T7" fmla="*/ 59 h 67"/>
                  <a:gd name="T8" fmla="*/ 26 w 49"/>
                  <a:gd name="T9" fmla="*/ 2 h 67"/>
                  <a:gd name="T10" fmla="*/ 25 w 49"/>
                  <a:gd name="T11" fmla="*/ 0 h 67"/>
                </a:gdLst>
                <a:ahLst/>
                <a:cxnLst>
                  <a:cxn ang="0">
                    <a:pos x="T0" y="T1"/>
                  </a:cxn>
                  <a:cxn ang="0">
                    <a:pos x="T2" y="T3"/>
                  </a:cxn>
                  <a:cxn ang="0">
                    <a:pos x="T4" y="T5"/>
                  </a:cxn>
                  <a:cxn ang="0">
                    <a:pos x="T6" y="T7"/>
                  </a:cxn>
                  <a:cxn ang="0">
                    <a:pos x="T8" y="T9"/>
                  </a:cxn>
                  <a:cxn ang="0">
                    <a:pos x="T10" y="T11"/>
                  </a:cxn>
                </a:cxnLst>
                <a:rect l="0" t="0" r="r" b="b"/>
                <a:pathLst>
                  <a:path w="49" h="67">
                    <a:moveTo>
                      <a:pt x="25" y="0"/>
                    </a:moveTo>
                    <a:lnTo>
                      <a:pt x="0" y="11"/>
                    </a:lnTo>
                    <a:lnTo>
                      <a:pt x="22" y="67"/>
                    </a:lnTo>
                    <a:lnTo>
                      <a:pt x="49" y="59"/>
                    </a:lnTo>
                    <a:lnTo>
                      <a:pt x="26" y="2"/>
                    </a:lnTo>
                    <a:lnTo>
                      <a:pt x="25" y="0"/>
                    </a:lnTo>
                    <a:close/>
                  </a:path>
                </a:pathLst>
              </a:custGeom>
              <a:solidFill>
                <a:srgbClr val="00B8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79" name="Freeform 78"/>
              <p:cNvSpPr>
                <a:spLocks/>
              </p:cNvSpPr>
              <p:nvPr/>
            </p:nvSpPr>
            <p:spPr bwMode="auto">
              <a:xfrm>
                <a:off x="6734542" y="3762987"/>
                <a:ext cx="77788" cy="106363"/>
              </a:xfrm>
              <a:custGeom>
                <a:avLst/>
                <a:gdLst>
                  <a:gd name="T0" fmla="*/ 25 w 49"/>
                  <a:gd name="T1" fmla="*/ 0 h 67"/>
                  <a:gd name="T2" fmla="*/ 0 w 49"/>
                  <a:gd name="T3" fmla="*/ 11 h 67"/>
                  <a:gd name="T4" fmla="*/ 22 w 49"/>
                  <a:gd name="T5" fmla="*/ 67 h 67"/>
                  <a:gd name="T6" fmla="*/ 49 w 49"/>
                  <a:gd name="T7" fmla="*/ 59 h 67"/>
                  <a:gd name="T8" fmla="*/ 26 w 49"/>
                  <a:gd name="T9" fmla="*/ 2 h 67"/>
                  <a:gd name="T10" fmla="*/ 25 w 49"/>
                  <a:gd name="T11" fmla="*/ 0 h 67"/>
                </a:gdLst>
                <a:ahLst/>
                <a:cxnLst>
                  <a:cxn ang="0">
                    <a:pos x="T0" y="T1"/>
                  </a:cxn>
                  <a:cxn ang="0">
                    <a:pos x="T2" y="T3"/>
                  </a:cxn>
                  <a:cxn ang="0">
                    <a:pos x="T4" y="T5"/>
                  </a:cxn>
                  <a:cxn ang="0">
                    <a:pos x="T6" y="T7"/>
                  </a:cxn>
                  <a:cxn ang="0">
                    <a:pos x="T8" y="T9"/>
                  </a:cxn>
                  <a:cxn ang="0">
                    <a:pos x="T10" y="T11"/>
                  </a:cxn>
                </a:cxnLst>
                <a:rect l="0" t="0" r="r" b="b"/>
                <a:pathLst>
                  <a:path w="49" h="67">
                    <a:moveTo>
                      <a:pt x="25" y="0"/>
                    </a:moveTo>
                    <a:lnTo>
                      <a:pt x="0" y="11"/>
                    </a:lnTo>
                    <a:lnTo>
                      <a:pt x="22" y="67"/>
                    </a:lnTo>
                    <a:lnTo>
                      <a:pt x="49" y="59"/>
                    </a:lnTo>
                    <a:lnTo>
                      <a:pt x="26" y="2"/>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80" name="Freeform 79"/>
              <p:cNvSpPr>
                <a:spLocks/>
              </p:cNvSpPr>
              <p:nvPr/>
            </p:nvSpPr>
            <p:spPr bwMode="auto">
              <a:xfrm>
                <a:off x="6775817" y="3766162"/>
                <a:ext cx="36513" cy="90488"/>
              </a:xfrm>
              <a:custGeom>
                <a:avLst/>
                <a:gdLst>
                  <a:gd name="T0" fmla="*/ 0 w 23"/>
                  <a:gd name="T1" fmla="*/ 0 h 57"/>
                  <a:gd name="T2" fmla="*/ 23 w 23"/>
                  <a:gd name="T3" fmla="*/ 57 h 57"/>
                  <a:gd name="T4" fmla="*/ 23 w 23"/>
                  <a:gd name="T5" fmla="*/ 57 h 57"/>
                  <a:gd name="T6" fmla="*/ 23 w 23"/>
                  <a:gd name="T7" fmla="*/ 57 h 57"/>
                  <a:gd name="T8" fmla="*/ 0 w 23"/>
                  <a:gd name="T9" fmla="*/ 0 h 57"/>
                </a:gdLst>
                <a:ahLst/>
                <a:cxnLst>
                  <a:cxn ang="0">
                    <a:pos x="T0" y="T1"/>
                  </a:cxn>
                  <a:cxn ang="0">
                    <a:pos x="T2" y="T3"/>
                  </a:cxn>
                  <a:cxn ang="0">
                    <a:pos x="T4" y="T5"/>
                  </a:cxn>
                  <a:cxn ang="0">
                    <a:pos x="T6" y="T7"/>
                  </a:cxn>
                  <a:cxn ang="0">
                    <a:pos x="T8" y="T9"/>
                  </a:cxn>
                </a:cxnLst>
                <a:rect l="0" t="0" r="r" b="b"/>
                <a:pathLst>
                  <a:path w="23" h="57">
                    <a:moveTo>
                      <a:pt x="0" y="0"/>
                    </a:moveTo>
                    <a:lnTo>
                      <a:pt x="23" y="57"/>
                    </a:lnTo>
                    <a:lnTo>
                      <a:pt x="23" y="57"/>
                    </a:lnTo>
                    <a:lnTo>
                      <a:pt x="23" y="57"/>
                    </a:lnTo>
                    <a:lnTo>
                      <a:pt x="0" y="0"/>
                    </a:lnTo>
                    <a:close/>
                  </a:path>
                </a:pathLst>
              </a:custGeom>
              <a:solidFill>
                <a:srgbClr val="00B8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81" name="Freeform 80"/>
              <p:cNvSpPr>
                <a:spLocks/>
              </p:cNvSpPr>
              <p:nvPr/>
            </p:nvSpPr>
            <p:spPr bwMode="auto">
              <a:xfrm>
                <a:off x="6775817" y="3766162"/>
                <a:ext cx="36513" cy="90488"/>
              </a:xfrm>
              <a:custGeom>
                <a:avLst/>
                <a:gdLst>
                  <a:gd name="T0" fmla="*/ 0 w 23"/>
                  <a:gd name="T1" fmla="*/ 0 h 57"/>
                  <a:gd name="T2" fmla="*/ 23 w 23"/>
                  <a:gd name="T3" fmla="*/ 57 h 57"/>
                  <a:gd name="T4" fmla="*/ 23 w 23"/>
                  <a:gd name="T5" fmla="*/ 57 h 57"/>
                  <a:gd name="T6" fmla="*/ 23 w 23"/>
                  <a:gd name="T7" fmla="*/ 57 h 57"/>
                  <a:gd name="T8" fmla="*/ 0 w 23"/>
                  <a:gd name="T9" fmla="*/ 0 h 57"/>
                </a:gdLst>
                <a:ahLst/>
                <a:cxnLst>
                  <a:cxn ang="0">
                    <a:pos x="T0" y="T1"/>
                  </a:cxn>
                  <a:cxn ang="0">
                    <a:pos x="T2" y="T3"/>
                  </a:cxn>
                  <a:cxn ang="0">
                    <a:pos x="T4" y="T5"/>
                  </a:cxn>
                  <a:cxn ang="0">
                    <a:pos x="T6" y="T7"/>
                  </a:cxn>
                  <a:cxn ang="0">
                    <a:pos x="T8" y="T9"/>
                  </a:cxn>
                </a:cxnLst>
                <a:rect l="0" t="0" r="r" b="b"/>
                <a:pathLst>
                  <a:path w="23" h="57">
                    <a:moveTo>
                      <a:pt x="0" y="0"/>
                    </a:moveTo>
                    <a:lnTo>
                      <a:pt x="23" y="57"/>
                    </a:lnTo>
                    <a:lnTo>
                      <a:pt x="23" y="57"/>
                    </a:lnTo>
                    <a:lnTo>
                      <a:pt x="23" y="5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82" name="Freeform 81"/>
              <p:cNvSpPr>
                <a:spLocks/>
              </p:cNvSpPr>
              <p:nvPr/>
            </p:nvSpPr>
            <p:spPr bwMode="auto">
              <a:xfrm>
                <a:off x="6490067" y="3896337"/>
                <a:ext cx="101600" cy="104775"/>
              </a:xfrm>
              <a:custGeom>
                <a:avLst/>
                <a:gdLst>
                  <a:gd name="T0" fmla="*/ 125 w 137"/>
                  <a:gd name="T1" fmla="*/ 57 h 140"/>
                  <a:gd name="T2" fmla="*/ 125 w 137"/>
                  <a:gd name="T3" fmla="*/ 57 h 140"/>
                  <a:gd name="T4" fmla="*/ 125 w 137"/>
                  <a:gd name="T5" fmla="*/ 54 h 140"/>
                  <a:gd name="T6" fmla="*/ 54 w 137"/>
                  <a:gd name="T7" fmla="*/ 6 h 140"/>
                  <a:gd name="T8" fmla="*/ 6 w 137"/>
                  <a:gd name="T9" fmla="*/ 77 h 140"/>
                  <a:gd name="T10" fmla="*/ 6 w 137"/>
                  <a:gd name="T11" fmla="*/ 79 h 140"/>
                  <a:gd name="T12" fmla="*/ 6 w 137"/>
                  <a:gd name="T13" fmla="*/ 79 h 140"/>
                  <a:gd name="T14" fmla="*/ 18 w 137"/>
                  <a:gd name="T15" fmla="*/ 140 h 140"/>
                  <a:gd name="T16" fmla="*/ 137 w 137"/>
                  <a:gd name="T17" fmla="*/ 118 h 140"/>
                  <a:gd name="T18" fmla="*/ 125 w 137"/>
                  <a:gd name="T19" fmla="*/ 57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140">
                    <a:moveTo>
                      <a:pt x="125" y="57"/>
                    </a:moveTo>
                    <a:cubicBezTo>
                      <a:pt x="125" y="57"/>
                      <a:pt x="125" y="57"/>
                      <a:pt x="125" y="57"/>
                    </a:cubicBezTo>
                    <a:cubicBezTo>
                      <a:pt x="125" y="56"/>
                      <a:pt x="125" y="55"/>
                      <a:pt x="125" y="54"/>
                    </a:cubicBezTo>
                    <a:cubicBezTo>
                      <a:pt x="118" y="22"/>
                      <a:pt x="87" y="0"/>
                      <a:pt x="54" y="6"/>
                    </a:cubicBezTo>
                    <a:cubicBezTo>
                      <a:pt x="21" y="12"/>
                      <a:pt x="0" y="44"/>
                      <a:pt x="6" y="77"/>
                    </a:cubicBezTo>
                    <a:cubicBezTo>
                      <a:pt x="6" y="77"/>
                      <a:pt x="6" y="78"/>
                      <a:pt x="6" y="79"/>
                    </a:cubicBezTo>
                    <a:cubicBezTo>
                      <a:pt x="6" y="79"/>
                      <a:pt x="6" y="79"/>
                      <a:pt x="6" y="79"/>
                    </a:cubicBezTo>
                    <a:cubicBezTo>
                      <a:pt x="18" y="140"/>
                      <a:pt x="18" y="140"/>
                      <a:pt x="18" y="140"/>
                    </a:cubicBezTo>
                    <a:cubicBezTo>
                      <a:pt x="137" y="118"/>
                      <a:pt x="137" y="118"/>
                      <a:pt x="137" y="118"/>
                    </a:cubicBezTo>
                    <a:lnTo>
                      <a:pt x="125" y="57"/>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83" name="Oval 82"/>
              <p:cNvSpPr>
                <a:spLocks noChangeArrowheads="1"/>
              </p:cNvSpPr>
              <p:nvPr/>
            </p:nvSpPr>
            <p:spPr bwMode="auto">
              <a:xfrm>
                <a:off x="6009055" y="4275749"/>
                <a:ext cx="350838" cy="352425"/>
              </a:xfrm>
              <a:prstGeom prst="ellipse">
                <a:avLst/>
              </a:prstGeom>
              <a:solidFill>
                <a:srgbClr val="EE28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84" name="Freeform 83"/>
              <p:cNvSpPr>
                <a:spLocks noEditPoints="1"/>
              </p:cNvSpPr>
              <p:nvPr/>
            </p:nvSpPr>
            <p:spPr bwMode="auto">
              <a:xfrm>
                <a:off x="6626592" y="4410687"/>
                <a:ext cx="0" cy="3175"/>
              </a:xfrm>
              <a:custGeom>
                <a:avLst/>
                <a:gdLst>
                  <a:gd name="T0" fmla="*/ 4 h 5"/>
                  <a:gd name="T1" fmla="*/ 5 h 5"/>
                  <a:gd name="T2" fmla="*/ 5 h 5"/>
                  <a:gd name="T3" fmla="*/ 4 h 5"/>
                  <a:gd name="T4" fmla="*/ 3 h 5"/>
                  <a:gd name="T5" fmla="*/ 4 h 5"/>
                  <a:gd name="T6" fmla="*/ 3 h 5"/>
                  <a:gd name="T7" fmla="*/ 2 h 5"/>
                  <a:gd name="T8" fmla="*/ 3 h 5"/>
                  <a:gd name="T9" fmla="*/ 2 h 5"/>
                  <a:gd name="T10" fmla="*/ 2 h 5"/>
                  <a:gd name="T11" fmla="*/ 2 h 5"/>
                  <a:gd name="T12" fmla="*/ 2 h 5"/>
                  <a:gd name="T13" fmla="*/ 1 h 5"/>
                  <a:gd name="T14" fmla="*/ 1 h 5"/>
                  <a:gd name="T15" fmla="*/ 1 h 5"/>
                  <a:gd name="T16" fmla="*/ 0 h 5"/>
                  <a:gd name="T17" fmla="*/ 0 h 5"/>
                  <a:gd name="T18" fmla="*/ 0 h 5"/>
                  <a:gd name="T19" fmla="*/ 0 h 5"/>
                  <a:gd name="T20" fmla="*/ 0 h 5"/>
                  <a:gd name="T21" fmla="*/ 0 h 5"/>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Lst>
                <a:rect l="0" t="0" r="r" b="b"/>
                <a:pathLst>
                  <a:path h="5">
                    <a:moveTo>
                      <a:pt x="0" y="4"/>
                    </a:moveTo>
                    <a:cubicBezTo>
                      <a:pt x="0" y="4"/>
                      <a:pt x="0" y="4"/>
                      <a:pt x="0" y="5"/>
                    </a:cubicBezTo>
                    <a:cubicBezTo>
                      <a:pt x="0" y="5"/>
                      <a:pt x="0" y="5"/>
                      <a:pt x="0" y="5"/>
                    </a:cubicBezTo>
                    <a:cubicBezTo>
                      <a:pt x="0" y="4"/>
                      <a:pt x="0" y="4"/>
                      <a:pt x="0" y="4"/>
                    </a:cubicBezTo>
                    <a:moveTo>
                      <a:pt x="0" y="3"/>
                    </a:moveTo>
                    <a:cubicBezTo>
                      <a:pt x="0" y="3"/>
                      <a:pt x="0" y="3"/>
                      <a:pt x="0" y="4"/>
                    </a:cubicBezTo>
                    <a:cubicBezTo>
                      <a:pt x="0" y="3"/>
                      <a:pt x="0" y="3"/>
                      <a:pt x="0" y="3"/>
                    </a:cubicBezTo>
                    <a:moveTo>
                      <a:pt x="0" y="2"/>
                    </a:moveTo>
                    <a:cubicBezTo>
                      <a:pt x="0" y="2"/>
                      <a:pt x="0" y="3"/>
                      <a:pt x="0" y="3"/>
                    </a:cubicBezTo>
                    <a:cubicBezTo>
                      <a:pt x="0" y="3"/>
                      <a:pt x="0" y="2"/>
                      <a:pt x="0" y="2"/>
                    </a:cubicBezTo>
                    <a:moveTo>
                      <a:pt x="0" y="2"/>
                    </a:moveTo>
                    <a:cubicBezTo>
                      <a:pt x="0" y="2"/>
                      <a:pt x="0" y="2"/>
                      <a:pt x="0" y="2"/>
                    </a:cubicBezTo>
                    <a:cubicBezTo>
                      <a:pt x="0" y="2"/>
                      <a:pt x="0" y="2"/>
                      <a:pt x="0" y="2"/>
                    </a:cubicBezTo>
                    <a:moveTo>
                      <a:pt x="0" y="1"/>
                    </a:move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85" name="Freeform 84"/>
              <p:cNvSpPr>
                <a:spLocks/>
              </p:cNvSpPr>
              <p:nvPr/>
            </p:nvSpPr>
            <p:spPr bwMode="auto">
              <a:xfrm>
                <a:off x="6013817" y="3880462"/>
                <a:ext cx="295275" cy="390525"/>
              </a:xfrm>
              <a:custGeom>
                <a:avLst/>
                <a:gdLst>
                  <a:gd name="T0" fmla="*/ 276 w 394"/>
                  <a:gd name="T1" fmla="*/ 90 h 522"/>
                  <a:gd name="T2" fmla="*/ 98 w 394"/>
                  <a:gd name="T3" fmla="*/ 30 h 522"/>
                  <a:gd name="T4" fmla="*/ 32 w 394"/>
                  <a:gd name="T5" fmla="*/ 212 h 522"/>
                  <a:gd name="T6" fmla="*/ 175 w 394"/>
                  <a:gd name="T7" fmla="*/ 522 h 522"/>
                  <a:gd name="T8" fmla="*/ 394 w 394"/>
                  <a:gd name="T9" fmla="*/ 420 h 522"/>
                  <a:gd name="T10" fmla="*/ 317 w 394"/>
                  <a:gd name="T11" fmla="*/ 259 h 522"/>
                  <a:gd name="T12" fmla="*/ 348 w 394"/>
                  <a:gd name="T13" fmla="*/ 244 h 522"/>
                  <a:gd name="T14" fmla="*/ 276 w 394"/>
                  <a:gd name="T15" fmla="*/ 89 h 522"/>
                  <a:gd name="T16" fmla="*/ 276 w 394"/>
                  <a:gd name="T17" fmla="*/ 90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4" h="522">
                    <a:moveTo>
                      <a:pt x="276" y="90"/>
                    </a:moveTo>
                    <a:cubicBezTo>
                      <a:pt x="242" y="26"/>
                      <a:pt x="164" y="0"/>
                      <a:pt x="98" y="30"/>
                    </a:cubicBezTo>
                    <a:cubicBezTo>
                      <a:pt x="30" y="62"/>
                      <a:pt x="0" y="143"/>
                      <a:pt x="32" y="212"/>
                    </a:cubicBezTo>
                    <a:cubicBezTo>
                      <a:pt x="175" y="522"/>
                      <a:pt x="175" y="522"/>
                      <a:pt x="175" y="522"/>
                    </a:cubicBezTo>
                    <a:cubicBezTo>
                      <a:pt x="394" y="420"/>
                      <a:pt x="394" y="420"/>
                      <a:pt x="394" y="420"/>
                    </a:cubicBezTo>
                    <a:cubicBezTo>
                      <a:pt x="317" y="259"/>
                      <a:pt x="317" y="259"/>
                      <a:pt x="317" y="259"/>
                    </a:cubicBezTo>
                    <a:cubicBezTo>
                      <a:pt x="348" y="244"/>
                      <a:pt x="348" y="244"/>
                      <a:pt x="348" y="244"/>
                    </a:cubicBezTo>
                    <a:cubicBezTo>
                      <a:pt x="276" y="89"/>
                      <a:pt x="276" y="89"/>
                      <a:pt x="276" y="89"/>
                    </a:cubicBezTo>
                    <a:cubicBezTo>
                      <a:pt x="276" y="90"/>
                      <a:pt x="276" y="90"/>
                      <a:pt x="276" y="90"/>
                    </a:cubicBezTo>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86" name="Freeform 85"/>
              <p:cNvSpPr>
                <a:spLocks/>
              </p:cNvSpPr>
              <p:nvPr/>
            </p:nvSpPr>
            <p:spPr bwMode="auto">
              <a:xfrm>
                <a:off x="6013817" y="3880462"/>
                <a:ext cx="203200" cy="323850"/>
              </a:xfrm>
              <a:custGeom>
                <a:avLst/>
                <a:gdLst>
                  <a:gd name="T0" fmla="*/ 98 w 272"/>
                  <a:gd name="T1" fmla="*/ 29 h 432"/>
                  <a:gd name="T2" fmla="*/ 32 w 272"/>
                  <a:gd name="T3" fmla="*/ 211 h 432"/>
                  <a:gd name="T4" fmla="*/ 87 w 272"/>
                  <a:gd name="T5" fmla="*/ 331 h 432"/>
                  <a:gd name="T6" fmla="*/ 134 w 272"/>
                  <a:gd name="T7" fmla="*/ 432 h 432"/>
                  <a:gd name="T8" fmla="*/ 187 w 272"/>
                  <a:gd name="T9" fmla="*/ 386 h 432"/>
                  <a:gd name="T10" fmla="*/ 207 w 272"/>
                  <a:gd name="T11" fmla="*/ 346 h 432"/>
                  <a:gd name="T12" fmla="*/ 160 w 272"/>
                  <a:gd name="T13" fmla="*/ 245 h 432"/>
                  <a:gd name="T14" fmla="*/ 162 w 272"/>
                  <a:gd name="T15" fmla="*/ 207 h 432"/>
                  <a:gd name="T16" fmla="*/ 272 w 272"/>
                  <a:gd name="T17" fmla="*/ 82 h 432"/>
                  <a:gd name="T18" fmla="*/ 98 w 272"/>
                  <a:gd name="T19" fmla="*/ 29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2" h="432">
                    <a:moveTo>
                      <a:pt x="98" y="29"/>
                    </a:moveTo>
                    <a:cubicBezTo>
                      <a:pt x="30" y="61"/>
                      <a:pt x="0" y="142"/>
                      <a:pt x="32" y="211"/>
                    </a:cubicBezTo>
                    <a:cubicBezTo>
                      <a:pt x="87" y="331"/>
                      <a:pt x="87" y="331"/>
                      <a:pt x="87" y="331"/>
                    </a:cubicBezTo>
                    <a:cubicBezTo>
                      <a:pt x="134" y="432"/>
                      <a:pt x="134" y="432"/>
                      <a:pt x="134" y="432"/>
                    </a:cubicBezTo>
                    <a:cubicBezTo>
                      <a:pt x="134" y="432"/>
                      <a:pt x="172" y="406"/>
                      <a:pt x="187" y="386"/>
                    </a:cubicBezTo>
                    <a:cubicBezTo>
                      <a:pt x="202" y="365"/>
                      <a:pt x="207" y="346"/>
                      <a:pt x="207" y="346"/>
                    </a:cubicBezTo>
                    <a:cubicBezTo>
                      <a:pt x="160" y="245"/>
                      <a:pt x="160" y="245"/>
                      <a:pt x="160" y="245"/>
                    </a:cubicBezTo>
                    <a:cubicBezTo>
                      <a:pt x="165" y="234"/>
                      <a:pt x="162" y="207"/>
                      <a:pt x="162" y="207"/>
                    </a:cubicBezTo>
                    <a:cubicBezTo>
                      <a:pt x="234" y="174"/>
                      <a:pt x="268" y="93"/>
                      <a:pt x="272" y="82"/>
                    </a:cubicBezTo>
                    <a:cubicBezTo>
                      <a:pt x="236" y="24"/>
                      <a:pt x="162" y="0"/>
                      <a:pt x="98" y="29"/>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87" name="Freeform 86"/>
              <p:cNvSpPr>
                <a:spLocks/>
              </p:cNvSpPr>
              <p:nvPr/>
            </p:nvSpPr>
            <p:spPr bwMode="auto">
              <a:xfrm>
                <a:off x="6104305" y="4063024"/>
                <a:ext cx="65088" cy="85725"/>
              </a:xfrm>
              <a:custGeom>
                <a:avLst/>
                <a:gdLst>
                  <a:gd name="T0" fmla="*/ 40 w 87"/>
                  <a:gd name="T1" fmla="*/ 0 h 115"/>
                  <a:gd name="T2" fmla="*/ 13 w 87"/>
                  <a:gd name="T3" fmla="*/ 75 h 115"/>
                  <a:gd name="T4" fmla="*/ 87 w 87"/>
                  <a:gd name="T5" fmla="*/ 102 h 115"/>
                  <a:gd name="T6" fmla="*/ 40 w 87"/>
                  <a:gd name="T7" fmla="*/ 0 h 115"/>
                </a:gdLst>
                <a:ahLst/>
                <a:cxnLst>
                  <a:cxn ang="0">
                    <a:pos x="T0" y="T1"/>
                  </a:cxn>
                  <a:cxn ang="0">
                    <a:pos x="T2" y="T3"/>
                  </a:cxn>
                  <a:cxn ang="0">
                    <a:pos x="T4" y="T5"/>
                  </a:cxn>
                  <a:cxn ang="0">
                    <a:pos x="T6" y="T7"/>
                  </a:cxn>
                </a:cxnLst>
                <a:rect l="0" t="0" r="r" b="b"/>
                <a:pathLst>
                  <a:path w="87" h="115">
                    <a:moveTo>
                      <a:pt x="40" y="0"/>
                    </a:moveTo>
                    <a:cubicBezTo>
                      <a:pt x="12" y="13"/>
                      <a:pt x="0" y="47"/>
                      <a:pt x="13" y="75"/>
                    </a:cubicBezTo>
                    <a:cubicBezTo>
                      <a:pt x="26" y="103"/>
                      <a:pt x="59" y="115"/>
                      <a:pt x="87" y="102"/>
                    </a:cubicBezTo>
                    <a:cubicBezTo>
                      <a:pt x="40" y="0"/>
                      <a:pt x="40" y="0"/>
                      <a:pt x="40" y="0"/>
                    </a:cubicBezTo>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88" name="Freeform 87"/>
              <p:cNvSpPr>
                <a:spLocks/>
              </p:cNvSpPr>
              <p:nvPr/>
            </p:nvSpPr>
            <p:spPr bwMode="auto">
              <a:xfrm>
                <a:off x="6201142" y="4021749"/>
                <a:ext cx="15875" cy="14288"/>
              </a:xfrm>
              <a:custGeom>
                <a:avLst/>
                <a:gdLst>
                  <a:gd name="T0" fmla="*/ 2 w 20"/>
                  <a:gd name="T1" fmla="*/ 13 h 19"/>
                  <a:gd name="T2" fmla="*/ 7 w 20"/>
                  <a:gd name="T3" fmla="*/ 2 h 19"/>
                  <a:gd name="T4" fmla="*/ 18 w 20"/>
                  <a:gd name="T5" fmla="*/ 6 h 19"/>
                  <a:gd name="T6" fmla="*/ 14 w 20"/>
                  <a:gd name="T7" fmla="*/ 17 h 19"/>
                  <a:gd name="T8" fmla="*/ 2 w 20"/>
                  <a:gd name="T9" fmla="*/ 13 h 19"/>
                </a:gdLst>
                <a:ahLst/>
                <a:cxnLst>
                  <a:cxn ang="0">
                    <a:pos x="T0" y="T1"/>
                  </a:cxn>
                  <a:cxn ang="0">
                    <a:pos x="T2" y="T3"/>
                  </a:cxn>
                  <a:cxn ang="0">
                    <a:pos x="T4" y="T5"/>
                  </a:cxn>
                  <a:cxn ang="0">
                    <a:pos x="T6" y="T7"/>
                  </a:cxn>
                  <a:cxn ang="0">
                    <a:pos x="T8" y="T9"/>
                  </a:cxn>
                </a:cxnLst>
                <a:rect l="0" t="0" r="r" b="b"/>
                <a:pathLst>
                  <a:path w="20" h="19">
                    <a:moveTo>
                      <a:pt x="2" y="13"/>
                    </a:moveTo>
                    <a:cubicBezTo>
                      <a:pt x="0" y="9"/>
                      <a:pt x="2" y="4"/>
                      <a:pt x="7" y="2"/>
                    </a:cubicBezTo>
                    <a:cubicBezTo>
                      <a:pt x="11" y="0"/>
                      <a:pt x="16" y="2"/>
                      <a:pt x="18" y="6"/>
                    </a:cubicBezTo>
                    <a:cubicBezTo>
                      <a:pt x="20" y="10"/>
                      <a:pt x="18" y="15"/>
                      <a:pt x="14" y="17"/>
                    </a:cubicBezTo>
                    <a:cubicBezTo>
                      <a:pt x="9" y="19"/>
                      <a:pt x="4" y="18"/>
                      <a:pt x="2" y="13"/>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89" name="Freeform 88"/>
              <p:cNvSpPr>
                <a:spLocks/>
              </p:cNvSpPr>
              <p:nvPr/>
            </p:nvSpPr>
            <p:spPr bwMode="auto">
              <a:xfrm>
                <a:off x="6004292" y="4274162"/>
                <a:ext cx="360363" cy="474663"/>
              </a:xfrm>
              <a:custGeom>
                <a:avLst/>
                <a:gdLst>
                  <a:gd name="T0" fmla="*/ 482 w 482"/>
                  <a:gd name="T1" fmla="*/ 81 h 637"/>
                  <a:gd name="T2" fmla="*/ 406 w 482"/>
                  <a:gd name="T3" fmla="*/ 4 h 637"/>
                  <a:gd name="T4" fmla="*/ 77 w 482"/>
                  <a:gd name="T5" fmla="*/ 4 h 637"/>
                  <a:gd name="T6" fmla="*/ 0 w 482"/>
                  <a:gd name="T7" fmla="*/ 81 h 637"/>
                  <a:gd name="T8" fmla="*/ 0 w 482"/>
                  <a:gd name="T9" fmla="*/ 637 h 637"/>
                  <a:gd name="T10" fmla="*/ 6 w 482"/>
                  <a:gd name="T11" fmla="*/ 637 h 637"/>
                  <a:gd name="T12" fmla="*/ 476 w 482"/>
                  <a:gd name="T13" fmla="*/ 637 h 637"/>
                  <a:gd name="T14" fmla="*/ 482 w 482"/>
                  <a:gd name="T15" fmla="*/ 637 h 637"/>
                  <a:gd name="T16" fmla="*/ 482 w 482"/>
                  <a:gd name="T17" fmla="*/ 81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2" h="637">
                    <a:moveTo>
                      <a:pt x="482" y="81"/>
                    </a:moveTo>
                    <a:cubicBezTo>
                      <a:pt x="482" y="0"/>
                      <a:pt x="406" y="4"/>
                      <a:pt x="406" y="4"/>
                    </a:cubicBezTo>
                    <a:cubicBezTo>
                      <a:pt x="77" y="4"/>
                      <a:pt x="77" y="4"/>
                      <a:pt x="77" y="4"/>
                    </a:cubicBezTo>
                    <a:cubicBezTo>
                      <a:pt x="77" y="4"/>
                      <a:pt x="0" y="0"/>
                      <a:pt x="0" y="81"/>
                    </a:cubicBezTo>
                    <a:cubicBezTo>
                      <a:pt x="0" y="637"/>
                      <a:pt x="0" y="637"/>
                      <a:pt x="0" y="637"/>
                    </a:cubicBezTo>
                    <a:cubicBezTo>
                      <a:pt x="6" y="637"/>
                      <a:pt x="6" y="637"/>
                      <a:pt x="6" y="637"/>
                    </a:cubicBezTo>
                    <a:cubicBezTo>
                      <a:pt x="476" y="637"/>
                      <a:pt x="476" y="637"/>
                      <a:pt x="476" y="637"/>
                    </a:cubicBezTo>
                    <a:cubicBezTo>
                      <a:pt x="482" y="637"/>
                      <a:pt x="482" y="637"/>
                      <a:pt x="482" y="637"/>
                    </a:cubicBezTo>
                    <a:cubicBezTo>
                      <a:pt x="482" y="81"/>
                      <a:pt x="482" y="81"/>
                      <a:pt x="482" y="81"/>
                    </a:cubicBezTo>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90" name="Freeform 89"/>
              <p:cNvSpPr>
                <a:spLocks/>
              </p:cNvSpPr>
              <p:nvPr/>
            </p:nvSpPr>
            <p:spPr bwMode="auto">
              <a:xfrm>
                <a:off x="6004292" y="4474187"/>
                <a:ext cx="360363" cy="274638"/>
              </a:xfrm>
              <a:custGeom>
                <a:avLst/>
                <a:gdLst>
                  <a:gd name="T0" fmla="*/ 0 w 227"/>
                  <a:gd name="T1" fmla="*/ 0 h 173"/>
                  <a:gd name="T2" fmla="*/ 0 w 227"/>
                  <a:gd name="T3" fmla="*/ 173 h 173"/>
                  <a:gd name="T4" fmla="*/ 3 w 227"/>
                  <a:gd name="T5" fmla="*/ 173 h 173"/>
                  <a:gd name="T6" fmla="*/ 224 w 227"/>
                  <a:gd name="T7" fmla="*/ 173 h 173"/>
                  <a:gd name="T8" fmla="*/ 227 w 227"/>
                  <a:gd name="T9" fmla="*/ 173 h 173"/>
                  <a:gd name="T10" fmla="*/ 227 w 227"/>
                  <a:gd name="T11" fmla="*/ 153 h 173"/>
                  <a:gd name="T12" fmla="*/ 0 w 227"/>
                  <a:gd name="T13" fmla="*/ 0 h 173"/>
                </a:gdLst>
                <a:ahLst/>
                <a:cxnLst>
                  <a:cxn ang="0">
                    <a:pos x="T0" y="T1"/>
                  </a:cxn>
                  <a:cxn ang="0">
                    <a:pos x="T2" y="T3"/>
                  </a:cxn>
                  <a:cxn ang="0">
                    <a:pos x="T4" y="T5"/>
                  </a:cxn>
                  <a:cxn ang="0">
                    <a:pos x="T6" y="T7"/>
                  </a:cxn>
                  <a:cxn ang="0">
                    <a:pos x="T8" y="T9"/>
                  </a:cxn>
                  <a:cxn ang="0">
                    <a:pos x="T10" y="T11"/>
                  </a:cxn>
                  <a:cxn ang="0">
                    <a:pos x="T12" y="T13"/>
                  </a:cxn>
                </a:cxnLst>
                <a:rect l="0" t="0" r="r" b="b"/>
                <a:pathLst>
                  <a:path w="227" h="173">
                    <a:moveTo>
                      <a:pt x="0" y="0"/>
                    </a:moveTo>
                    <a:lnTo>
                      <a:pt x="0" y="173"/>
                    </a:lnTo>
                    <a:lnTo>
                      <a:pt x="3" y="173"/>
                    </a:lnTo>
                    <a:lnTo>
                      <a:pt x="224" y="173"/>
                    </a:lnTo>
                    <a:lnTo>
                      <a:pt x="227" y="173"/>
                    </a:lnTo>
                    <a:lnTo>
                      <a:pt x="227" y="153"/>
                    </a:lnTo>
                    <a:lnTo>
                      <a:pt x="0" y="0"/>
                    </a:lnTo>
                    <a:close/>
                  </a:path>
                </a:pathLst>
              </a:custGeom>
              <a:solidFill>
                <a:srgbClr val="00C2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91" name="Freeform 90"/>
              <p:cNvSpPr>
                <a:spLocks/>
              </p:cNvSpPr>
              <p:nvPr/>
            </p:nvSpPr>
            <p:spPr bwMode="auto">
              <a:xfrm>
                <a:off x="6004292" y="4474187"/>
                <a:ext cx="360363" cy="274638"/>
              </a:xfrm>
              <a:custGeom>
                <a:avLst/>
                <a:gdLst>
                  <a:gd name="T0" fmla="*/ 0 w 227"/>
                  <a:gd name="T1" fmla="*/ 0 h 173"/>
                  <a:gd name="T2" fmla="*/ 0 w 227"/>
                  <a:gd name="T3" fmla="*/ 173 h 173"/>
                  <a:gd name="T4" fmla="*/ 3 w 227"/>
                  <a:gd name="T5" fmla="*/ 173 h 173"/>
                  <a:gd name="T6" fmla="*/ 224 w 227"/>
                  <a:gd name="T7" fmla="*/ 173 h 173"/>
                  <a:gd name="T8" fmla="*/ 227 w 227"/>
                  <a:gd name="T9" fmla="*/ 173 h 173"/>
                  <a:gd name="T10" fmla="*/ 227 w 227"/>
                  <a:gd name="T11" fmla="*/ 153 h 173"/>
                  <a:gd name="T12" fmla="*/ 0 w 227"/>
                  <a:gd name="T13" fmla="*/ 0 h 173"/>
                </a:gdLst>
                <a:ahLst/>
                <a:cxnLst>
                  <a:cxn ang="0">
                    <a:pos x="T0" y="T1"/>
                  </a:cxn>
                  <a:cxn ang="0">
                    <a:pos x="T2" y="T3"/>
                  </a:cxn>
                  <a:cxn ang="0">
                    <a:pos x="T4" y="T5"/>
                  </a:cxn>
                  <a:cxn ang="0">
                    <a:pos x="T6" y="T7"/>
                  </a:cxn>
                  <a:cxn ang="0">
                    <a:pos x="T8" y="T9"/>
                  </a:cxn>
                  <a:cxn ang="0">
                    <a:pos x="T10" y="T11"/>
                  </a:cxn>
                  <a:cxn ang="0">
                    <a:pos x="T12" y="T13"/>
                  </a:cxn>
                </a:cxnLst>
                <a:rect l="0" t="0" r="r" b="b"/>
                <a:pathLst>
                  <a:path w="227" h="173">
                    <a:moveTo>
                      <a:pt x="0" y="0"/>
                    </a:moveTo>
                    <a:lnTo>
                      <a:pt x="0" y="173"/>
                    </a:lnTo>
                    <a:lnTo>
                      <a:pt x="3" y="173"/>
                    </a:lnTo>
                    <a:lnTo>
                      <a:pt x="224" y="173"/>
                    </a:lnTo>
                    <a:lnTo>
                      <a:pt x="227" y="173"/>
                    </a:lnTo>
                    <a:lnTo>
                      <a:pt x="227" y="15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92" name="Freeform 91"/>
              <p:cNvSpPr>
                <a:spLocks/>
              </p:cNvSpPr>
              <p:nvPr/>
            </p:nvSpPr>
            <p:spPr bwMode="auto">
              <a:xfrm>
                <a:off x="6004292" y="4380524"/>
                <a:ext cx="360363" cy="385763"/>
              </a:xfrm>
              <a:custGeom>
                <a:avLst/>
                <a:gdLst>
                  <a:gd name="T0" fmla="*/ 482 w 482"/>
                  <a:gd name="T1" fmla="*/ 321 h 516"/>
                  <a:gd name="T2" fmla="*/ 0 w 482"/>
                  <a:gd name="T3" fmla="*/ 226 h 516"/>
                  <a:gd name="T4" fmla="*/ 0 w 482"/>
                  <a:gd name="T5" fmla="*/ 0 h 516"/>
                  <a:gd name="T6" fmla="*/ 183 w 482"/>
                  <a:gd name="T7" fmla="*/ 6 h 516"/>
                </a:gdLst>
                <a:ahLst/>
                <a:cxnLst>
                  <a:cxn ang="0">
                    <a:pos x="T0" y="T1"/>
                  </a:cxn>
                  <a:cxn ang="0">
                    <a:pos x="T2" y="T3"/>
                  </a:cxn>
                  <a:cxn ang="0">
                    <a:pos x="T4" y="T5"/>
                  </a:cxn>
                  <a:cxn ang="0">
                    <a:pos x="T6" y="T7"/>
                  </a:cxn>
                </a:cxnLst>
                <a:rect l="0" t="0" r="r" b="b"/>
                <a:pathLst>
                  <a:path w="482" h="516">
                    <a:moveTo>
                      <a:pt x="482" y="321"/>
                    </a:moveTo>
                    <a:cubicBezTo>
                      <a:pt x="482" y="321"/>
                      <a:pt x="116" y="516"/>
                      <a:pt x="0" y="226"/>
                    </a:cubicBezTo>
                    <a:cubicBezTo>
                      <a:pt x="0" y="0"/>
                      <a:pt x="0" y="0"/>
                      <a:pt x="0" y="0"/>
                    </a:cubicBezTo>
                    <a:cubicBezTo>
                      <a:pt x="183" y="6"/>
                      <a:pt x="183" y="6"/>
                      <a:pt x="183" y="6"/>
                    </a:cubicBezTo>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93" name="Freeform 92"/>
              <p:cNvSpPr>
                <a:spLocks/>
              </p:cNvSpPr>
              <p:nvPr/>
            </p:nvSpPr>
            <p:spPr bwMode="auto">
              <a:xfrm>
                <a:off x="6404342" y="4655162"/>
                <a:ext cx="34925" cy="38100"/>
              </a:xfrm>
              <a:custGeom>
                <a:avLst/>
                <a:gdLst>
                  <a:gd name="T0" fmla="*/ 43 w 47"/>
                  <a:gd name="T1" fmla="*/ 21 h 51"/>
                  <a:gd name="T2" fmla="*/ 33 w 47"/>
                  <a:gd name="T3" fmla="*/ 0 h 51"/>
                  <a:gd name="T4" fmla="*/ 0 w 47"/>
                  <a:gd name="T5" fmla="*/ 15 h 51"/>
                  <a:gd name="T6" fmla="*/ 10 w 47"/>
                  <a:gd name="T7" fmla="*/ 37 h 51"/>
                  <a:gd name="T8" fmla="*/ 28 w 47"/>
                  <a:gd name="T9" fmla="*/ 51 h 51"/>
                  <a:gd name="T10" fmla="*/ 47 w 47"/>
                  <a:gd name="T11" fmla="*/ 32 h 51"/>
                  <a:gd name="T12" fmla="*/ 43 w 47"/>
                  <a:gd name="T13" fmla="*/ 21 h 51"/>
                </a:gdLst>
                <a:ahLst/>
                <a:cxnLst>
                  <a:cxn ang="0">
                    <a:pos x="T0" y="T1"/>
                  </a:cxn>
                  <a:cxn ang="0">
                    <a:pos x="T2" y="T3"/>
                  </a:cxn>
                  <a:cxn ang="0">
                    <a:pos x="T4" y="T5"/>
                  </a:cxn>
                  <a:cxn ang="0">
                    <a:pos x="T6" y="T7"/>
                  </a:cxn>
                  <a:cxn ang="0">
                    <a:pos x="T8" y="T9"/>
                  </a:cxn>
                  <a:cxn ang="0">
                    <a:pos x="T10" y="T11"/>
                  </a:cxn>
                  <a:cxn ang="0">
                    <a:pos x="T12" y="T13"/>
                  </a:cxn>
                </a:cxnLst>
                <a:rect l="0" t="0" r="r" b="b"/>
                <a:pathLst>
                  <a:path w="47" h="51">
                    <a:moveTo>
                      <a:pt x="43" y="21"/>
                    </a:moveTo>
                    <a:cubicBezTo>
                      <a:pt x="33" y="0"/>
                      <a:pt x="33" y="0"/>
                      <a:pt x="33" y="0"/>
                    </a:cubicBezTo>
                    <a:cubicBezTo>
                      <a:pt x="0" y="15"/>
                      <a:pt x="0" y="15"/>
                      <a:pt x="0" y="15"/>
                    </a:cubicBezTo>
                    <a:cubicBezTo>
                      <a:pt x="10" y="37"/>
                      <a:pt x="10" y="37"/>
                      <a:pt x="10" y="37"/>
                    </a:cubicBezTo>
                    <a:cubicBezTo>
                      <a:pt x="12" y="45"/>
                      <a:pt x="19" y="51"/>
                      <a:pt x="28" y="51"/>
                    </a:cubicBezTo>
                    <a:cubicBezTo>
                      <a:pt x="38" y="51"/>
                      <a:pt x="47" y="43"/>
                      <a:pt x="47" y="32"/>
                    </a:cubicBezTo>
                    <a:cubicBezTo>
                      <a:pt x="47" y="28"/>
                      <a:pt x="45" y="24"/>
                      <a:pt x="43" y="21"/>
                    </a:cubicBezTo>
                    <a:close/>
                  </a:path>
                </a:pathLst>
              </a:custGeom>
              <a:solidFill>
                <a:srgbClr val="F0EF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94" name="Freeform 93"/>
              <p:cNvSpPr>
                <a:spLocks/>
              </p:cNvSpPr>
              <p:nvPr/>
            </p:nvSpPr>
            <p:spPr bwMode="auto">
              <a:xfrm>
                <a:off x="6318617" y="4477362"/>
                <a:ext cx="120650" cy="200025"/>
              </a:xfrm>
              <a:custGeom>
                <a:avLst/>
                <a:gdLst>
                  <a:gd name="T0" fmla="*/ 0 w 76"/>
                  <a:gd name="T1" fmla="*/ 11 h 126"/>
                  <a:gd name="T2" fmla="*/ 53 w 76"/>
                  <a:gd name="T3" fmla="*/ 126 h 126"/>
                  <a:gd name="T4" fmla="*/ 76 w 76"/>
                  <a:gd name="T5" fmla="*/ 116 h 126"/>
                  <a:gd name="T6" fmla="*/ 23 w 76"/>
                  <a:gd name="T7" fmla="*/ 0 h 126"/>
                  <a:gd name="T8" fmla="*/ 0 w 76"/>
                  <a:gd name="T9" fmla="*/ 11 h 126"/>
                </a:gdLst>
                <a:ahLst/>
                <a:cxnLst>
                  <a:cxn ang="0">
                    <a:pos x="T0" y="T1"/>
                  </a:cxn>
                  <a:cxn ang="0">
                    <a:pos x="T2" y="T3"/>
                  </a:cxn>
                  <a:cxn ang="0">
                    <a:pos x="T4" y="T5"/>
                  </a:cxn>
                  <a:cxn ang="0">
                    <a:pos x="T6" y="T7"/>
                  </a:cxn>
                  <a:cxn ang="0">
                    <a:pos x="T8" y="T9"/>
                  </a:cxn>
                </a:cxnLst>
                <a:rect l="0" t="0" r="r" b="b"/>
                <a:pathLst>
                  <a:path w="76" h="126">
                    <a:moveTo>
                      <a:pt x="0" y="11"/>
                    </a:moveTo>
                    <a:lnTo>
                      <a:pt x="53" y="126"/>
                    </a:lnTo>
                    <a:lnTo>
                      <a:pt x="76" y="116"/>
                    </a:lnTo>
                    <a:lnTo>
                      <a:pt x="23" y="0"/>
                    </a:lnTo>
                    <a:lnTo>
                      <a:pt x="0" y="1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95" name="Freeform 94"/>
              <p:cNvSpPr>
                <a:spLocks/>
              </p:cNvSpPr>
              <p:nvPr/>
            </p:nvSpPr>
            <p:spPr bwMode="auto">
              <a:xfrm>
                <a:off x="6332905" y="4510699"/>
                <a:ext cx="103188" cy="103188"/>
              </a:xfrm>
              <a:custGeom>
                <a:avLst/>
                <a:gdLst>
                  <a:gd name="T0" fmla="*/ 44 w 138"/>
                  <a:gd name="T1" fmla="*/ 14 h 138"/>
                  <a:gd name="T2" fmla="*/ 124 w 138"/>
                  <a:gd name="T3" fmla="*/ 44 h 138"/>
                  <a:gd name="T4" fmla="*/ 94 w 138"/>
                  <a:gd name="T5" fmla="*/ 124 h 138"/>
                  <a:gd name="T6" fmla="*/ 14 w 138"/>
                  <a:gd name="T7" fmla="*/ 94 h 138"/>
                  <a:gd name="T8" fmla="*/ 44 w 138"/>
                  <a:gd name="T9" fmla="*/ 14 h 138"/>
                </a:gdLst>
                <a:ahLst/>
                <a:cxnLst>
                  <a:cxn ang="0">
                    <a:pos x="T0" y="T1"/>
                  </a:cxn>
                  <a:cxn ang="0">
                    <a:pos x="T2" y="T3"/>
                  </a:cxn>
                  <a:cxn ang="0">
                    <a:pos x="T4" y="T5"/>
                  </a:cxn>
                  <a:cxn ang="0">
                    <a:pos x="T6" y="T7"/>
                  </a:cxn>
                  <a:cxn ang="0">
                    <a:pos x="T8" y="T9"/>
                  </a:cxn>
                </a:cxnLst>
                <a:rect l="0" t="0" r="r" b="b"/>
                <a:pathLst>
                  <a:path w="138" h="138">
                    <a:moveTo>
                      <a:pt x="44" y="14"/>
                    </a:moveTo>
                    <a:cubicBezTo>
                      <a:pt x="75" y="0"/>
                      <a:pt x="111" y="14"/>
                      <a:pt x="124" y="44"/>
                    </a:cubicBezTo>
                    <a:cubicBezTo>
                      <a:pt x="138" y="75"/>
                      <a:pt x="124" y="110"/>
                      <a:pt x="94" y="124"/>
                    </a:cubicBezTo>
                    <a:cubicBezTo>
                      <a:pt x="63" y="138"/>
                      <a:pt x="28" y="124"/>
                      <a:pt x="14" y="94"/>
                    </a:cubicBezTo>
                    <a:cubicBezTo>
                      <a:pt x="0" y="63"/>
                      <a:pt x="14" y="28"/>
                      <a:pt x="44" y="14"/>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96" name="Freeform 95"/>
              <p:cNvSpPr>
                <a:spLocks/>
              </p:cNvSpPr>
              <p:nvPr/>
            </p:nvSpPr>
            <p:spPr bwMode="auto">
              <a:xfrm>
                <a:off x="6321792" y="4521812"/>
                <a:ext cx="79375" cy="101600"/>
              </a:xfrm>
              <a:custGeom>
                <a:avLst/>
                <a:gdLst>
                  <a:gd name="T0" fmla="*/ 23 w 50"/>
                  <a:gd name="T1" fmla="*/ 64 h 64"/>
                  <a:gd name="T2" fmla="*/ 0 w 50"/>
                  <a:gd name="T3" fmla="*/ 12 h 64"/>
                  <a:gd name="T4" fmla="*/ 26 w 50"/>
                  <a:gd name="T5" fmla="*/ 0 h 64"/>
                  <a:gd name="T6" fmla="*/ 50 w 50"/>
                  <a:gd name="T7" fmla="*/ 52 h 64"/>
                  <a:gd name="T8" fmla="*/ 23 w 50"/>
                  <a:gd name="T9" fmla="*/ 64 h 64"/>
                </a:gdLst>
                <a:ahLst/>
                <a:cxnLst>
                  <a:cxn ang="0">
                    <a:pos x="T0" y="T1"/>
                  </a:cxn>
                  <a:cxn ang="0">
                    <a:pos x="T2" y="T3"/>
                  </a:cxn>
                  <a:cxn ang="0">
                    <a:pos x="T4" y="T5"/>
                  </a:cxn>
                  <a:cxn ang="0">
                    <a:pos x="T6" y="T7"/>
                  </a:cxn>
                  <a:cxn ang="0">
                    <a:pos x="T8" y="T9"/>
                  </a:cxn>
                </a:cxnLst>
                <a:rect l="0" t="0" r="r" b="b"/>
                <a:pathLst>
                  <a:path w="50" h="64">
                    <a:moveTo>
                      <a:pt x="23" y="64"/>
                    </a:moveTo>
                    <a:lnTo>
                      <a:pt x="0" y="12"/>
                    </a:lnTo>
                    <a:lnTo>
                      <a:pt x="26" y="0"/>
                    </a:lnTo>
                    <a:lnTo>
                      <a:pt x="50" y="52"/>
                    </a:lnTo>
                    <a:lnTo>
                      <a:pt x="23" y="6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97" name="Freeform 96"/>
              <p:cNvSpPr>
                <a:spLocks noEditPoints="1"/>
              </p:cNvSpPr>
              <p:nvPr/>
            </p:nvSpPr>
            <p:spPr bwMode="auto">
              <a:xfrm>
                <a:off x="6504355" y="3709012"/>
                <a:ext cx="92075" cy="95250"/>
              </a:xfrm>
              <a:custGeom>
                <a:avLst/>
                <a:gdLst>
                  <a:gd name="T0" fmla="*/ 1 w 123"/>
                  <a:gd name="T1" fmla="*/ 127 h 127"/>
                  <a:gd name="T2" fmla="*/ 2 w 123"/>
                  <a:gd name="T3" fmla="*/ 127 h 127"/>
                  <a:gd name="T4" fmla="*/ 1 w 123"/>
                  <a:gd name="T5" fmla="*/ 127 h 127"/>
                  <a:gd name="T6" fmla="*/ 1 w 123"/>
                  <a:gd name="T7" fmla="*/ 127 h 127"/>
                  <a:gd name="T8" fmla="*/ 1 w 123"/>
                  <a:gd name="T9" fmla="*/ 127 h 127"/>
                  <a:gd name="T10" fmla="*/ 1 w 123"/>
                  <a:gd name="T11" fmla="*/ 127 h 127"/>
                  <a:gd name="T12" fmla="*/ 0 w 123"/>
                  <a:gd name="T13" fmla="*/ 127 h 127"/>
                  <a:gd name="T14" fmla="*/ 0 w 123"/>
                  <a:gd name="T15" fmla="*/ 127 h 127"/>
                  <a:gd name="T16" fmla="*/ 0 w 123"/>
                  <a:gd name="T17" fmla="*/ 127 h 127"/>
                  <a:gd name="T18" fmla="*/ 123 w 123"/>
                  <a:gd name="T19" fmla="*/ 5 h 127"/>
                  <a:gd name="T20" fmla="*/ 123 w 123"/>
                  <a:gd name="T21" fmla="*/ 5 h 127"/>
                  <a:gd name="T22" fmla="*/ 123 w 123"/>
                  <a:gd name="T23" fmla="*/ 5 h 127"/>
                  <a:gd name="T24" fmla="*/ 123 w 123"/>
                  <a:gd name="T25" fmla="*/ 4 h 127"/>
                  <a:gd name="T26" fmla="*/ 123 w 123"/>
                  <a:gd name="T27" fmla="*/ 4 h 127"/>
                  <a:gd name="T28" fmla="*/ 123 w 123"/>
                  <a:gd name="T29" fmla="*/ 4 h 127"/>
                  <a:gd name="T30" fmla="*/ 123 w 123"/>
                  <a:gd name="T31" fmla="*/ 3 h 127"/>
                  <a:gd name="T32" fmla="*/ 123 w 123"/>
                  <a:gd name="T33" fmla="*/ 3 h 127"/>
                  <a:gd name="T34" fmla="*/ 123 w 123"/>
                  <a:gd name="T35" fmla="*/ 3 h 127"/>
                  <a:gd name="T36" fmla="*/ 123 w 123"/>
                  <a:gd name="T37" fmla="*/ 2 h 127"/>
                  <a:gd name="T38" fmla="*/ 123 w 123"/>
                  <a:gd name="T39" fmla="*/ 3 h 127"/>
                  <a:gd name="T40" fmla="*/ 123 w 123"/>
                  <a:gd name="T41" fmla="*/ 2 h 127"/>
                  <a:gd name="T42" fmla="*/ 123 w 123"/>
                  <a:gd name="T43" fmla="*/ 2 h 127"/>
                  <a:gd name="T44" fmla="*/ 123 w 123"/>
                  <a:gd name="T45" fmla="*/ 2 h 127"/>
                  <a:gd name="T46" fmla="*/ 123 w 123"/>
                  <a:gd name="T47" fmla="*/ 2 h 127"/>
                  <a:gd name="T48" fmla="*/ 123 w 123"/>
                  <a:gd name="T49" fmla="*/ 1 h 127"/>
                  <a:gd name="T50" fmla="*/ 123 w 123"/>
                  <a:gd name="T51" fmla="*/ 1 h 127"/>
                  <a:gd name="T52" fmla="*/ 123 w 123"/>
                  <a:gd name="T53" fmla="*/ 1 h 127"/>
                  <a:gd name="T54" fmla="*/ 123 w 123"/>
                  <a:gd name="T55" fmla="*/ 0 h 127"/>
                  <a:gd name="T56" fmla="*/ 123 w 123"/>
                  <a:gd name="T57" fmla="*/ 0 h 127"/>
                  <a:gd name="T58" fmla="*/ 123 w 123"/>
                  <a:gd name="T5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3" h="127">
                    <a:moveTo>
                      <a:pt x="1" y="127"/>
                    </a:moveTo>
                    <a:cubicBezTo>
                      <a:pt x="1" y="127"/>
                      <a:pt x="2" y="127"/>
                      <a:pt x="2" y="127"/>
                    </a:cubicBezTo>
                    <a:cubicBezTo>
                      <a:pt x="2" y="127"/>
                      <a:pt x="1" y="127"/>
                      <a:pt x="1" y="127"/>
                    </a:cubicBezTo>
                    <a:moveTo>
                      <a:pt x="1" y="127"/>
                    </a:moveTo>
                    <a:cubicBezTo>
                      <a:pt x="1" y="127"/>
                      <a:pt x="1" y="127"/>
                      <a:pt x="1" y="127"/>
                    </a:cubicBezTo>
                    <a:cubicBezTo>
                      <a:pt x="1" y="127"/>
                      <a:pt x="1" y="127"/>
                      <a:pt x="1" y="127"/>
                    </a:cubicBezTo>
                    <a:moveTo>
                      <a:pt x="0" y="127"/>
                    </a:moveTo>
                    <a:cubicBezTo>
                      <a:pt x="0" y="127"/>
                      <a:pt x="0" y="127"/>
                      <a:pt x="0" y="127"/>
                    </a:cubicBezTo>
                    <a:cubicBezTo>
                      <a:pt x="0" y="127"/>
                      <a:pt x="0" y="127"/>
                      <a:pt x="0" y="127"/>
                    </a:cubicBezTo>
                    <a:moveTo>
                      <a:pt x="123" y="5"/>
                    </a:moveTo>
                    <a:cubicBezTo>
                      <a:pt x="123" y="5"/>
                      <a:pt x="123" y="5"/>
                      <a:pt x="123" y="5"/>
                    </a:cubicBezTo>
                    <a:cubicBezTo>
                      <a:pt x="123" y="5"/>
                      <a:pt x="123" y="5"/>
                      <a:pt x="123" y="5"/>
                    </a:cubicBezTo>
                    <a:moveTo>
                      <a:pt x="123" y="4"/>
                    </a:moveTo>
                    <a:cubicBezTo>
                      <a:pt x="123" y="4"/>
                      <a:pt x="123" y="4"/>
                      <a:pt x="123" y="4"/>
                    </a:cubicBezTo>
                    <a:cubicBezTo>
                      <a:pt x="123" y="4"/>
                      <a:pt x="123" y="4"/>
                      <a:pt x="123" y="4"/>
                    </a:cubicBezTo>
                    <a:moveTo>
                      <a:pt x="123" y="3"/>
                    </a:moveTo>
                    <a:cubicBezTo>
                      <a:pt x="123" y="3"/>
                      <a:pt x="123" y="3"/>
                      <a:pt x="123" y="3"/>
                    </a:cubicBezTo>
                    <a:cubicBezTo>
                      <a:pt x="123" y="3"/>
                      <a:pt x="123" y="3"/>
                      <a:pt x="123" y="3"/>
                    </a:cubicBezTo>
                    <a:moveTo>
                      <a:pt x="123" y="2"/>
                    </a:moveTo>
                    <a:cubicBezTo>
                      <a:pt x="123" y="2"/>
                      <a:pt x="123" y="2"/>
                      <a:pt x="123" y="3"/>
                    </a:cubicBezTo>
                    <a:cubicBezTo>
                      <a:pt x="123" y="2"/>
                      <a:pt x="123" y="2"/>
                      <a:pt x="123" y="2"/>
                    </a:cubicBezTo>
                    <a:moveTo>
                      <a:pt x="123" y="2"/>
                    </a:moveTo>
                    <a:cubicBezTo>
                      <a:pt x="123" y="2"/>
                      <a:pt x="123" y="2"/>
                      <a:pt x="123" y="2"/>
                    </a:cubicBezTo>
                    <a:cubicBezTo>
                      <a:pt x="123" y="2"/>
                      <a:pt x="123" y="2"/>
                      <a:pt x="123" y="2"/>
                    </a:cubicBezTo>
                    <a:moveTo>
                      <a:pt x="123" y="1"/>
                    </a:moveTo>
                    <a:cubicBezTo>
                      <a:pt x="123" y="1"/>
                      <a:pt x="123" y="1"/>
                      <a:pt x="123" y="1"/>
                    </a:cubicBezTo>
                    <a:cubicBezTo>
                      <a:pt x="123" y="1"/>
                      <a:pt x="123" y="1"/>
                      <a:pt x="123" y="1"/>
                    </a:cubicBezTo>
                    <a:moveTo>
                      <a:pt x="123" y="0"/>
                    </a:moveTo>
                    <a:cubicBezTo>
                      <a:pt x="123" y="0"/>
                      <a:pt x="123" y="0"/>
                      <a:pt x="123" y="0"/>
                    </a:cubicBezTo>
                    <a:cubicBezTo>
                      <a:pt x="123" y="0"/>
                      <a:pt x="123" y="0"/>
                      <a:pt x="123" y="0"/>
                    </a:cubicBezTo>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98" name="Rectangle 97"/>
              <p:cNvSpPr>
                <a:spLocks noChangeArrowheads="1"/>
              </p:cNvSpPr>
              <p:nvPr/>
            </p:nvSpPr>
            <p:spPr bwMode="auto">
              <a:xfrm>
                <a:off x="6309092" y="4194787"/>
                <a:ext cx="1588" cy="1588"/>
              </a:xfrm>
              <a:prstGeom prst="rect">
                <a:avLst/>
              </a:prstGeom>
              <a:solidFill>
                <a:srgbClr val="0016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99" name="Freeform 98"/>
              <p:cNvSpPr>
                <a:spLocks/>
              </p:cNvSpPr>
              <p:nvPr/>
            </p:nvSpPr>
            <p:spPr bwMode="auto">
              <a:xfrm>
                <a:off x="6309092" y="4194787"/>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00" name="Freeform 99"/>
              <p:cNvSpPr>
                <a:spLocks/>
              </p:cNvSpPr>
              <p:nvPr/>
            </p:nvSpPr>
            <p:spPr bwMode="auto">
              <a:xfrm>
                <a:off x="6113830" y="4109062"/>
                <a:ext cx="195263" cy="160338"/>
              </a:xfrm>
              <a:custGeom>
                <a:avLst/>
                <a:gdLst>
                  <a:gd name="T0" fmla="*/ 55 w 260"/>
                  <a:gd name="T1" fmla="*/ 0 h 215"/>
                  <a:gd name="T2" fmla="*/ 74 w 260"/>
                  <a:gd name="T3" fmla="*/ 41 h 215"/>
                  <a:gd name="T4" fmla="*/ 73 w 260"/>
                  <a:gd name="T5" fmla="*/ 41 h 215"/>
                  <a:gd name="T6" fmla="*/ 53 w 260"/>
                  <a:gd name="T7" fmla="*/ 81 h 215"/>
                  <a:gd name="T8" fmla="*/ 0 w 260"/>
                  <a:gd name="T9" fmla="*/ 127 h 215"/>
                  <a:gd name="T10" fmla="*/ 41 w 260"/>
                  <a:gd name="T11" fmla="*/ 215 h 215"/>
                  <a:gd name="T12" fmla="*/ 260 w 260"/>
                  <a:gd name="T13" fmla="*/ 114 h 215"/>
                  <a:gd name="T14" fmla="*/ 260 w 260"/>
                  <a:gd name="T15" fmla="*/ 114 h 215"/>
                  <a:gd name="T16" fmla="*/ 55 w 260"/>
                  <a:gd name="T17"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0" h="215">
                    <a:moveTo>
                      <a:pt x="55" y="0"/>
                    </a:moveTo>
                    <a:cubicBezTo>
                      <a:pt x="74" y="41"/>
                      <a:pt x="74" y="41"/>
                      <a:pt x="74" y="41"/>
                    </a:cubicBezTo>
                    <a:cubicBezTo>
                      <a:pt x="73" y="41"/>
                      <a:pt x="73" y="41"/>
                      <a:pt x="73" y="41"/>
                    </a:cubicBezTo>
                    <a:cubicBezTo>
                      <a:pt x="72" y="45"/>
                      <a:pt x="66" y="62"/>
                      <a:pt x="53" y="81"/>
                    </a:cubicBezTo>
                    <a:cubicBezTo>
                      <a:pt x="39" y="101"/>
                      <a:pt x="2" y="126"/>
                      <a:pt x="0" y="127"/>
                    </a:cubicBezTo>
                    <a:cubicBezTo>
                      <a:pt x="41" y="215"/>
                      <a:pt x="41" y="215"/>
                      <a:pt x="41" y="215"/>
                    </a:cubicBezTo>
                    <a:cubicBezTo>
                      <a:pt x="260" y="114"/>
                      <a:pt x="260" y="114"/>
                      <a:pt x="260" y="114"/>
                    </a:cubicBezTo>
                    <a:cubicBezTo>
                      <a:pt x="260" y="114"/>
                      <a:pt x="260" y="114"/>
                      <a:pt x="260" y="114"/>
                    </a:cubicBezTo>
                    <a:cubicBezTo>
                      <a:pt x="55" y="0"/>
                      <a:pt x="55" y="0"/>
                      <a:pt x="55" y="0"/>
                    </a:cubicBezTo>
                  </a:path>
                </a:pathLst>
              </a:custGeom>
              <a:solidFill>
                <a:srgbClr val="E2BC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01" name="Freeform 100"/>
              <p:cNvSpPr>
                <a:spLocks/>
              </p:cNvSpPr>
              <p:nvPr/>
            </p:nvSpPr>
            <p:spPr bwMode="auto">
              <a:xfrm>
                <a:off x="6040805" y="4045562"/>
                <a:ext cx="128588" cy="158750"/>
              </a:xfrm>
              <a:custGeom>
                <a:avLst/>
                <a:gdLst>
                  <a:gd name="T0" fmla="*/ 0 w 171"/>
                  <a:gd name="T1" fmla="*/ 0 h 213"/>
                  <a:gd name="T2" fmla="*/ 98 w 171"/>
                  <a:gd name="T3" fmla="*/ 213 h 213"/>
                  <a:gd name="T4" fmla="*/ 151 w 171"/>
                  <a:gd name="T5" fmla="*/ 167 h 213"/>
                  <a:gd name="T6" fmla="*/ 171 w 171"/>
                  <a:gd name="T7" fmla="*/ 127 h 213"/>
                  <a:gd name="T8" fmla="*/ 148 w 171"/>
                  <a:gd name="T9" fmla="*/ 132 h 213"/>
                  <a:gd name="T10" fmla="*/ 98 w 171"/>
                  <a:gd name="T11" fmla="*/ 100 h 213"/>
                  <a:gd name="T12" fmla="*/ 97 w 171"/>
                  <a:gd name="T13" fmla="*/ 55 h 213"/>
                  <a:gd name="T14" fmla="*/ 0 w 171"/>
                  <a:gd name="T15" fmla="*/ 0 h 2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213">
                    <a:moveTo>
                      <a:pt x="0" y="0"/>
                    </a:moveTo>
                    <a:cubicBezTo>
                      <a:pt x="98" y="213"/>
                      <a:pt x="98" y="213"/>
                      <a:pt x="98" y="213"/>
                    </a:cubicBezTo>
                    <a:cubicBezTo>
                      <a:pt x="100" y="212"/>
                      <a:pt x="137" y="187"/>
                      <a:pt x="151" y="167"/>
                    </a:cubicBezTo>
                    <a:cubicBezTo>
                      <a:pt x="164" y="148"/>
                      <a:pt x="170" y="131"/>
                      <a:pt x="171" y="127"/>
                    </a:cubicBezTo>
                    <a:cubicBezTo>
                      <a:pt x="163" y="131"/>
                      <a:pt x="156" y="132"/>
                      <a:pt x="148" y="132"/>
                    </a:cubicBezTo>
                    <a:cubicBezTo>
                      <a:pt x="127" y="132"/>
                      <a:pt x="107" y="120"/>
                      <a:pt x="98" y="100"/>
                    </a:cubicBezTo>
                    <a:cubicBezTo>
                      <a:pt x="91" y="85"/>
                      <a:pt x="91" y="68"/>
                      <a:pt x="97" y="55"/>
                    </a:cubicBezTo>
                    <a:cubicBezTo>
                      <a:pt x="0" y="0"/>
                      <a:pt x="0" y="0"/>
                      <a:pt x="0" y="0"/>
                    </a:cubicBezTo>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02" name="Freeform 101"/>
              <p:cNvSpPr>
                <a:spLocks/>
              </p:cNvSpPr>
              <p:nvPr/>
            </p:nvSpPr>
            <p:spPr bwMode="auto">
              <a:xfrm>
                <a:off x="6109067" y="4085249"/>
                <a:ext cx="60325" cy="58738"/>
              </a:xfrm>
              <a:custGeom>
                <a:avLst/>
                <a:gdLst>
                  <a:gd name="T0" fmla="*/ 6 w 81"/>
                  <a:gd name="T1" fmla="*/ 0 h 77"/>
                  <a:gd name="T2" fmla="*/ 7 w 81"/>
                  <a:gd name="T3" fmla="*/ 45 h 77"/>
                  <a:gd name="T4" fmla="*/ 57 w 81"/>
                  <a:gd name="T5" fmla="*/ 77 h 77"/>
                  <a:gd name="T6" fmla="*/ 80 w 81"/>
                  <a:gd name="T7" fmla="*/ 72 h 77"/>
                  <a:gd name="T8" fmla="*/ 81 w 81"/>
                  <a:gd name="T9" fmla="*/ 72 h 77"/>
                  <a:gd name="T10" fmla="*/ 62 w 81"/>
                  <a:gd name="T11" fmla="*/ 31 h 77"/>
                  <a:gd name="T12" fmla="*/ 61 w 81"/>
                  <a:gd name="T13" fmla="*/ 30 h 77"/>
                  <a:gd name="T14" fmla="*/ 69 w 81"/>
                  <a:gd name="T15" fmla="*/ 47 h 77"/>
                  <a:gd name="T16" fmla="*/ 57 w 81"/>
                  <a:gd name="T17" fmla="*/ 49 h 77"/>
                  <a:gd name="T18" fmla="*/ 32 w 81"/>
                  <a:gd name="T19" fmla="*/ 33 h 77"/>
                  <a:gd name="T20" fmla="*/ 30 w 81"/>
                  <a:gd name="T21" fmla="*/ 13 h 77"/>
                  <a:gd name="T22" fmla="*/ 6 w 81"/>
                  <a:gd name="T23"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 h="77">
                    <a:moveTo>
                      <a:pt x="6" y="0"/>
                    </a:moveTo>
                    <a:cubicBezTo>
                      <a:pt x="0" y="13"/>
                      <a:pt x="0" y="30"/>
                      <a:pt x="7" y="45"/>
                    </a:cubicBezTo>
                    <a:cubicBezTo>
                      <a:pt x="16" y="65"/>
                      <a:pt x="36" y="77"/>
                      <a:pt x="57" y="77"/>
                    </a:cubicBezTo>
                    <a:cubicBezTo>
                      <a:pt x="65" y="77"/>
                      <a:pt x="72" y="76"/>
                      <a:pt x="80" y="72"/>
                    </a:cubicBezTo>
                    <a:cubicBezTo>
                      <a:pt x="80" y="72"/>
                      <a:pt x="80" y="72"/>
                      <a:pt x="81" y="72"/>
                    </a:cubicBezTo>
                    <a:cubicBezTo>
                      <a:pt x="62" y="31"/>
                      <a:pt x="62" y="31"/>
                      <a:pt x="62" y="31"/>
                    </a:cubicBezTo>
                    <a:cubicBezTo>
                      <a:pt x="61" y="30"/>
                      <a:pt x="61" y="30"/>
                      <a:pt x="61" y="30"/>
                    </a:cubicBezTo>
                    <a:cubicBezTo>
                      <a:pt x="69" y="47"/>
                      <a:pt x="69" y="47"/>
                      <a:pt x="69" y="47"/>
                    </a:cubicBezTo>
                    <a:cubicBezTo>
                      <a:pt x="65" y="48"/>
                      <a:pt x="61" y="49"/>
                      <a:pt x="57" y="49"/>
                    </a:cubicBezTo>
                    <a:cubicBezTo>
                      <a:pt x="47" y="49"/>
                      <a:pt x="36" y="43"/>
                      <a:pt x="32" y="33"/>
                    </a:cubicBezTo>
                    <a:cubicBezTo>
                      <a:pt x="29" y="26"/>
                      <a:pt x="28" y="19"/>
                      <a:pt x="30" y="13"/>
                    </a:cubicBezTo>
                    <a:cubicBezTo>
                      <a:pt x="6" y="0"/>
                      <a:pt x="6" y="0"/>
                      <a:pt x="6" y="0"/>
                    </a:cubicBezTo>
                  </a:path>
                </a:pathLst>
              </a:custGeom>
              <a:solidFill>
                <a:srgbClr val="E2BC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03" name="Freeform 102"/>
              <p:cNvSpPr>
                <a:spLocks/>
              </p:cNvSpPr>
              <p:nvPr/>
            </p:nvSpPr>
            <p:spPr bwMode="auto">
              <a:xfrm>
                <a:off x="6131292" y="4083662"/>
                <a:ext cx="23813" cy="25400"/>
              </a:xfrm>
              <a:custGeom>
                <a:avLst/>
                <a:gdLst>
                  <a:gd name="T0" fmla="*/ 15 w 31"/>
                  <a:gd name="T1" fmla="*/ 0 h 34"/>
                  <a:gd name="T2" fmla="*/ 0 w 31"/>
                  <a:gd name="T3" fmla="*/ 17 h 34"/>
                  <a:gd name="T4" fmla="*/ 31 w 31"/>
                  <a:gd name="T5" fmla="*/ 34 h 34"/>
                  <a:gd name="T6" fmla="*/ 15 w 31"/>
                  <a:gd name="T7" fmla="*/ 0 h 34"/>
                </a:gdLst>
                <a:ahLst/>
                <a:cxnLst>
                  <a:cxn ang="0">
                    <a:pos x="T0" y="T1"/>
                  </a:cxn>
                  <a:cxn ang="0">
                    <a:pos x="T2" y="T3"/>
                  </a:cxn>
                  <a:cxn ang="0">
                    <a:pos x="T4" y="T5"/>
                  </a:cxn>
                  <a:cxn ang="0">
                    <a:pos x="T6" y="T7"/>
                  </a:cxn>
                </a:cxnLst>
                <a:rect l="0" t="0" r="r" b="b"/>
                <a:pathLst>
                  <a:path w="31" h="34">
                    <a:moveTo>
                      <a:pt x="15" y="0"/>
                    </a:moveTo>
                    <a:cubicBezTo>
                      <a:pt x="8" y="3"/>
                      <a:pt x="3" y="10"/>
                      <a:pt x="0" y="17"/>
                    </a:cubicBezTo>
                    <a:cubicBezTo>
                      <a:pt x="31" y="34"/>
                      <a:pt x="31" y="34"/>
                      <a:pt x="31" y="34"/>
                    </a:cubicBezTo>
                    <a:cubicBezTo>
                      <a:pt x="15" y="0"/>
                      <a:pt x="15" y="0"/>
                      <a:pt x="15" y="0"/>
                    </a:cubicBezTo>
                  </a:path>
                </a:pathLst>
              </a:custGeom>
              <a:solidFill>
                <a:srgbClr val="E2BC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04" name="Freeform 103"/>
              <p:cNvSpPr>
                <a:spLocks/>
              </p:cNvSpPr>
              <p:nvPr/>
            </p:nvSpPr>
            <p:spPr bwMode="auto">
              <a:xfrm>
                <a:off x="6129705" y="4096362"/>
                <a:ext cx="30163" cy="25400"/>
              </a:xfrm>
              <a:custGeom>
                <a:avLst/>
                <a:gdLst>
                  <a:gd name="T0" fmla="*/ 2 w 41"/>
                  <a:gd name="T1" fmla="*/ 0 h 36"/>
                  <a:gd name="T2" fmla="*/ 4 w 41"/>
                  <a:gd name="T3" fmla="*/ 20 h 36"/>
                  <a:gd name="T4" fmla="*/ 29 w 41"/>
                  <a:gd name="T5" fmla="*/ 36 h 36"/>
                  <a:gd name="T6" fmla="*/ 41 w 41"/>
                  <a:gd name="T7" fmla="*/ 34 h 36"/>
                  <a:gd name="T8" fmla="*/ 33 w 41"/>
                  <a:gd name="T9" fmla="*/ 17 h 36"/>
                  <a:gd name="T10" fmla="*/ 2 w 41"/>
                  <a:gd name="T11" fmla="*/ 0 h 36"/>
                </a:gdLst>
                <a:ahLst/>
                <a:cxnLst>
                  <a:cxn ang="0">
                    <a:pos x="T0" y="T1"/>
                  </a:cxn>
                  <a:cxn ang="0">
                    <a:pos x="T2" y="T3"/>
                  </a:cxn>
                  <a:cxn ang="0">
                    <a:pos x="T4" y="T5"/>
                  </a:cxn>
                  <a:cxn ang="0">
                    <a:pos x="T6" y="T7"/>
                  </a:cxn>
                  <a:cxn ang="0">
                    <a:pos x="T8" y="T9"/>
                  </a:cxn>
                  <a:cxn ang="0">
                    <a:pos x="T10" y="T11"/>
                  </a:cxn>
                </a:cxnLst>
                <a:rect l="0" t="0" r="r" b="b"/>
                <a:pathLst>
                  <a:path w="41" h="36">
                    <a:moveTo>
                      <a:pt x="2" y="0"/>
                    </a:moveTo>
                    <a:cubicBezTo>
                      <a:pt x="0" y="6"/>
                      <a:pt x="1" y="13"/>
                      <a:pt x="4" y="20"/>
                    </a:cubicBezTo>
                    <a:cubicBezTo>
                      <a:pt x="8" y="30"/>
                      <a:pt x="19" y="36"/>
                      <a:pt x="29" y="36"/>
                    </a:cubicBezTo>
                    <a:cubicBezTo>
                      <a:pt x="33" y="36"/>
                      <a:pt x="37" y="35"/>
                      <a:pt x="41" y="34"/>
                    </a:cubicBezTo>
                    <a:cubicBezTo>
                      <a:pt x="33" y="17"/>
                      <a:pt x="33" y="17"/>
                      <a:pt x="33" y="17"/>
                    </a:cubicBezTo>
                    <a:cubicBezTo>
                      <a:pt x="2" y="0"/>
                      <a:pt x="2" y="0"/>
                      <a:pt x="2" y="0"/>
                    </a:cubicBezTo>
                  </a:path>
                </a:pathLst>
              </a:custGeom>
              <a:solidFill>
                <a:srgbClr val="CBA9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grpSp>
      </p:grpSp>
      <p:grpSp>
        <p:nvGrpSpPr>
          <p:cNvPr id="709" name="Group 708"/>
          <p:cNvGrpSpPr/>
          <p:nvPr/>
        </p:nvGrpSpPr>
        <p:grpSpPr>
          <a:xfrm>
            <a:off x="4753748" y="4203776"/>
            <a:ext cx="2473206" cy="1882999"/>
            <a:chOff x="4660096" y="4121723"/>
            <a:chExt cx="2424932" cy="1846245"/>
          </a:xfrm>
        </p:grpSpPr>
        <p:sp>
          <p:nvSpPr>
            <p:cNvPr id="187" name="TextBox 186"/>
            <p:cNvSpPr txBox="1"/>
            <p:nvPr/>
          </p:nvSpPr>
          <p:spPr>
            <a:xfrm>
              <a:off x="4660096" y="5044638"/>
              <a:ext cx="2424932" cy="923330"/>
            </a:xfrm>
            <a:prstGeom prst="rect">
              <a:avLst/>
            </a:prstGeom>
            <a:noFill/>
          </p:spPr>
          <p:txBody>
            <a:bodyPr wrap="square" lIns="93260" tIns="93260" rIns="93260" bIns="93260" rtlCol="0">
              <a:noAutofit/>
            </a:bodyPr>
            <a:lstStyle/>
            <a:p>
              <a:pPr algn="ctr" defTabSz="932597">
                <a:defRPr/>
              </a:pPr>
              <a:r>
                <a:rPr lang="en-US" sz="2040" kern="0" dirty="0">
                  <a:solidFill>
                    <a:srgbClr val="505050"/>
                  </a:solidFill>
                  <a:latin typeface="Segoe UI Semibold" panose="020B0702040204020203" pitchFamily="34" charset="0"/>
                </a:rPr>
                <a:t>Fine-tune query performance</a:t>
              </a:r>
            </a:p>
          </p:txBody>
        </p:sp>
        <p:grpSp>
          <p:nvGrpSpPr>
            <p:cNvPr id="106" name="Group 105"/>
            <p:cNvGrpSpPr/>
            <p:nvPr/>
          </p:nvGrpSpPr>
          <p:grpSpPr>
            <a:xfrm>
              <a:off x="5287598" y="4121723"/>
              <a:ext cx="1287463" cy="889001"/>
              <a:chOff x="2662238" y="3486150"/>
              <a:chExt cx="1287463" cy="889001"/>
            </a:xfrm>
          </p:grpSpPr>
          <p:sp>
            <p:nvSpPr>
              <p:cNvPr id="107" name="Freeform 111"/>
              <p:cNvSpPr>
                <a:spLocks/>
              </p:cNvSpPr>
              <p:nvPr/>
            </p:nvSpPr>
            <p:spPr bwMode="auto">
              <a:xfrm>
                <a:off x="2662238" y="3722688"/>
                <a:ext cx="82550" cy="87313"/>
              </a:xfrm>
              <a:custGeom>
                <a:avLst/>
                <a:gdLst>
                  <a:gd name="T0" fmla="*/ 0 w 52"/>
                  <a:gd name="T1" fmla="*/ 5 h 55"/>
                  <a:gd name="T2" fmla="*/ 46 w 52"/>
                  <a:gd name="T3" fmla="*/ 55 h 55"/>
                  <a:gd name="T4" fmla="*/ 52 w 52"/>
                  <a:gd name="T5" fmla="*/ 50 h 55"/>
                  <a:gd name="T6" fmla="*/ 7 w 52"/>
                  <a:gd name="T7" fmla="*/ 0 h 55"/>
                  <a:gd name="T8" fmla="*/ 0 w 52"/>
                  <a:gd name="T9" fmla="*/ 5 h 55"/>
                </a:gdLst>
                <a:ahLst/>
                <a:cxnLst>
                  <a:cxn ang="0">
                    <a:pos x="T0" y="T1"/>
                  </a:cxn>
                  <a:cxn ang="0">
                    <a:pos x="T2" y="T3"/>
                  </a:cxn>
                  <a:cxn ang="0">
                    <a:pos x="T4" y="T5"/>
                  </a:cxn>
                  <a:cxn ang="0">
                    <a:pos x="T6" y="T7"/>
                  </a:cxn>
                  <a:cxn ang="0">
                    <a:pos x="T8" y="T9"/>
                  </a:cxn>
                </a:cxnLst>
                <a:rect l="0" t="0" r="r" b="b"/>
                <a:pathLst>
                  <a:path w="52" h="55">
                    <a:moveTo>
                      <a:pt x="0" y="5"/>
                    </a:moveTo>
                    <a:lnTo>
                      <a:pt x="46" y="55"/>
                    </a:lnTo>
                    <a:lnTo>
                      <a:pt x="52" y="50"/>
                    </a:lnTo>
                    <a:lnTo>
                      <a:pt x="7" y="0"/>
                    </a:lnTo>
                    <a:lnTo>
                      <a:pt x="0" y="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08" name="Freeform 112"/>
              <p:cNvSpPr>
                <a:spLocks/>
              </p:cNvSpPr>
              <p:nvPr/>
            </p:nvSpPr>
            <p:spPr bwMode="auto">
              <a:xfrm>
                <a:off x="2701925" y="3697288"/>
                <a:ext cx="60325" cy="68263"/>
              </a:xfrm>
              <a:custGeom>
                <a:avLst/>
                <a:gdLst>
                  <a:gd name="T0" fmla="*/ 0 w 38"/>
                  <a:gd name="T1" fmla="*/ 7 h 43"/>
                  <a:gd name="T2" fmla="*/ 29 w 38"/>
                  <a:gd name="T3" fmla="*/ 43 h 43"/>
                  <a:gd name="T4" fmla="*/ 38 w 38"/>
                  <a:gd name="T5" fmla="*/ 36 h 43"/>
                  <a:gd name="T6" fmla="*/ 7 w 38"/>
                  <a:gd name="T7" fmla="*/ 0 h 43"/>
                  <a:gd name="T8" fmla="*/ 0 w 38"/>
                  <a:gd name="T9" fmla="*/ 7 h 43"/>
                </a:gdLst>
                <a:ahLst/>
                <a:cxnLst>
                  <a:cxn ang="0">
                    <a:pos x="T0" y="T1"/>
                  </a:cxn>
                  <a:cxn ang="0">
                    <a:pos x="T2" y="T3"/>
                  </a:cxn>
                  <a:cxn ang="0">
                    <a:pos x="T4" y="T5"/>
                  </a:cxn>
                  <a:cxn ang="0">
                    <a:pos x="T6" y="T7"/>
                  </a:cxn>
                  <a:cxn ang="0">
                    <a:pos x="T8" y="T9"/>
                  </a:cxn>
                </a:cxnLst>
                <a:rect l="0" t="0" r="r" b="b"/>
                <a:pathLst>
                  <a:path w="38" h="43">
                    <a:moveTo>
                      <a:pt x="0" y="7"/>
                    </a:moveTo>
                    <a:lnTo>
                      <a:pt x="29" y="43"/>
                    </a:lnTo>
                    <a:lnTo>
                      <a:pt x="38" y="36"/>
                    </a:lnTo>
                    <a:lnTo>
                      <a:pt x="7" y="0"/>
                    </a:lnTo>
                    <a:lnTo>
                      <a:pt x="0" y="7"/>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09" name="Freeform 113"/>
              <p:cNvSpPr>
                <a:spLocks/>
              </p:cNvSpPr>
              <p:nvPr/>
            </p:nvSpPr>
            <p:spPr bwMode="auto">
              <a:xfrm>
                <a:off x="2736850" y="3670300"/>
                <a:ext cx="58738" cy="69850"/>
              </a:xfrm>
              <a:custGeom>
                <a:avLst/>
                <a:gdLst>
                  <a:gd name="T0" fmla="*/ 0 w 37"/>
                  <a:gd name="T1" fmla="*/ 6 h 44"/>
                  <a:gd name="T2" fmla="*/ 28 w 37"/>
                  <a:gd name="T3" fmla="*/ 44 h 44"/>
                  <a:gd name="T4" fmla="*/ 37 w 37"/>
                  <a:gd name="T5" fmla="*/ 38 h 44"/>
                  <a:gd name="T6" fmla="*/ 9 w 37"/>
                  <a:gd name="T7" fmla="*/ 0 h 44"/>
                  <a:gd name="T8" fmla="*/ 0 w 37"/>
                  <a:gd name="T9" fmla="*/ 6 h 44"/>
                </a:gdLst>
                <a:ahLst/>
                <a:cxnLst>
                  <a:cxn ang="0">
                    <a:pos x="T0" y="T1"/>
                  </a:cxn>
                  <a:cxn ang="0">
                    <a:pos x="T2" y="T3"/>
                  </a:cxn>
                  <a:cxn ang="0">
                    <a:pos x="T4" y="T5"/>
                  </a:cxn>
                  <a:cxn ang="0">
                    <a:pos x="T6" y="T7"/>
                  </a:cxn>
                  <a:cxn ang="0">
                    <a:pos x="T8" y="T9"/>
                  </a:cxn>
                </a:cxnLst>
                <a:rect l="0" t="0" r="r" b="b"/>
                <a:pathLst>
                  <a:path w="37" h="44">
                    <a:moveTo>
                      <a:pt x="0" y="6"/>
                    </a:moveTo>
                    <a:lnTo>
                      <a:pt x="28" y="44"/>
                    </a:lnTo>
                    <a:lnTo>
                      <a:pt x="37" y="38"/>
                    </a:lnTo>
                    <a:lnTo>
                      <a:pt x="9" y="0"/>
                    </a:lnTo>
                    <a:lnTo>
                      <a:pt x="0" y="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10" name="Freeform 114"/>
              <p:cNvSpPr>
                <a:spLocks/>
              </p:cNvSpPr>
              <p:nvPr/>
            </p:nvSpPr>
            <p:spPr bwMode="auto">
              <a:xfrm>
                <a:off x="2774950" y="3644900"/>
                <a:ext cx="55563" cy="69850"/>
              </a:xfrm>
              <a:custGeom>
                <a:avLst/>
                <a:gdLst>
                  <a:gd name="T0" fmla="*/ 0 w 35"/>
                  <a:gd name="T1" fmla="*/ 5 h 44"/>
                  <a:gd name="T2" fmla="*/ 27 w 35"/>
                  <a:gd name="T3" fmla="*/ 44 h 44"/>
                  <a:gd name="T4" fmla="*/ 35 w 35"/>
                  <a:gd name="T5" fmla="*/ 39 h 44"/>
                  <a:gd name="T6" fmla="*/ 9 w 35"/>
                  <a:gd name="T7" fmla="*/ 0 h 44"/>
                  <a:gd name="T8" fmla="*/ 0 w 35"/>
                  <a:gd name="T9" fmla="*/ 5 h 44"/>
                </a:gdLst>
                <a:ahLst/>
                <a:cxnLst>
                  <a:cxn ang="0">
                    <a:pos x="T0" y="T1"/>
                  </a:cxn>
                  <a:cxn ang="0">
                    <a:pos x="T2" y="T3"/>
                  </a:cxn>
                  <a:cxn ang="0">
                    <a:pos x="T4" y="T5"/>
                  </a:cxn>
                  <a:cxn ang="0">
                    <a:pos x="T6" y="T7"/>
                  </a:cxn>
                  <a:cxn ang="0">
                    <a:pos x="T8" y="T9"/>
                  </a:cxn>
                </a:cxnLst>
                <a:rect l="0" t="0" r="r" b="b"/>
                <a:pathLst>
                  <a:path w="35" h="44">
                    <a:moveTo>
                      <a:pt x="0" y="5"/>
                    </a:moveTo>
                    <a:lnTo>
                      <a:pt x="27" y="44"/>
                    </a:lnTo>
                    <a:lnTo>
                      <a:pt x="35" y="39"/>
                    </a:lnTo>
                    <a:lnTo>
                      <a:pt x="9" y="0"/>
                    </a:lnTo>
                    <a:lnTo>
                      <a:pt x="0" y="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11" name="Freeform 115"/>
              <p:cNvSpPr>
                <a:spLocks/>
              </p:cNvSpPr>
              <p:nvPr/>
            </p:nvSpPr>
            <p:spPr bwMode="auto">
              <a:xfrm>
                <a:off x="2814638" y="3619500"/>
                <a:ext cx="50800" cy="73025"/>
              </a:xfrm>
              <a:custGeom>
                <a:avLst/>
                <a:gdLst>
                  <a:gd name="T0" fmla="*/ 0 w 32"/>
                  <a:gd name="T1" fmla="*/ 6 h 46"/>
                  <a:gd name="T2" fmla="*/ 24 w 32"/>
                  <a:gd name="T3" fmla="*/ 46 h 46"/>
                  <a:gd name="T4" fmla="*/ 32 w 32"/>
                  <a:gd name="T5" fmla="*/ 41 h 46"/>
                  <a:gd name="T6" fmla="*/ 9 w 32"/>
                  <a:gd name="T7" fmla="*/ 0 h 46"/>
                  <a:gd name="T8" fmla="*/ 0 w 32"/>
                  <a:gd name="T9" fmla="*/ 6 h 46"/>
                </a:gdLst>
                <a:ahLst/>
                <a:cxnLst>
                  <a:cxn ang="0">
                    <a:pos x="T0" y="T1"/>
                  </a:cxn>
                  <a:cxn ang="0">
                    <a:pos x="T2" y="T3"/>
                  </a:cxn>
                  <a:cxn ang="0">
                    <a:pos x="T4" y="T5"/>
                  </a:cxn>
                  <a:cxn ang="0">
                    <a:pos x="T6" y="T7"/>
                  </a:cxn>
                  <a:cxn ang="0">
                    <a:pos x="T8" y="T9"/>
                  </a:cxn>
                </a:cxnLst>
                <a:rect l="0" t="0" r="r" b="b"/>
                <a:pathLst>
                  <a:path w="32" h="46">
                    <a:moveTo>
                      <a:pt x="0" y="6"/>
                    </a:moveTo>
                    <a:lnTo>
                      <a:pt x="24" y="46"/>
                    </a:lnTo>
                    <a:lnTo>
                      <a:pt x="32" y="41"/>
                    </a:lnTo>
                    <a:lnTo>
                      <a:pt x="9" y="0"/>
                    </a:lnTo>
                    <a:lnTo>
                      <a:pt x="0" y="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12" name="Freeform 116"/>
              <p:cNvSpPr>
                <a:spLocks/>
              </p:cNvSpPr>
              <p:nvPr/>
            </p:nvSpPr>
            <p:spPr bwMode="auto">
              <a:xfrm>
                <a:off x="2851150" y="3590925"/>
                <a:ext cx="63500" cy="101600"/>
              </a:xfrm>
              <a:custGeom>
                <a:avLst/>
                <a:gdLst>
                  <a:gd name="T0" fmla="*/ 0 w 40"/>
                  <a:gd name="T1" fmla="*/ 4 h 64"/>
                  <a:gd name="T2" fmla="*/ 32 w 40"/>
                  <a:gd name="T3" fmla="*/ 64 h 64"/>
                  <a:gd name="T4" fmla="*/ 40 w 40"/>
                  <a:gd name="T5" fmla="*/ 60 h 64"/>
                  <a:gd name="T6" fmla="*/ 8 w 40"/>
                  <a:gd name="T7" fmla="*/ 0 h 64"/>
                  <a:gd name="T8" fmla="*/ 0 w 40"/>
                  <a:gd name="T9" fmla="*/ 4 h 64"/>
                </a:gdLst>
                <a:ahLst/>
                <a:cxnLst>
                  <a:cxn ang="0">
                    <a:pos x="T0" y="T1"/>
                  </a:cxn>
                  <a:cxn ang="0">
                    <a:pos x="T2" y="T3"/>
                  </a:cxn>
                  <a:cxn ang="0">
                    <a:pos x="T4" y="T5"/>
                  </a:cxn>
                  <a:cxn ang="0">
                    <a:pos x="T6" y="T7"/>
                  </a:cxn>
                  <a:cxn ang="0">
                    <a:pos x="T8" y="T9"/>
                  </a:cxn>
                </a:cxnLst>
                <a:rect l="0" t="0" r="r" b="b"/>
                <a:pathLst>
                  <a:path w="40" h="64">
                    <a:moveTo>
                      <a:pt x="0" y="4"/>
                    </a:moveTo>
                    <a:lnTo>
                      <a:pt x="32" y="64"/>
                    </a:lnTo>
                    <a:lnTo>
                      <a:pt x="40" y="60"/>
                    </a:lnTo>
                    <a:lnTo>
                      <a:pt x="8" y="0"/>
                    </a:lnTo>
                    <a:lnTo>
                      <a:pt x="0" y="4"/>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13" name="Freeform 117"/>
              <p:cNvSpPr>
                <a:spLocks/>
              </p:cNvSpPr>
              <p:nvPr/>
            </p:nvSpPr>
            <p:spPr bwMode="auto">
              <a:xfrm>
                <a:off x="2895600" y="3578225"/>
                <a:ext cx="46038" cy="73025"/>
              </a:xfrm>
              <a:custGeom>
                <a:avLst/>
                <a:gdLst>
                  <a:gd name="T0" fmla="*/ 0 w 29"/>
                  <a:gd name="T1" fmla="*/ 4 h 46"/>
                  <a:gd name="T2" fmla="*/ 21 w 29"/>
                  <a:gd name="T3" fmla="*/ 46 h 46"/>
                  <a:gd name="T4" fmla="*/ 29 w 29"/>
                  <a:gd name="T5" fmla="*/ 42 h 46"/>
                  <a:gd name="T6" fmla="*/ 9 w 29"/>
                  <a:gd name="T7" fmla="*/ 0 h 46"/>
                  <a:gd name="T8" fmla="*/ 0 w 29"/>
                  <a:gd name="T9" fmla="*/ 4 h 46"/>
                </a:gdLst>
                <a:ahLst/>
                <a:cxnLst>
                  <a:cxn ang="0">
                    <a:pos x="T0" y="T1"/>
                  </a:cxn>
                  <a:cxn ang="0">
                    <a:pos x="T2" y="T3"/>
                  </a:cxn>
                  <a:cxn ang="0">
                    <a:pos x="T4" y="T5"/>
                  </a:cxn>
                  <a:cxn ang="0">
                    <a:pos x="T6" y="T7"/>
                  </a:cxn>
                  <a:cxn ang="0">
                    <a:pos x="T8" y="T9"/>
                  </a:cxn>
                </a:cxnLst>
                <a:rect l="0" t="0" r="r" b="b"/>
                <a:pathLst>
                  <a:path w="29" h="46">
                    <a:moveTo>
                      <a:pt x="0" y="4"/>
                    </a:moveTo>
                    <a:lnTo>
                      <a:pt x="21" y="46"/>
                    </a:lnTo>
                    <a:lnTo>
                      <a:pt x="29" y="42"/>
                    </a:lnTo>
                    <a:lnTo>
                      <a:pt x="9" y="0"/>
                    </a:lnTo>
                    <a:lnTo>
                      <a:pt x="0" y="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14" name="Freeform 118"/>
              <p:cNvSpPr>
                <a:spLocks/>
              </p:cNvSpPr>
              <p:nvPr/>
            </p:nvSpPr>
            <p:spPr bwMode="auto">
              <a:xfrm>
                <a:off x="2936875" y="3559175"/>
                <a:ext cx="44450" cy="76200"/>
              </a:xfrm>
              <a:custGeom>
                <a:avLst/>
                <a:gdLst>
                  <a:gd name="T0" fmla="*/ 0 w 28"/>
                  <a:gd name="T1" fmla="*/ 5 h 48"/>
                  <a:gd name="T2" fmla="*/ 18 w 28"/>
                  <a:gd name="T3" fmla="*/ 48 h 48"/>
                  <a:gd name="T4" fmla="*/ 28 w 28"/>
                  <a:gd name="T5" fmla="*/ 44 h 48"/>
                  <a:gd name="T6" fmla="*/ 10 w 28"/>
                  <a:gd name="T7" fmla="*/ 0 h 48"/>
                  <a:gd name="T8" fmla="*/ 0 w 28"/>
                  <a:gd name="T9" fmla="*/ 5 h 48"/>
                </a:gdLst>
                <a:ahLst/>
                <a:cxnLst>
                  <a:cxn ang="0">
                    <a:pos x="T0" y="T1"/>
                  </a:cxn>
                  <a:cxn ang="0">
                    <a:pos x="T2" y="T3"/>
                  </a:cxn>
                  <a:cxn ang="0">
                    <a:pos x="T4" y="T5"/>
                  </a:cxn>
                  <a:cxn ang="0">
                    <a:pos x="T6" y="T7"/>
                  </a:cxn>
                  <a:cxn ang="0">
                    <a:pos x="T8" y="T9"/>
                  </a:cxn>
                </a:cxnLst>
                <a:rect l="0" t="0" r="r" b="b"/>
                <a:pathLst>
                  <a:path w="28" h="48">
                    <a:moveTo>
                      <a:pt x="0" y="5"/>
                    </a:moveTo>
                    <a:lnTo>
                      <a:pt x="18" y="48"/>
                    </a:lnTo>
                    <a:lnTo>
                      <a:pt x="28" y="44"/>
                    </a:lnTo>
                    <a:lnTo>
                      <a:pt x="10" y="0"/>
                    </a:lnTo>
                    <a:lnTo>
                      <a:pt x="0" y="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17" name="Freeform 119"/>
              <p:cNvSpPr>
                <a:spLocks/>
              </p:cNvSpPr>
              <p:nvPr/>
            </p:nvSpPr>
            <p:spPr bwMode="auto">
              <a:xfrm>
                <a:off x="2981325" y="3544888"/>
                <a:ext cx="39688" cy="74613"/>
              </a:xfrm>
              <a:custGeom>
                <a:avLst/>
                <a:gdLst>
                  <a:gd name="T0" fmla="*/ 0 w 25"/>
                  <a:gd name="T1" fmla="*/ 2 h 47"/>
                  <a:gd name="T2" fmla="*/ 16 w 25"/>
                  <a:gd name="T3" fmla="*/ 47 h 47"/>
                  <a:gd name="T4" fmla="*/ 25 w 25"/>
                  <a:gd name="T5" fmla="*/ 43 h 47"/>
                  <a:gd name="T6" fmla="*/ 9 w 25"/>
                  <a:gd name="T7" fmla="*/ 0 h 47"/>
                  <a:gd name="T8" fmla="*/ 0 w 25"/>
                  <a:gd name="T9" fmla="*/ 2 h 47"/>
                </a:gdLst>
                <a:ahLst/>
                <a:cxnLst>
                  <a:cxn ang="0">
                    <a:pos x="T0" y="T1"/>
                  </a:cxn>
                  <a:cxn ang="0">
                    <a:pos x="T2" y="T3"/>
                  </a:cxn>
                  <a:cxn ang="0">
                    <a:pos x="T4" y="T5"/>
                  </a:cxn>
                  <a:cxn ang="0">
                    <a:pos x="T6" y="T7"/>
                  </a:cxn>
                  <a:cxn ang="0">
                    <a:pos x="T8" y="T9"/>
                  </a:cxn>
                </a:cxnLst>
                <a:rect l="0" t="0" r="r" b="b"/>
                <a:pathLst>
                  <a:path w="25" h="47">
                    <a:moveTo>
                      <a:pt x="0" y="2"/>
                    </a:moveTo>
                    <a:lnTo>
                      <a:pt x="16" y="47"/>
                    </a:lnTo>
                    <a:lnTo>
                      <a:pt x="25" y="43"/>
                    </a:lnTo>
                    <a:lnTo>
                      <a:pt x="9" y="0"/>
                    </a:lnTo>
                    <a:lnTo>
                      <a:pt x="0" y="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18" name="Freeform 120"/>
              <p:cNvSpPr>
                <a:spLocks/>
              </p:cNvSpPr>
              <p:nvPr/>
            </p:nvSpPr>
            <p:spPr bwMode="auto">
              <a:xfrm>
                <a:off x="3025775" y="3530600"/>
                <a:ext cx="36513" cy="76200"/>
              </a:xfrm>
              <a:custGeom>
                <a:avLst/>
                <a:gdLst>
                  <a:gd name="T0" fmla="*/ 0 w 23"/>
                  <a:gd name="T1" fmla="*/ 3 h 48"/>
                  <a:gd name="T2" fmla="*/ 13 w 23"/>
                  <a:gd name="T3" fmla="*/ 48 h 48"/>
                  <a:gd name="T4" fmla="*/ 23 w 23"/>
                  <a:gd name="T5" fmla="*/ 45 h 48"/>
                  <a:gd name="T6" fmla="*/ 9 w 23"/>
                  <a:gd name="T7" fmla="*/ 0 h 48"/>
                  <a:gd name="T8" fmla="*/ 0 w 23"/>
                  <a:gd name="T9" fmla="*/ 3 h 48"/>
                </a:gdLst>
                <a:ahLst/>
                <a:cxnLst>
                  <a:cxn ang="0">
                    <a:pos x="T0" y="T1"/>
                  </a:cxn>
                  <a:cxn ang="0">
                    <a:pos x="T2" y="T3"/>
                  </a:cxn>
                  <a:cxn ang="0">
                    <a:pos x="T4" y="T5"/>
                  </a:cxn>
                  <a:cxn ang="0">
                    <a:pos x="T6" y="T7"/>
                  </a:cxn>
                  <a:cxn ang="0">
                    <a:pos x="T8" y="T9"/>
                  </a:cxn>
                </a:cxnLst>
                <a:rect l="0" t="0" r="r" b="b"/>
                <a:pathLst>
                  <a:path w="23" h="48">
                    <a:moveTo>
                      <a:pt x="0" y="3"/>
                    </a:moveTo>
                    <a:lnTo>
                      <a:pt x="13" y="48"/>
                    </a:lnTo>
                    <a:lnTo>
                      <a:pt x="23" y="45"/>
                    </a:lnTo>
                    <a:lnTo>
                      <a:pt x="9" y="0"/>
                    </a:lnTo>
                    <a:lnTo>
                      <a:pt x="0" y="3"/>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19" name="Freeform 121"/>
              <p:cNvSpPr>
                <a:spLocks/>
              </p:cNvSpPr>
              <p:nvPr/>
            </p:nvSpPr>
            <p:spPr bwMode="auto">
              <a:xfrm>
                <a:off x="3068638" y="3511550"/>
                <a:ext cx="39688" cy="106363"/>
              </a:xfrm>
              <a:custGeom>
                <a:avLst/>
                <a:gdLst>
                  <a:gd name="T0" fmla="*/ 0 w 25"/>
                  <a:gd name="T1" fmla="*/ 2 h 67"/>
                  <a:gd name="T2" fmla="*/ 17 w 25"/>
                  <a:gd name="T3" fmla="*/ 67 h 67"/>
                  <a:gd name="T4" fmla="*/ 25 w 25"/>
                  <a:gd name="T5" fmla="*/ 65 h 67"/>
                  <a:gd name="T6" fmla="*/ 8 w 25"/>
                  <a:gd name="T7" fmla="*/ 0 h 67"/>
                  <a:gd name="T8" fmla="*/ 0 w 25"/>
                  <a:gd name="T9" fmla="*/ 2 h 67"/>
                </a:gdLst>
                <a:ahLst/>
                <a:cxnLst>
                  <a:cxn ang="0">
                    <a:pos x="T0" y="T1"/>
                  </a:cxn>
                  <a:cxn ang="0">
                    <a:pos x="T2" y="T3"/>
                  </a:cxn>
                  <a:cxn ang="0">
                    <a:pos x="T4" y="T5"/>
                  </a:cxn>
                  <a:cxn ang="0">
                    <a:pos x="T6" y="T7"/>
                  </a:cxn>
                  <a:cxn ang="0">
                    <a:pos x="T8" y="T9"/>
                  </a:cxn>
                </a:cxnLst>
                <a:rect l="0" t="0" r="r" b="b"/>
                <a:pathLst>
                  <a:path w="25" h="67">
                    <a:moveTo>
                      <a:pt x="0" y="2"/>
                    </a:moveTo>
                    <a:lnTo>
                      <a:pt x="17" y="67"/>
                    </a:lnTo>
                    <a:lnTo>
                      <a:pt x="25" y="65"/>
                    </a:lnTo>
                    <a:lnTo>
                      <a:pt x="8" y="0"/>
                    </a:lnTo>
                    <a:lnTo>
                      <a:pt x="0" y="2"/>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38" name="Freeform 122"/>
              <p:cNvSpPr>
                <a:spLocks/>
              </p:cNvSpPr>
              <p:nvPr/>
            </p:nvSpPr>
            <p:spPr bwMode="auto">
              <a:xfrm>
                <a:off x="3114675" y="3508375"/>
                <a:ext cx="31750" cy="76200"/>
              </a:xfrm>
              <a:custGeom>
                <a:avLst/>
                <a:gdLst>
                  <a:gd name="T0" fmla="*/ 0 w 20"/>
                  <a:gd name="T1" fmla="*/ 2 h 48"/>
                  <a:gd name="T2" fmla="*/ 10 w 20"/>
                  <a:gd name="T3" fmla="*/ 48 h 48"/>
                  <a:gd name="T4" fmla="*/ 20 w 20"/>
                  <a:gd name="T5" fmla="*/ 46 h 48"/>
                  <a:gd name="T6" fmla="*/ 10 w 20"/>
                  <a:gd name="T7" fmla="*/ 0 h 48"/>
                  <a:gd name="T8" fmla="*/ 0 w 20"/>
                  <a:gd name="T9" fmla="*/ 2 h 48"/>
                </a:gdLst>
                <a:ahLst/>
                <a:cxnLst>
                  <a:cxn ang="0">
                    <a:pos x="T0" y="T1"/>
                  </a:cxn>
                  <a:cxn ang="0">
                    <a:pos x="T2" y="T3"/>
                  </a:cxn>
                  <a:cxn ang="0">
                    <a:pos x="T4" y="T5"/>
                  </a:cxn>
                  <a:cxn ang="0">
                    <a:pos x="T6" y="T7"/>
                  </a:cxn>
                  <a:cxn ang="0">
                    <a:pos x="T8" y="T9"/>
                  </a:cxn>
                </a:cxnLst>
                <a:rect l="0" t="0" r="r" b="b"/>
                <a:pathLst>
                  <a:path w="20" h="48">
                    <a:moveTo>
                      <a:pt x="0" y="2"/>
                    </a:moveTo>
                    <a:lnTo>
                      <a:pt x="10" y="48"/>
                    </a:lnTo>
                    <a:lnTo>
                      <a:pt x="20" y="46"/>
                    </a:lnTo>
                    <a:lnTo>
                      <a:pt x="10" y="0"/>
                    </a:lnTo>
                    <a:lnTo>
                      <a:pt x="0" y="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39" name="Freeform 123"/>
              <p:cNvSpPr>
                <a:spLocks/>
              </p:cNvSpPr>
              <p:nvPr/>
            </p:nvSpPr>
            <p:spPr bwMode="auto">
              <a:xfrm>
                <a:off x="3162300" y="3502025"/>
                <a:ext cx="25400" cy="76200"/>
              </a:xfrm>
              <a:custGeom>
                <a:avLst/>
                <a:gdLst>
                  <a:gd name="T0" fmla="*/ 0 w 16"/>
                  <a:gd name="T1" fmla="*/ 1 h 48"/>
                  <a:gd name="T2" fmla="*/ 5 w 16"/>
                  <a:gd name="T3" fmla="*/ 48 h 48"/>
                  <a:gd name="T4" fmla="*/ 16 w 16"/>
                  <a:gd name="T5" fmla="*/ 46 h 48"/>
                  <a:gd name="T6" fmla="*/ 9 w 16"/>
                  <a:gd name="T7" fmla="*/ 0 h 48"/>
                  <a:gd name="T8" fmla="*/ 0 w 16"/>
                  <a:gd name="T9" fmla="*/ 1 h 48"/>
                </a:gdLst>
                <a:ahLst/>
                <a:cxnLst>
                  <a:cxn ang="0">
                    <a:pos x="T0" y="T1"/>
                  </a:cxn>
                  <a:cxn ang="0">
                    <a:pos x="T2" y="T3"/>
                  </a:cxn>
                  <a:cxn ang="0">
                    <a:pos x="T4" y="T5"/>
                  </a:cxn>
                  <a:cxn ang="0">
                    <a:pos x="T6" y="T7"/>
                  </a:cxn>
                  <a:cxn ang="0">
                    <a:pos x="T8" y="T9"/>
                  </a:cxn>
                </a:cxnLst>
                <a:rect l="0" t="0" r="r" b="b"/>
                <a:pathLst>
                  <a:path w="16" h="48">
                    <a:moveTo>
                      <a:pt x="0" y="1"/>
                    </a:moveTo>
                    <a:lnTo>
                      <a:pt x="5" y="48"/>
                    </a:lnTo>
                    <a:lnTo>
                      <a:pt x="16" y="46"/>
                    </a:lnTo>
                    <a:lnTo>
                      <a:pt x="9" y="0"/>
                    </a:ln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40" name="Freeform 124"/>
              <p:cNvSpPr>
                <a:spLocks/>
              </p:cNvSpPr>
              <p:nvPr/>
            </p:nvSpPr>
            <p:spPr bwMode="auto">
              <a:xfrm>
                <a:off x="3206750" y="3497263"/>
                <a:ext cx="23813" cy="73025"/>
              </a:xfrm>
              <a:custGeom>
                <a:avLst/>
                <a:gdLst>
                  <a:gd name="T0" fmla="*/ 0 w 15"/>
                  <a:gd name="T1" fmla="*/ 0 h 46"/>
                  <a:gd name="T2" fmla="*/ 5 w 15"/>
                  <a:gd name="T3" fmla="*/ 46 h 46"/>
                  <a:gd name="T4" fmla="*/ 15 w 15"/>
                  <a:gd name="T5" fmla="*/ 46 h 46"/>
                  <a:gd name="T6" fmla="*/ 11 w 15"/>
                  <a:gd name="T7" fmla="*/ 0 h 46"/>
                  <a:gd name="T8" fmla="*/ 0 w 15"/>
                  <a:gd name="T9" fmla="*/ 0 h 46"/>
                </a:gdLst>
                <a:ahLst/>
                <a:cxnLst>
                  <a:cxn ang="0">
                    <a:pos x="T0" y="T1"/>
                  </a:cxn>
                  <a:cxn ang="0">
                    <a:pos x="T2" y="T3"/>
                  </a:cxn>
                  <a:cxn ang="0">
                    <a:pos x="T4" y="T5"/>
                  </a:cxn>
                  <a:cxn ang="0">
                    <a:pos x="T6" y="T7"/>
                  </a:cxn>
                  <a:cxn ang="0">
                    <a:pos x="T8" y="T9"/>
                  </a:cxn>
                </a:cxnLst>
                <a:rect l="0" t="0" r="r" b="b"/>
                <a:pathLst>
                  <a:path w="15" h="46">
                    <a:moveTo>
                      <a:pt x="0" y="0"/>
                    </a:moveTo>
                    <a:lnTo>
                      <a:pt x="5" y="46"/>
                    </a:lnTo>
                    <a:lnTo>
                      <a:pt x="15" y="46"/>
                    </a:lnTo>
                    <a:lnTo>
                      <a:pt x="11" y="0"/>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44" name="Freeform 125"/>
              <p:cNvSpPr>
                <a:spLocks/>
              </p:cNvSpPr>
              <p:nvPr/>
            </p:nvSpPr>
            <p:spPr bwMode="auto">
              <a:xfrm>
                <a:off x="3252788" y="3492500"/>
                <a:ext cx="20638" cy="76200"/>
              </a:xfrm>
              <a:custGeom>
                <a:avLst/>
                <a:gdLst>
                  <a:gd name="T0" fmla="*/ 0 w 13"/>
                  <a:gd name="T1" fmla="*/ 2 h 48"/>
                  <a:gd name="T2" fmla="*/ 3 w 13"/>
                  <a:gd name="T3" fmla="*/ 48 h 48"/>
                  <a:gd name="T4" fmla="*/ 13 w 13"/>
                  <a:gd name="T5" fmla="*/ 48 h 48"/>
                  <a:gd name="T6" fmla="*/ 10 w 13"/>
                  <a:gd name="T7" fmla="*/ 0 h 48"/>
                  <a:gd name="T8" fmla="*/ 0 w 13"/>
                  <a:gd name="T9" fmla="*/ 2 h 48"/>
                </a:gdLst>
                <a:ahLst/>
                <a:cxnLst>
                  <a:cxn ang="0">
                    <a:pos x="T0" y="T1"/>
                  </a:cxn>
                  <a:cxn ang="0">
                    <a:pos x="T2" y="T3"/>
                  </a:cxn>
                  <a:cxn ang="0">
                    <a:pos x="T4" y="T5"/>
                  </a:cxn>
                  <a:cxn ang="0">
                    <a:pos x="T6" y="T7"/>
                  </a:cxn>
                  <a:cxn ang="0">
                    <a:pos x="T8" y="T9"/>
                  </a:cxn>
                </a:cxnLst>
                <a:rect l="0" t="0" r="r" b="b"/>
                <a:pathLst>
                  <a:path w="13" h="48">
                    <a:moveTo>
                      <a:pt x="0" y="2"/>
                    </a:moveTo>
                    <a:lnTo>
                      <a:pt x="3" y="48"/>
                    </a:lnTo>
                    <a:lnTo>
                      <a:pt x="13" y="48"/>
                    </a:lnTo>
                    <a:lnTo>
                      <a:pt x="10" y="0"/>
                    </a:lnTo>
                    <a:lnTo>
                      <a:pt x="0" y="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45" name="Freeform 126"/>
              <p:cNvSpPr>
                <a:spLocks/>
              </p:cNvSpPr>
              <p:nvPr/>
            </p:nvSpPr>
            <p:spPr bwMode="auto">
              <a:xfrm>
                <a:off x="3298825" y="3486150"/>
                <a:ext cx="15875" cy="106363"/>
              </a:xfrm>
              <a:custGeom>
                <a:avLst/>
                <a:gdLst>
                  <a:gd name="T0" fmla="*/ 0 w 10"/>
                  <a:gd name="T1" fmla="*/ 67 h 67"/>
                  <a:gd name="T2" fmla="*/ 10 w 10"/>
                  <a:gd name="T3" fmla="*/ 67 h 67"/>
                  <a:gd name="T4" fmla="*/ 10 w 10"/>
                  <a:gd name="T5" fmla="*/ 0 h 67"/>
                  <a:gd name="T6" fmla="*/ 2 w 10"/>
                  <a:gd name="T7" fmla="*/ 0 h 67"/>
                  <a:gd name="T8" fmla="*/ 0 w 10"/>
                  <a:gd name="T9" fmla="*/ 67 h 67"/>
                </a:gdLst>
                <a:ahLst/>
                <a:cxnLst>
                  <a:cxn ang="0">
                    <a:pos x="T0" y="T1"/>
                  </a:cxn>
                  <a:cxn ang="0">
                    <a:pos x="T2" y="T3"/>
                  </a:cxn>
                  <a:cxn ang="0">
                    <a:pos x="T4" y="T5"/>
                  </a:cxn>
                  <a:cxn ang="0">
                    <a:pos x="T6" y="T7"/>
                  </a:cxn>
                  <a:cxn ang="0">
                    <a:pos x="T8" y="T9"/>
                  </a:cxn>
                </a:cxnLst>
                <a:rect l="0" t="0" r="r" b="b"/>
                <a:pathLst>
                  <a:path w="10" h="67">
                    <a:moveTo>
                      <a:pt x="0" y="67"/>
                    </a:moveTo>
                    <a:lnTo>
                      <a:pt x="10" y="67"/>
                    </a:lnTo>
                    <a:lnTo>
                      <a:pt x="10" y="0"/>
                    </a:lnTo>
                    <a:lnTo>
                      <a:pt x="2" y="0"/>
                    </a:lnTo>
                    <a:lnTo>
                      <a:pt x="0" y="67"/>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46" name="Freeform 127"/>
              <p:cNvSpPr>
                <a:spLocks/>
              </p:cNvSpPr>
              <p:nvPr/>
            </p:nvSpPr>
            <p:spPr bwMode="auto">
              <a:xfrm>
                <a:off x="3341688" y="3495675"/>
                <a:ext cx="20638" cy="73025"/>
              </a:xfrm>
              <a:custGeom>
                <a:avLst/>
                <a:gdLst>
                  <a:gd name="T0" fmla="*/ 0 w 13"/>
                  <a:gd name="T1" fmla="*/ 46 h 46"/>
                  <a:gd name="T2" fmla="*/ 10 w 13"/>
                  <a:gd name="T3" fmla="*/ 46 h 46"/>
                  <a:gd name="T4" fmla="*/ 13 w 13"/>
                  <a:gd name="T5" fmla="*/ 0 h 46"/>
                  <a:gd name="T6" fmla="*/ 3 w 13"/>
                  <a:gd name="T7" fmla="*/ 0 h 46"/>
                  <a:gd name="T8" fmla="*/ 0 w 13"/>
                  <a:gd name="T9" fmla="*/ 46 h 46"/>
                </a:gdLst>
                <a:ahLst/>
                <a:cxnLst>
                  <a:cxn ang="0">
                    <a:pos x="T0" y="T1"/>
                  </a:cxn>
                  <a:cxn ang="0">
                    <a:pos x="T2" y="T3"/>
                  </a:cxn>
                  <a:cxn ang="0">
                    <a:pos x="T4" y="T5"/>
                  </a:cxn>
                  <a:cxn ang="0">
                    <a:pos x="T6" y="T7"/>
                  </a:cxn>
                  <a:cxn ang="0">
                    <a:pos x="T8" y="T9"/>
                  </a:cxn>
                </a:cxnLst>
                <a:rect l="0" t="0" r="r" b="b"/>
                <a:pathLst>
                  <a:path w="13" h="46">
                    <a:moveTo>
                      <a:pt x="0" y="46"/>
                    </a:moveTo>
                    <a:lnTo>
                      <a:pt x="10" y="46"/>
                    </a:lnTo>
                    <a:lnTo>
                      <a:pt x="13" y="0"/>
                    </a:lnTo>
                    <a:lnTo>
                      <a:pt x="3" y="0"/>
                    </a:lnTo>
                    <a:lnTo>
                      <a:pt x="0" y="4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58" name="Freeform 128"/>
              <p:cNvSpPr>
                <a:spLocks/>
              </p:cNvSpPr>
              <p:nvPr/>
            </p:nvSpPr>
            <p:spPr bwMode="auto">
              <a:xfrm>
                <a:off x="3384550" y="3497263"/>
                <a:ext cx="23813" cy="76200"/>
              </a:xfrm>
              <a:custGeom>
                <a:avLst/>
                <a:gdLst>
                  <a:gd name="T0" fmla="*/ 0 w 15"/>
                  <a:gd name="T1" fmla="*/ 46 h 48"/>
                  <a:gd name="T2" fmla="*/ 9 w 15"/>
                  <a:gd name="T3" fmla="*/ 48 h 48"/>
                  <a:gd name="T4" fmla="*/ 15 w 15"/>
                  <a:gd name="T5" fmla="*/ 2 h 48"/>
                  <a:gd name="T6" fmla="*/ 5 w 15"/>
                  <a:gd name="T7" fmla="*/ 0 h 48"/>
                  <a:gd name="T8" fmla="*/ 0 w 15"/>
                  <a:gd name="T9" fmla="*/ 46 h 48"/>
                </a:gdLst>
                <a:ahLst/>
                <a:cxnLst>
                  <a:cxn ang="0">
                    <a:pos x="T0" y="T1"/>
                  </a:cxn>
                  <a:cxn ang="0">
                    <a:pos x="T2" y="T3"/>
                  </a:cxn>
                  <a:cxn ang="0">
                    <a:pos x="T4" y="T5"/>
                  </a:cxn>
                  <a:cxn ang="0">
                    <a:pos x="T6" y="T7"/>
                  </a:cxn>
                  <a:cxn ang="0">
                    <a:pos x="T8" y="T9"/>
                  </a:cxn>
                </a:cxnLst>
                <a:rect l="0" t="0" r="r" b="b"/>
                <a:pathLst>
                  <a:path w="15" h="48">
                    <a:moveTo>
                      <a:pt x="0" y="46"/>
                    </a:moveTo>
                    <a:lnTo>
                      <a:pt x="9" y="48"/>
                    </a:lnTo>
                    <a:lnTo>
                      <a:pt x="15" y="2"/>
                    </a:lnTo>
                    <a:lnTo>
                      <a:pt x="5" y="0"/>
                    </a:lnTo>
                    <a:lnTo>
                      <a:pt x="0" y="4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59" name="Freeform 129"/>
              <p:cNvSpPr>
                <a:spLocks/>
              </p:cNvSpPr>
              <p:nvPr/>
            </p:nvSpPr>
            <p:spPr bwMode="auto">
              <a:xfrm>
                <a:off x="3425825" y="3503613"/>
                <a:ext cx="28575" cy="76200"/>
              </a:xfrm>
              <a:custGeom>
                <a:avLst/>
                <a:gdLst>
                  <a:gd name="T0" fmla="*/ 0 w 18"/>
                  <a:gd name="T1" fmla="*/ 47 h 48"/>
                  <a:gd name="T2" fmla="*/ 10 w 18"/>
                  <a:gd name="T3" fmla="*/ 48 h 48"/>
                  <a:gd name="T4" fmla="*/ 18 w 18"/>
                  <a:gd name="T5" fmla="*/ 2 h 48"/>
                  <a:gd name="T6" fmla="*/ 9 w 18"/>
                  <a:gd name="T7" fmla="*/ 0 h 48"/>
                  <a:gd name="T8" fmla="*/ 0 w 18"/>
                  <a:gd name="T9" fmla="*/ 47 h 48"/>
                </a:gdLst>
                <a:ahLst/>
                <a:cxnLst>
                  <a:cxn ang="0">
                    <a:pos x="T0" y="T1"/>
                  </a:cxn>
                  <a:cxn ang="0">
                    <a:pos x="T2" y="T3"/>
                  </a:cxn>
                  <a:cxn ang="0">
                    <a:pos x="T4" y="T5"/>
                  </a:cxn>
                  <a:cxn ang="0">
                    <a:pos x="T6" y="T7"/>
                  </a:cxn>
                  <a:cxn ang="0">
                    <a:pos x="T8" y="T9"/>
                  </a:cxn>
                </a:cxnLst>
                <a:rect l="0" t="0" r="r" b="b"/>
                <a:pathLst>
                  <a:path w="18" h="48">
                    <a:moveTo>
                      <a:pt x="0" y="47"/>
                    </a:moveTo>
                    <a:lnTo>
                      <a:pt x="10" y="48"/>
                    </a:lnTo>
                    <a:lnTo>
                      <a:pt x="18" y="2"/>
                    </a:lnTo>
                    <a:lnTo>
                      <a:pt x="9" y="0"/>
                    </a:lnTo>
                    <a:lnTo>
                      <a:pt x="0" y="47"/>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60" name="Freeform 130"/>
              <p:cNvSpPr>
                <a:spLocks/>
              </p:cNvSpPr>
              <p:nvPr/>
            </p:nvSpPr>
            <p:spPr bwMode="auto">
              <a:xfrm>
                <a:off x="3468688" y="3511550"/>
                <a:ext cx="30163" cy="74613"/>
              </a:xfrm>
              <a:custGeom>
                <a:avLst/>
                <a:gdLst>
                  <a:gd name="T0" fmla="*/ 0 w 19"/>
                  <a:gd name="T1" fmla="*/ 46 h 47"/>
                  <a:gd name="T2" fmla="*/ 10 w 19"/>
                  <a:gd name="T3" fmla="*/ 47 h 47"/>
                  <a:gd name="T4" fmla="*/ 19 w 19"/>
                  <a:gd name="T5" fmla="*/ 2 h 47"/>
                  <a:gd name="T6" fmla="*/ 10 w 19"/>
                  <a:gd name="T7" fmla="*/ 0 h 47"/>
                  <a:gd name="T8" fmla="*/ 0 w 19"/>
                  <a:gd name="T9" fmla="*/ 46 h 47"/>
                </a:gdLst>
                <a:ahLst/>
                <a:cxnLst>
                  <a:cxn ang="0">
                    <a:pos x="T0" y="T1"/>
                  </a:cxn>
                  <a:cxn ang="0">
                    <a:pos x="T2" y="T3"/>
                  </a:cxn>
                  <a:cxn ang="0">
                    <a:pos x="T4" y="T5"/>
                  </a:cxn>
                  <a:cxn ang="0">
                    <a:pos x="T6" y="T7"/>
                  </a:cxn>
                  <a:cxn ang="0">
                    <a:pos x="T8" y="T9"/>
                  </a:cxn>
                </a:cxnLst>
                <a:rect l="0" t="0" r="r" b="b"/>
                <a:pathLst>
                  <a:path w="19" h="47">
                    <a:moveTo>
                      <a:pt x="0" y="46"/>
                    </a:moveTo>
                    <a:lnTo>
                      <a:pt x="10" y="47"/>
                    </a:lnTo>
                    <a:lnTo>
                      <a:pt x="19" y="2"/>
                    </a:lnTo>
                    <a:lnTo>
                      <a:pt x="10" y="0"/>
                    </a:lnTo>
                    <a:lnTo>
                      <a:pt x="0" y="4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62" name="Freeform 131"/>
              <p:cNvSpPr>
                <a:spLocks/>
              </p:cNvSpPr>
              <p:nvPr/>
            </p:nvSpPr>
            <p:spPr bwMode="auto">
              <a:xfrm>
                <a:off x="3505200" y="3514725"/>
                <a:ext cx="41275" cy="104775"/>
              </a:xfrm>
              <a:custGeom>
                <a:avLst/>
                <a:gdLst>
                  <a:gd name="T0" fmla="*/ 0 w 26"/>
                  <a:gd name="T1" fmla="*/ 65 h 66"/>
                  <a:gd name="T2" fmla="*/ 9 w 26"/>
                  <a:gd name="T3" fmla="*/ 66 h 66"/>
                  <a:gd name="T4" fmla="*/ 26 w 26"/>
                  <a:gd name="T5" fmla="*/ 2 h 66"/>
                  <a:gd name="T6" fmla="*/ 17 w 26"/>
                  <a:gd name="T7" fmla="*/ 0 h 66"/>
                  <a:gd name="T8" fmla="*/ 0 w 26"/>
                  <a:gd name="T9" fmla="*/ 65 h 66"/>
                </a:gdLst>
                <a:ahLst/>
                <a:cxnLst>
                  <a:cxn ang="0">
                    <a:pos x="T0" y="T1"/>
                  </a:cxn>
                  <a:cxn ang="0">
                    <a:pos x="T2" y="T3"/>
                  </a:cxn>
                  <a:cxn ang="0">
                    <a:pos x="T4" y="T5"/>
                  </a:cxn>
                  <a:cxn ang="0">
                    <a:pos x="T6" y="T7"/>
                  </a:cxn>
                  <a:cxn ang="0">
                    <a:pos x="T8" y="T9"/>
                  </a:cxn>
                </a:cxnLst>
                <a:rect l="0" t="0" r="r" b="b"/>
                <a:pathLst>
                  <a:path w="26" h="66">
                    <a:moveTo>
                      <a:pt x="0" y="65"/>
                    </a:moveTo>
                    <a:lnTo>
                      <a:pt x="9" y="66"/>
                    </a:lnTo>
                    <a:lnTo>
                      <a:pt x="26" y="2"/>
                    </a:lnTo>
                    <a:lnTo>
                      <a:pt x="17" y="0"/>
                    </a:lnTo>
                    <a:lnTo>
                      <a:pt x="0" y="6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63" name="Freeform 132"/>
              <p:cNvSpPr>
                <a:spLocks/>
              </p:cNvSpPr>
              <p:nvPr/>
            </p:nvSpPr>
            <p:spPr bwMode="auto">
              <a:xfrm>
                <a:off x="3552825" y="3533775"/>
                <a:ext cx="38100" cy="74613"/>
              </a:xfrm>
              <a:custGeom>
                <a:avLst/>
                <a:gdLst>
                  <a:gd name="T0" fmla="*/ 0 w 24"/>
                  <a:gd name="T1" fmla="*/ 44 h 47"/>
                  <a:gd name="T2" fmla="*/ 8 w 24"/>
                  <a:gd name="T3" fmla="*/ 47 h 47"/>
                  <a:gd name="T4" fmla="*/ 24 w 24"/>
                  <a:gd name="T5" fmla="*/ 2 h 47"/>
                  <a:gd name="T6" fmla="*/ 14 w 24"/>
                  <a:gd name="T7" fmla="*/ 0 h 47"/>
                  <a:gd name="T8" fmla="*/ 0 w 24"/>
                  <a:gd name="T9" fmla="*/ 44 h 47"/>
                </a:gdLst>
                <a:ahLst/>
                <a:cxnLst>
                  <a:cxn ang="0">
                    <a:pos x="T0" y="T1"/>
                  </a:cxn>
                  <a:cxn ang="0">
                    <a:pos x="T2" y="T3"/>
                  </a:cxn>
                  <a:cxn ang="0">
                    <a:pos x="T4" y="T5"/>
                  </a:cxn>
                  <a:cxn ang="0">
                    <a:pos x="T6" y="T7"/>
                  </a:cxn>
                  <a:cxn ang="0">
                    <a:pos x="T8" y="T9"/>
                  </a:cxn>
                </a:cxnLst>
                <a:rect l="0" t="0" r="r" b="b"/>
                <a:pathLst>
                  <a:path w="24" h="47">
                    <a:moveTo>
                      <a:pt x="0" y="44"/>
                    </a:moveTo>
                    <a:lnTo>
                      <a:pt x="8" y="47"/>
                    </a:lnTo>
                    <a:lnTo>
                      <a:pt x="24" y="2"/>
                    </a:lnTo>
                    <a:lnTo>
                      <a:pt x="14" y="0"/>
                    </a:lnTo>
                    <a:lnTo>
                      <a:pt x="0" y="4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64" name="Freeform 133"/>
              <p:cNvSpPr>
                <a:spLocks/>
              </p:cNvSpPr>
              <p:nvPr/>
            </p:nvSpPr>
            <p:spPr bwMode="auto">
              <a:xfrm>
                <a:off x="3592513" y="3548063"/>
                <a:ext cx="39688" cy="76200"/>
              </a:xfrm>
              <a:custGeom>
                <a:avLst/>
                <a:gdLst>
                  <a:gd name="T0" fmla="*/ 17 w 25"/>
                  <a:gd name="T1" fmla="*/ 0 h 48"/>
                  <a:gd name="T2" fmla="*/ 0 w 25"/>
                  <a:gd name="T3" fmla="*/ 44 h 48"/>
                  <a:gd name="T4" fmla="*/ 10 w 25"/>
                  <a:gd name="T5" fmla="*/ 48 h 48"/>
                  <a:gd name="T6" fmla="*/ 25 w 25"/>
                  <a:gd name="T7" fmla="*/ 3 h 48"/>
                  <a:gd name="T8" fmla="*/ 17 w 25"/>
                  <a:gd name="T9" fmla="*/ 0 h 48"/>
                </a:gdLst>
                <a:ahLst/>
                <a:cxnLst>
                  <a:cxn ang="0">
                    <a:pos x="T0" y="T1"/>
                  </a:cxn>
                  <a:cxn ang="0">
                    <a:pos x="T2" y="T3"/>
                  </a:cxn>
                  <a:cxn ang="0">
                    <a:pos x="T4" y="T5"/>
                  </a:cxn>
                  <a:cxn ang="0">
                    <a:pos x="T6" y="T7"/>
                  </a:cxn>
                  <a:cxn ang="0">
                    <a:pos x="T8" y="T9"/>
                  </a:cxn>
                </a:cxnLst>
                <a:rect l="0" t="0" r="r" b="b"/>
                <a:pathLst>
                  <a:path w="25" h="48">
                    <a:moveTo>
                      <a:pt x="17" y="0"/>
                    </a:moveTo>
                    <a:lnTo>
                      <a:pt x="0" y="44"/>
                    </a:lnTo>
                    <a:lnTo>
                      <a:pt x="10" y="48"/>
                    </a:lnTo>
                    <a:lnTo>
                      <a:pt x="25" y="3"/>
                    </a:lnTo>
                    <a:lnTo>
                      <a:pt x="1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66" name="Freeform 134"/>
              <p:cNvSpPr>
                <a:spLocks/>
              </p:cNvSpPr>
              <p:nvPr/>
            </p:nvSpPr>
            <p:spPr bwMode="auto">
              <a:xfrm>
                <a:off x="3632200" y="3563938"/>
                <a:ext cx="44450" cy="76200"/>
              </a:xfrm>
              <a:custGeom>
                <a:avLst/>
                <a:gdLst>
                  <a:gd name="T0" fmla="*/ 18 w 28"/>
                  <a:gd name="T1" fmla="*/ 0 h 48"/>
                  <a:gd name="T2" fmla="*/ 0 w 28"/>
                  <a:gd name="T3" fmla="*/ 44 h 48"/>
                  <a:gd name="T4" fmla="*/ 9 w 28"/>
                  <a:gd name="T5" fmla="*/ 48 h 48"/>
                  <a:gd name="T6" fmla="*/ 28 w 28"/>
                  <a:gd name="T7" fmla="*/ 4 h 48"/>
                  <a:gd name="T8" fmla="*/ 18 w 28"/>
                  <a:gd name="T9" fmla="*/ 0 h 48"/>
                </a:gdLst>
                <a:ahLst/>
                <a:cxnLst>
                  <a:cxn ang="0">
                    <a:pos x="T0" y="T1"/>
                  </a:cxn>
                  <a:cxn ang="0">
                    <a:pos x="T2" y="T3"/>
                  </a:cxn>
                  <a:cxn ang="0">
                    <a:pos x="T4" y="T5"/>
                  </a:cxn>
                  <a:cxn ang="0">
                    <a:pos x="T6" y="T7"/>
                  </a:cxn>
                  <a:cxn ang="0">
                    <a:pos x="T8" y="T9"/>
                  </a:cxn>
                </a:cxnLst>
                <a:rect l="0" t="0" r="r" b="b"/>
                <a:pathLst>
                  <a:path w="28" h="48">
                    <a:moveTo>
                      <a:pt x="18" y="0"/>
                    </a:moveTo>
                    <a:lnTo>
                      <a:pt x="0" y="44"/>
                    </a:lnTo>
                    <a:lnTo>
                      <a:pt x="9" y="48"/>
                    </a:lnTo>
                    <a:lnTo>
                      <a:pt x="28" y="4"/>
                    </a:lnTo>
                    <a:lnTo>
                      <a:pt x="18"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67" name="Freeform 135"/>
              <p:cNvSpPr>
                <a:spLocks/>
              </p:cNvSpPr>
              <p:nvPr/>
            </p:nvSpPr>
            <p:spPr bwMode="auto">
              <a:xfrm>
                <a:off x="3670300" y="3584575"/>
                <a:ext cx="49213" cy="73025"/>
              </a:xfrm>
              <a:custGeom>
                <a:avLst/>
                <a:gdLst>
                  <a:gd name="T0" fmla="*/ 21 w 31"/>
                  <a:gd name="T1" fmla="*/ 0 h 46"/>
                  <a:gd name="T2" fmla="*/ 0 w 31"/>
                  <a:gd name="T3" fmla="*/ 42 h 46"/>
                  <a:gd name="T4" fmla="*/ 10 w 31"/>
                  <a:gd name="T5" fmla="*/ 46 h 46"/>
                  <a:gd name="T6" fmla="*/ 31 w 31"/>
                  <a:gd name="T7" fmla="*/ 4 h 46"/>
                  <a:gd name="T8" fmla="*/ 21 w 31"/>
                  <a:gd name="T9" fmla="*/ 0 h 46"/>
                </a:gdLst>
                <a:ahLst/>
                <a:cxnLst>
                  <a:cxn ang="0">
                    <a:pos x="T0" y="T1"/>
                  </a:cxn>
                  <a:cxn ang="0">
                    <a:pos x="T2" y="T3"/>
                  </a:cxn>
                  <a:cxn ang="0">
                    <a:pos x="T4" y="T5"/>
                  </a:cxn>
                  <a:cxn ang="0">
                    <a:pos x="T6" y="T7"/>
                  </a:cxn>
                  <a:cxn ang="0">
                    <a:pos x="T8" y="T9"/>
                  </a:cxn>
                </a:cxnLst>
                <a:rect l="0" t="0" r="r" b="b"/>
                <a:pathLst>
                  <a:path w="31" h="46">
                    <a:moveTo>
                      <a:pt x="21" y="0"/>
                    </a:moveTo>
                    <a:lnTo>
                      <a:pt x="0" y="42"/>
                    </a:lnTo>
                    <a:lnTo>
                      <a:pt x="10" y="46"/>
                    </a:lnTo>
                    <a:lnTo>
                      <a:pt x="31" y="4"/>
                    </a:lnTo>
                    <a:lnTo>
                      <a:pt x="21"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68" name="Freeform 136"/>
              <p:cNvSpPr>
                <a:spLocks/>
              </p:cNvSpPr>
              <p:nvPr/>
            </p:nvSpPr>
            <p:spPr bwMode="auto">
              <a:xfrm>
                <a:off x="3697288" y="3597275"/>
                <a:ext cx="63500" cy="100013"/>
              </a:xfrm>
              <a:custGeom>
                <a:avLst/>
                <a:gdLst>
                  <a:gd name="T0" fmla="*/ 33 w 40"/>
                  <a:gd name="T1" fmla="*/ 0 h 63"/>
                  <a:gd name="T2" fmla="*/ 0 w 40"/>
                  <a:gd name="T3" fmla="*/ 59 h 63"/>
                  <a:gd name="T4" fmla="*/ 8 w 40"/>
                  <a:gd name="T5" fmla="*/ 63 h 63"/>
                  <a:gd name="T6" fmla="*/ 40 w 40"/>
                  <a:gd name="T7" fmla="*/ 4 h 63"/>
                  <a:gd name="T8" fmla="*/ 33 w 40"/>
                  <a:gd name="T9" fmla="*/ 0 h 63"/>
                </a:gdLst>
                <a:ahLst/>
                <a:cxnLst>
                  <a:cxn ang="0">
                    <a:pos x="T0" y="T1"/>
                  </a:cxn>
                  <a:cxn ang="0">
                    <a:pos x="T2" y="T3"/>
                  </a:cxn>
                  <a:cxn ang="0">
                    <a:pos x="T4" y="T5"/>
                  </a:cxn>
                  <a:cxn ang="0">
                    <a:pos x="T6" y="T7"/>
                  </a:cxn>
                  <a:cxn ang="0">
                    <a:pos x="T8" y="T9"/>
                  </a:cxn>
                </a:cxnLst>
                <a:rect l="0" t="0" r="r" b="b"/>
                <a:pathLst>
                  <a:path w="40" h="63">
                    <a:moveTo>
                      <a:pt x="33" y="0"/>
                    </a:moveTo>
                    <a:lnTo>
                      <a:pt x="0" y="59"/>
                    </a:lnTo>
                    <a:lnTo>
                      <a:pt x="8" y="63"/>
                    </a:lnTo>
                    <a:lnTo>
                      <a:pt x="40" y="4"/>
                    </a:lnTo>
                    <a:lnTo>
                      <a:pt x="33"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82" name="Freeform 137"/>
              <p:cNvSpPr>
                <a:spLocks/>
              </p:cNvSpPr>
              <p:nvPr/>
            </p:nvSpPr>
            <p:spPr bwMode="auto">
              <a:xfrm>
                <a:off x="3746500" y="3625850"/>
                <a:ext cx="52388" cy="71438"/>
              </a:xfrm>
              <a:custGeom>
                <a:avLst/>
                <a:gdLst>
                  <a:gd name="T0" fmla="*/ 25 w 33"/>
                  <a:gd name="T1" fmla="*/ 0 h 45"/>
                  <a:gd name="T2" fmla="*/ 0 w 33"/>
                  <a:gd name="T3" fmla="*/ 41 h 45"/>
                  <a:gd name="T4" fmla="*/ 8 w 33"/>
                  <a:gd name="T5" fmla="*/ 45 h 45"/>
                  <a:gd name="T6" fmla="*/ 33 w 33"/>
                  <a:gd name="T7" fmla="*/ 6 h 45"/>
                  <a:gd name="T8" fmla="*/ 25 w 33"/>
                  <a:gd name="T9" fmla="*/ 0 h 45"/>
                </a:gdLst>
                <a:ahLst/>
                <a:cxnLst>
                  <a:cxn ang="0">
                    <a:pos x="T0" y="T1"/>
                  </a:cxn>
                  <a:cxn ang="0">
                    <a:pos x="T2" y="T3"/>
                  </a:cxn>
                  <a:cxn ang="0">
                    <a:pos x="T4" y="T5"/>
                  </a:cxn>
                  <a:cxn ang="0">
                    <a:pos x="T6" y="T7"/>
                  </a:cxn>
                  <a:cxn ang="0">
                    <a:pos x="T8" y="T9"/>
                  </a:cxn>
                </a:cxnLst>
                <a:rect l="0" t="0" r="r" b="b"/>
                <a:pathLst>
                  <a:path w="33" h="45">
                    <a:moveTo>
                      <a:pt x="25" y="0"/>
                    </a:moveTo>
                    <a:lnTo>
                      <a:pt x="0" y="41"/>
                    </a:lnTo>
                    <a:lnTo>
                      <a:pt x="8" y="45"/>
                    </a:lnTo>
                    <a:lnTo>
                      <a:pt x="33" y="6"/>
                    </a:lnTo>
                    <a:lnTo>
                      <a:pt x="2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83" name="Freeform 138"/>
              <p:cNvSpPr>
                <a:spLocks/>
              </p:cNvSpPr>
              <p:nvPr/>
            </p:nvSpPr>
            <p:spPr bwMode="auto">
              <a:xfrm>
                <a:off x="3781425" y="3651250"/>
                <a:ext cx="55563" cy="71438"/>
              </a:xfrm>
              <a:custGeom>
                <a:avLst/>
                <a:gdLst>
                  <a:gd name="T0" fmla="*/ 27 w 35"/>
                  <a:gd name="T1" fmla="*/ 0 h 45"/>
                  <a:gd name="T2" fmla="*/ 0 w 35"/>
                  <a:gd name="T3" fmla="*/ 39 h 45"/>
                  <a:gd name="T4" fmla="*/ 8 w 35"/>
                  <a:gd name="T5" fmla="*/ 45 h 45"/>
                  <a:gd name="T6" fmla="*/ 35 w 35"/>
                  <a:gd name="T7" fmla="*/ 5 h 45"/>
                  <a:gd name="T8" fmla="*/ 27 w 35"/>
                  <a:gd name="T9" fmla="*/ 0 h 45"/>
                </a:gdLst>
                <a:ahLst/>
                <a:cxnLst>
                  <a:cxn ang="0">
                    <a:pos x="T0" y="T1"/>
                  </a:cxn>
                  <a:cxn ang="0">
                    <a:pos x="T2" y="T3"/>
                  </a:cxn>
                  <a:cxn ang="0">
                    <a:pos x="T4" y="T5"/>
                  </a:cxn>
                  <a:cxn ang="0">
                    <a:pos x="T6" y="T7"/>
                  </a:cxn>
                  <a:cxn ang="0">
                    <a:pos x="T8" y="T9"/>
                  </a:cxn>
                </a:cxnLst>
                <a:rect l="0" t="0" r="r" b="b"/>
                <a:pathLst>
                  <a:path w="35" h="45">
                    <a:moveTo>
                      <a:pt x="27" y="0"/>
                    </a:moveTo>
                    <a:lnTo>
                      <a:pt x="0" y="39"/>
                    </a:lnTo>
                    <a:lnTo>
                      <a:pt x="8" y="45"/>
                    </a:lnTo>
                    <a:lnTo>
                      <a:pt x="35" y="5"/>
                    </a:lnTo>
                    <a:lnTo>
                      <a:pt x="2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84" name="Freeform 139"/>
              <p:cNvSpPr>
                <a:spLocks/>
              </p:cNvSpPr>
              <p:nvPr/>
            </p:nvSpPr>
            <p:spPr bwMode="auto">
              <a:xfrm>
                <a:off x="3816350" y="3678238"/>
                <a:ext cx="58738" cy="68263"/>
              </a:xfrm>
              <a:custGeom>
                <a:avLst/>
                <a:gdLst>
                  <a:gd name="T0" fmla="*/ 30 w 37"/>
                  <a:gd name="T1" fmla="*/ 0 h 43"/>
                  <a:gd name="T2" fmla="*/ 0 w 37"/>
                  <a:gd name="T3" fmla="*/ 37 h 43"/>
                  <a:gd name="T4" fmla="*/ 9 w 37"/>
                  <a:gd name="T5" fmla="*/ 43 h 43"/>
                  <a:gd name="T6" fmla="*/ 37 w 37"/>
                  <a:gd name="T7" fmla="*/ 7 h 43"/>
                  <a:gd name="T8" fmla="*/ 30 w 37"/>
                  <a:gd name="T9" fmla="*/ 0 h 43"/>
                </a:gdLst>
                <a:ahLst/>
                <a:cxnLst>
                  <a:cxn ang="0">
                    <a:pos x="T0" y="T1"/>
                  </a:cxn>
                  <a:cxn ang="0">
                    <a:pos x="T2" y="T3"/>
                  </a:cxn>
                  <a:cxn ang="0">
                    <a:pos x="T4" y="T5"/>
                  </a:cxn>
                  <a:cxn ang="0">
                    <a:pos x="T6" y="T7"/>
                  </a:cxn>
                  <a:cxn ang="0">
                    <a:pos x="T8" y="T9"/>
                  </a:cxn>
                </a:cxnLst>
                <a:rect l="0" t="0" r="r" b="b"/>
                <a:pathLst>
                  <a:path w="37" h="43">
                    <a:moveTo>
                      <a:pt x="30" y="0"/>
                    </a:moveTo>
                    <a:lnTo>
                      <a:pt x="0" y="37"/>
                    </a:lnTo>
                    <a:lnTo>
                      <a:pt x="9" y="43"/>
                    </a:lnTo>
                    <a:lnTo>
                      <a:pt x="37" y="7"/>
                    </a:lnTo>
                    <a:lnTo>
                      <a:pt x="3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92" name="Freeform 140"/>
              <p:cNvSpPr>
                <a:spLocks/>
              </p:cNvSpPr>
              <p:nvPr/>
            </p:nvSpPr>
            <p:spPr bwMode="auto">
              <a:xfrm>
                <a:off x="3849688" y="3706813"/>
                <a:ext cx="60325" cy="66675"/>
              </a:xfrm>
              <a:custGeom>
                <a:avLst/>
                <a:gdLst>
                  <a:gd name="T0" fmla="*/ 31 w 38"/>
                  <a:gd name="T1" fmla="*/ 0 h 42"/>
                  <a:gd name="T2" fmla="*/ 0 w 38"/>
                  <a:gd name="T3" fmla="*/ 36 h 42"/>
                  <a:gd name="T4" fmla="*/ 9 w 38"/>
                  <a:gd name="T5" fmla="*/ 42 h 42"/>
                  <a:gd name="T6" fmla="*/ 38 w 38"/>
                  <a:gd name="T7" fmla="*/ 7 h 42"/>
                  <a:gd name="T8" fmla="*/ 31 w 38"/>
                  <a:gd name="T9" fmla="*/ 0 h 42"/>
                </a:gdLst>
                <a:ahLst/>
                <a:cxnLst>
                  <a:cxn ang="0">
                    <a:pos x="T0" y="T1"/>
                  </a:cxn>
                  <a:cxn ang="0">
                    <a:pos x="T2" y="T3"/>
                  </a:cxn>
                  <a:cxn ang="0">
                    <a:pos x="T4" y="T5"/>
                  </a:cxn>
                  <a:cxn ang="0">
                    <a:pos x="T6" y="T7"/>
                  </a:cxn>
                  <a:cxn ang="0">
                    <a:pos x="T8" y="T9"/>
                  </a:cxn>
                </a:cxnLst>
                <a:rect l="0" t="0" r="r" b="b"/>
                <a:pathLst>
                  <a:path w="38" h="42">
                    <a:moveTo>
                      <a:pt x="31" y="0"/>
                    </a:moveTo>
                    <a:lnTo>
                      <a:pt x="0" y="36"/>
                    </a:lnTo>
                    <a:lnTo>
                      <a:pt x="9" y="42"/>
                    </a:lnTo>
                    <a:lnTo>
                      <a:pt x="38" y="7"/>
                    </a:lnTo>
                    <a:lnTo>
                      <a:pt x="31"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93" name="Freeform 141"/>
              <p:cNvSpPr>
                <a:spLocks/>
              </p:cNvSpPr>
              <p:nvPr/>
            </p:nvSpPr>
            <p:spPr bwMode="auto">
              <a:xfrm>
                <a:off x="3865563" y="3730625"/>
                <a:ext cx="84138" cy="88900"/>
              </a:xfrm>
              <a:custGeom>
                <a:avLst/>
                <a:gdLst>
                  <a:gd name="T0" fmla="*/ 46 w 53"/>
                  <a:gd name="T1" fmla="*/ 0 h 56"/>
                  <a:gd name="T2" fmla="*/ 0 w 53"/>
                  <a:gd name="T3" fmla="*/ 49 h 56"/>
                  <a:gd name="T4" fmla="*/ 7 w 53"/>
                  <a:gd name="T5" fmla="*/ 56 h 56"/>
                  <a:gd name="T6" fmla="*/ 53 w 53"/>
                  <a:gd name="T7" fmla="*/ 6 h 56"/>
                  <a:gd name="T8" fmla="*/ 46 w 53"/>
                  <a:gd name="T9" fmla="*/ 0 h 56"/>
                </a:gdLst>
                <a:ahLst/>
                <a:cxnLst>
                  <a:cxn ang="0">
                    <a:pos x="T0" y="T1"/>
                  </a:cxn>
                  <a:cxn ang="0">
                    <a:pos x="T2" y="T3"/>
                  </a:cxn>
                  <a:cxn ang="0">
                    <a:pos x="T4" y="T5"/>
                  </a:cxn>
                  <a:cxn ang="0">
                    <a:pos x="T6" y="T7"/>
                  </a:cxn>
                  <a:cxn ang="0">
                    <a:pos x="T8" y="T9"/>
                  </a:cxn>
                </a:cxnLst>
                <a:rect l="0" t="0" r="r" b="b"/>
                <a:pathLst>
                  <a:path w="53" h="56">
                    <a:moveTo>
                      <a:pt x="46" y="0"/>
                    </a:moveTo>
                    <a:lnTo>
                      <a:pt x="0" y="49"/>
                    </a:lnTo>
                    <a:lnTo>
                      <a:pt x="7" y="56"/>
                    </a:lnTo>
                    <a:lnTo>
                      <a:pt x="53" y="6"/>
                    </a:lnTo>
                    <a:lnTo>
                      <a:pt x="46"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94" name="Freeform 143"/>
              <p:cNvSpPr>
                <a:spLocks/>
              </p:cNvSpPr>
              <p:nvPr/>
            </p:nvSpPr>
            <p:spPr bwMode="auto">
              <a:xfrm>
                <a:off x="2730500" y="3570288"/>
                <a:ext cx="1141413" cy="636588"/>
              </a:xfrm>
              <a:custGeom>
                <a:avLst/>
                <a:gdLst>
                  <a:gd name="T0" fmla="*/ 432 w 514"/>
                  <a:gd name="T1" fmla="*/ 74 h 286"/>
                  <a:gd name="T2" fmla="*/ 426 w 514"/>
                  <a:gd name="T3" fmla="*/ 71 h 286"/>
                  <a:gd name="T4" fmla="*/ 424 w 514"/>
                  <a:gd name="T5" fmla="*/ 70 h 286"/>
                  <a:gd name="T6" fmla="*/ 418 w 514"/>
                  <a:gd name="T7" fmla="*/ 67 h 286"/>
                  <a:gd name="T8" fmla="*/ 0 w 514"/>
                  <a:gd name="T9" fmla="*/ 136 h 286"/>
                  <a:gd name="T10" fmla="*/ 150 w 514"/>
                  <a:gd name="T11" fmla="*/ 286 h 286"/>
                  <a:gd name="T12" fmla="*/ 287 w 514"/>
                  <a:gd name="T13" fmla="*/ 245 h 286"/>
                  <a:gd name="T14" fmla="*/ 310 w 514"/>
                  <a:gd name="T15" fmla="*/ 251 h 286"/>
                  <a:gd name="T16" fmla="*/ 319 w 514"/>
                  <a:gd name="T17" fmla="*/ 255 h 286"/>
                  <a:gd name="T18" fmla="*/ 364 w 514"/>
                  <a:gd name="T19" fmla="*/ 286 h 286"/>
                  <a:gd name="T20" fmla="*/ 514 w 514"/>
                  <a:gd name="T21" fmla="*/ 136 h 286"/>
                  <a:gd name="T22" fmla="*/ 432 w 514"/>
                  <a:gd name="T23" fmla="*/ 74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286">
                    <a:moveTo>
                      <a:pt x="432" y="74"/>
                    </a:moveTo>
                    <a:cubicBezTo>
                      <a:pt x="430" y="73"/>
                      <a:pt x="428" y="72"/>
                      <a:pt x="426" y="71"/>
                    </a:cubicBezTo>
                    <a:cubicBezTo>
                      <a:pt x="425" y="71"/>
                      <a:pt x="424" y="70"/>
                      <a:pt x="424" y="70"/>
                    </a:cubicBezTo>
                    <a:cubicBezTo>
                      <a:pt x="422" y="69"/>
                      <a:pt x="420" y="68"/>
                      <a:pt x="418" y="67"/>
                    </a:cubicBezTo>
                    <a:cubicBezTo>
                      <a:pt x="282" y="0"/>
                      <a:pt x="113" y="23"/>
                      <a:pt x="0" y="136"/>
                    </a:cubicBezTo>
                    <a:cubicBezTo>
                      <a:pt x="150" y="286"/>
                      <a:pt x="150" y="286"/>
                      <a:pt x="150" y="286"/>
                    </a:cubicBezTo>
                    <a:cubicBezTo>
                      <a:pt x="187" y="249"/>
                      <a:pt x="239" y="235"/>
                      <a:pt x="287" y="245"/>
                    </a:cubicBezTo>
                    <a:cubicBezTo>
                      <a:pt x="295" y="246"/>
                      <a:pt x="302" y="248"/>
                      <a:pt x="310" y="251"/>
                    </a:cubicBezTo>
                    <a:cubicBezTo>
                      <a:pt x="313" y="252"/>
                      <a:pt x="316" y="253"/>
                      <a:pt x="319" y="255"/>
                    </a:cubicBezTo>
                    <a:cubicBezTo>
                      <a:pt x="335" y="262"/>
                      <a:pt x="351" y="272"/>
                      <a:pt x="364" y="286"/>
                    </a:cubicBezTo>
                    <a:cubicBezTo>
                      <a:pt x="514" y="136"/>
                      <a:pt x="514" y="136"/>
                      <a:pt x="514" y="136"/>
                    </a:cubicBezTo>
                    <a:cubicBezTo>
                      <a:pt x="489" y="111"/>
                      <a:pt x="461" y="91"/>
                      <a:pt x="432" y="7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95" name="Freeform 166"/>
              <p:cNvSpPr>
                <a:spLocks/>
              </p:cNvSpPr>
              <p:nvPr/>
            </p:nvSpPr>
            <p:spPr bwMode="auto">
              <a:xfrm>
                <a:off x="2876550" y="3619500"/>
                <a:ext cx="865188" cy="182563"/>
              </a:xfrm>
              <a:custGeom>
                <a:avLst/>
                <a:gdLst>
                  <a:gd name="T0" fmla="*/ 55 w 389"/>
                  <a:gd name="T1" fmla="*/ 47 h 82"/>
                  <a:gd name="T2" fmla="*/ 54 w 389"/>
                  <a:gd name="T3" fmla="*/ 47 h 82"/>
                  <a:gd name="T4" fmla="*/ 49 w 389"/>
                  <a:gd name="T5" fmla="*/ 49 h 82"/>
                  <a:gd name="T6" fmla="*/ 47 w 389"/>
                  <a:gd name="T7" fmla="*/ 50 h 82"/>
                  <a:gd name="T8" fmla="*/ 42 w 389"/>
                  <a:gd name="T9" fmla="*/ 53 h 82"/>
                  <a:gd name="T10" fmla="*/ 0 w 389"/>
                  <a:gd name="T11" fmla="*/ 78 h 82"/>
                  <a:gd name="T12" fmla="*/ 68 w 389"/>
                  <a:gd name="T13" fmla="*/ 66 h 82"/>
                  <a:gd name="T14" fmla="*/ 76 w 389"/>
                  <a:gd name="T15" fmla="*/ 65 h 82"/>
                  <a:gd name="T16" fmla="*/ 186 w 389"/>
                  <a:gd name="T17" fmla="*/ 58 h 82"/>
                  <a:gd name="T18" fmla="*/ 389 w 389"/>
                  <a:gd name="T19" fmla="*/ 82 h 82"/>
                  <a:gd name="T20" fmla="*/ 60 w 389"/>
                  <a:gd name="T21" fmla="*/ 45 h 82"/>
                  <a:gd name="T22" fmla="*/ 55 w 389"/>
                  <a:gd name="T23" fmla="*/ 4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9" h="82">
                    <a:moveTo>
                      <a:pt x="55" y="47"/>
                    </a:moveTo>
                    <a:cubicBezTo>
                      <a:pt x="54" y="47"/>
                      <a:pt x="54" y="47"/>
                      <a:pt x="54" y="47"/>
                    </a:cubicBezTo>
                    <a:cubicBezTo>
                      <a:pt x="52" y="48"/>
                      <a:pt x="51" y="49"/>
                      <a:pt x="49" y="49"/>
                    </a:cubicBezTo>
                    <a:cubicBezTo>
                      <a:pt x="49" y="50"/>
                      <a:pt x="48" y="50"/>
                      <a:pt x="47" y="50"/>
                    </a:cubicBezTo>
                    <a:cubicBezTo>
                      <a:pt x="46" y="51"/>
                      <a:pt x="44" y="52"/>
                      <a:pt x="42" y="53"/>
                    </a:cubicBezTo>
                    <a:cubicBezTo>
                      <a:pt x="28" y="60"/>
                      <a:pt x="14" y="68"/>
                      <a:pt x="0" y="78"/>
                    </a:cubicBezTo>
                    <a:cubicBezTo>
                      <a:pt x="21" y="73"/>
                      <a:pt x="44" y="69"/>
                      <a:pt x="68" y="66"/>
                    </a:cubicBezTo>
                    <a:cubicBezTo>
                      <a:pt x="76" y="65"/>
                      <a:pt x="76" y="65"/>
                      <a:pt x="76" y="65"/>
                    </a:cubicBezTo>
                    <a:cubicBezTo>
                      <a:pt x="111" y="60"/>
                      <a:pt x="147" y="58"/>
                      <a:pt x="186" y="58"/>
                    </a:cubicBezTo>
                    <a:cubicBezTo>
                      <a:pt x="262" y="58"/>
                      <a:pt x="333" y="67"/>
                      <a:pt x="389" y="82"/>
                    </a:cubicBezTo>
                    <a:cubicBezTo>
                      <a:pt x="295" y="13"/>
                      <a:pt x="166" y="0"/>
                      <a:pt x="60" y="45"/>
                    </a:cubicBezTo>
                    <a:lnTo>
                      <a:pt x="55" y="4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96" name="Freeform 167"/>
              <p:cNvSpPr>
                <a:spLocks/>
              </p:cNvSpPr>
              <p:nvPr/>
            </p:nvSpPr>
            <p:spPr bwMode="auto">
              <a:xfrm>
                <a:off x="3419475" y="3729038"/>
                <a:ext cx="271463" cy="407988"/>
              </a:xfrm>
              <a:custGeom>
                <a:avLst/>
                <a:gdLst>
                  <a:gd name="T0" fmla="*/ 13 w 122"/>
                  <a:gd name="T1" fmla="*/ 177 h 184"/>
                  <a:gd name="T2" fmla="*/ 122 w 122"/>
                  <a:gd name="T3" fmla="*/ 3 h 184"/>
                  <a:gd name="T4" fmla="*/ 116 w 122"/>
                  <a:gd name="T5" fmla="*/ 0 h 184"/>
                  <a:gd name="T6" fmla="*/ 94 w 122"/>
                  <a:gd name="T7" fmla="*/ 31 h 184"/>
                  <a:gd name="T8" fmla="*/ 0 w 122"/>
                  <a:gd name="T9" fmla="*/ 180 h 184"/>
                  <a:gd name="T10" fmla="*/ 9 w 122"/>
                  <a:gd name="T11" fmla="*/ 184 h 184"/>
                  <a:gd name="T12" fmla="*/ 13 w 122"/>
                  <a:gd name="T13" fmla="*/ 177 h 184"/>
                </a:gdLst>
                <a:ahLst/>
                <a:cxnLst>
                  <a:cxn ang="0">
                    <a:pos x="T0" y="T1"/>
                  </a:cxn>
                  <a:cxn ang="0">
                    <a:pos x="T2" y="T3"/>
                  </a:cxn>
                  <a:cxn ang="0">
                    <a:pos x="T4" y="T5"/>
                  </a:cxn>
                  <a:cxn ang="0">
                    <a:pos x="T6" y="T7"/>
                  </a:cxn>
                  <a:cxn ang="0">
                    <a:pos x="T8" y="T9"/>
                  </a:cxn>
                  <a:cxn ang="0">
                    <a:pos x="T10" y="T11"/>
                  </a:cxn>
                  <a:cxn ang="0">
                    <a:pos x="T12" y="T13"/>
                  </a:cxn>
                </a:cxnLst>
                <a:rect l="0" t="0" r="r" b="b"/>
                <a:pathLst>
                  <a:path w="122" h="184">
                    <a:moveTo>
                      <a:pt x="13" y="177"/>
                    </a:moveTo>
                    <a:cubicBezTo>
                      <a:pt x="122" y="3"/>
                      <a:pt x="122" y="3"/>
                      <a:pt x="122" y="3"/>
                    </a:cubicBezTo>
                    <a:cubicBezTo>
                      <a:pt x="120" y="2"/>
                      <a:pt x="118" y="1"/>
                      <a:pt x="116" y="0"/>
                    </a:cubicBezTo>
                    <a:cubicBezTo>
                      <a:pt x="94" y="31"/>
                      <a:pt x="94" y="31"/>
                      <a:pt x="94" y="31"/>
                    </a:cubicBezTo>
                    <a:cubicBezTo>
                      <a:pt x="0" y="180"/>
                      <a:pt x="0" y="180"/>
                      <a:pt x="0" y="180"/>
                    </a:cubicBezTo>
                    <a:cubicBezTo>
                      <a:pt x="3" y="181"/>
                      <a:pt x="6" y="182"/>
                      <a:pt x="9" y="184"/>
                    </a:cubicBezTo>
                    <a:lnTo>
                      <a:pt x="13" y="17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97" name="Freeform 168"/>
              <p:cNvSpPr>
                <a:spLocks/>
              </p:cNvSpPr>
              <p:nvPr/>
            </p:nvSpPr>
            <p:spPr bwMode="auto">
              <a:xfrm>
                <a:off x="3203575" y="3719513"/>
                <a:ext cx="468313" cy="655638"/>
              </a:xfrm>
              <a:custGeom>
                <a:avLst/>
                <a:gdLst>
                  <a:gd name="T0" fmla="*/ 211 w 211"/>
                  <a:gd name="T1" fmla="*/ 3 h 295"/>
                  <a:gd name="T2" fmla="*/ 205 w 211"/>
                  <a:gd name="T3" fmla="*/ 0 h 295"/>
                  <a:gd name="T4" fmla="*/ 74 w 211"/>
                  <a:gd name="T5" fmla="*/ 178 h 295"/>
                  <a:gd name="T6" fmla="*/ 42 w 211"/>
                  <a:gd name="T7" fmla="*/ 221 h 295"/>
                  <a:gd name="T8" fmla="*/ 38 w 211"/>
                  <a:gd name="T9" fmla="*/ 220 h 295"/>
                  <a:gd name="T10" fmla="*/ 0 w 211"/>
                  <a:gd name="T11" fmla="*/ 258 h 295"/>
                  <a:gd name="T12" fmla="*/ 38 w 211"/>
                  <a:gd name="T13" fmla="*/ 295 h 295"/>
                  <a:gd name="T14" fmla="*/ 75 w 211"/>
                  <a:gd name="T15" fmla="*/ 258 h 295"/>
                  <a:gd name="T16" fmla="*/ 66 w 211"/>
                  <a:gd name="T17" fmla="*/ 233 h 295"/>
                  <a:gd name="T18" fmla="*/ 97 w 211"/>
                  <a:gd name="T19" fmla="*/ 184 h 295"/>
                  <a:gd name="T20" fmla="*/ 211 w 211"/>
                  <a:gd name="T21" fmla="*/ 3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 h="295">
                    <a:moveTo>
                      <a:pt x="211" y="3"/>
                    </a:moveTo>
                    <a:cubicBezTo>
                      <a:pt x="209" y="2"/>
                      <a:pt x="207" y="1"/>
                      <a:pt x="205" y="0"/>
                    </a:cubicBezTo>
                    <a:cubicBezTo>
                      <a:pt x="74" y="178"/>
                      <a:pt x="74" y="178"/>
                      <a:pt x="74" y="178"/>
                    </a:cubicBezTo>
                    <a:cubicBezTo>
                      <a:pt x="42" y="221"/>
                      <a:pt x="42" y="221"/>
                      <a:pt x="42" y="221"/>
                    </a:cubicBezTo>
                    <a:cubicBezTo>
                      <a:pt x="41" y="220"/>
                      <a:pt x="39" y="220"/>
                      <a:pt x="38" y="220"/>
                    </a:cubicBezTo>
                    <a:cubicBezTo>
                      <a:pt x="17" y="220"/>
                      <a:pt x="0" y="237"/>
                      <a:pt x="0" y="258"/>
                    </a:cubicBezTo>
                    <a:cubicBezTo>
                      <a:pt x="0" y="278"/>
                      <a:pt x="17" y="295"/>
                      <a:pt x="38" y="295"/>
                    </a:cubicBezTo>
                    <a:cubicBezTo>
                      <a:pt x="58" y="295"/>
                      <a:pt x="75" y="278"/>
                      <a:pt x="75" y="258"/>
                    </a:cubicBezTo>
                    <a:cubicBezTo>
                      <a:pt x="75" y="248"/>
                      <a:pt x="72" y="240"/>
                      <a:pt x="66" y="233"/>
                    </a:cubicBezTo>
                    <a:cubicBezTo>
                      <a:pt x="97" y="184"/>
                      <a:pt x="97" y="184"/>
                      <a:pt x="97" y="184"/>
                    </a:cubicBezTo>
                    <a:lnTo>
                      <a:pt x="211" y="3"/>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grpSp>
      </p:grpSp>
      <p:grpSp>
        <p:nvGrpSpPr>
          <p:cNvPr id="706" name="Group 705"/>
          <p:cNvGrpSpPr/>
          <p:nvPr/>
        </p:nvGrpSpPr>
        <p:grpSpPr>
          <a:xfrm>
            <a:off x="9518751" y="1403654"/>
            <a:ext cx="2473206" cy="2308952"/>
            <a:chOff x="9332092" y="1376257"/>
            <a:chExt cx="2424932" cy="2263884"/>
          </a:xfrm>
        </p:grpSpPr>
        <p:sp>
          <p:nvSpPr>
            <p:cNvPr id="157" name="TextBox 156"/>
            <p:cNvSpPr txBox="1"/>
            <p:nvPr/>
          </p:nvSpPr>
          <p:spPr>
            <a:xfrm>
              <a:off x="9332092" y="2347479"/>
              <a:ext cx="2424932" cy="1292662"/>
            </a:xfrm>
            <a:prstGeom prst="rect">
              <a:avLst/>
            </a:prstGeom>
            <a:noFill/>
          </p:spPr>
          <p:txBody>
            <a:bodyPr wrap="square" lIns="93260" tIns="93260" rIns="93260" bIns="93260" rtlCol="0">
              <a:noAutofit/>
            </a:bodyPr>
            <a:lstStyle/>
            <a:p>
              <a:pPr algn="ctr" defTabSz="932597">
                <a:defRPr/>
              </a:pPr>
              <a:r>
                <a:rPr lang="en-US" sz="2040" kern="0" dirty="0">
                  <a:solidFill>
                    <a:srgbClr val="505050"/>
                  </a:solidFill>
                  <a:latin typeface="Segoe UI Semibold" panose="020B0702040204020203" pitchFamily="34" charset="0"/>
                </a:rPr>
                <a:t>Visualize physical plan of U-SQL query</a:t>
              </a:r>
            </a:p>
          </p:txBody>
        </p:sp>
        <p:grpSp>
          <p:nvGrpSpPr>
            <p:cNvPr id="64" name="Group 63"/>
            <p:cNvGrpSpPr/>
            <p:nvPr/>
          </p:nvGrpSpPr>
          <p:grpSpPr>
            <a:xfrm>
              <a:off x="10097720" y="1376257"/>
              <a:ext cx="975278" cy="1045849"/>
              <a:chOff x="10097720" y="1376257"/>
              <a:chExt cx="975278" cy="1045849"/>
            </a:xfrm>
          </p:grpSpPr>
          <p:sp>
            <p:nvSpPr>
              <p:cNvPr id="12" name="Freeform 7"/>
              <p:cNvSpPr>
                <a:spLocks/>
              </p:cNvSpPr>
              <p:nvPr/>
            </p:nvSpPr>
            <p:spPr bwMode="auto">
              <a:xfrm>
                <a:off x="10244648" y="1423691"/>
                <a:ext cx="190891" cy="275345"/>
              </a:xfrm>
              <a:custGeom>
                <a:avLst/>
                <a:gdLst>
                  <a:gd name="T0" fmla="*/ 411 w 411"/>
                  <a:gd name="T1" fmla="*/ 157 h 595"/>
                  <a:gd name="T2" fmla="*/ 284 w 411"/>
                  <a:gd name="T3" fmla="*/ 53 h 595"/>
                  <a:gd name="T4" fmla="*/ 178 w 411"/>
                  <a:gd name="T5" fmla="*/ 190 h 595"/>
                  <a:gd name="T6" fmla="*/ 274 w 411"/>
                  <a:gd name="T7" fmla="*/ 44 h 595"/>
                  <a:gd name="T8" fmla="*/ 227 w 411"/>
                  <a:gd name="T9" fmla="*/ 6 h 595"/>
                  <a:gd name="T10" fmla="*/ 133 w 411"/>
                  <a:gd name="T11" fmla="*/ 165 h 595"/>
                  <a:gd name="T12" fmla="*/ 208 w 411"/>
                  <a:gd name="T13" fmla="*/ 0 h 595"/>
                  <a:gd name="T14" fmla="*/ 127 w 411"/>
                  <a:gd name="T15" fmla="*/ 30 h 595"/>
                  <a:gd name="T16" fmla="*/ 86 w 411"/>
                  <a:gd name="T17" fmla="*/ 131 h 595"/>
                  <a:gd name="T18" fmla="*/ 112 w 411"/>
                  <a:gd name="T19" fmla="*/ 35 h 595"/>
                  <a:gd name="T20" fmla="*/ 55 w 411"/>
                  <a:gd name="T21" fmla="*/ 56 h 595"/>
                  <a:gd name="T22" fmla="*/ 13 w 411"/>
                  <a:gd name="T23" fmla="*/ 454 h 595"/>
                  <a:gd name="T24" fmla="*/ 0 w 411"/>
                  <a:gd name="T25" fmla="*/ 469 h 595"/>
                  <a:gd name="T26" fmla="*/ 175 w 411"/>
                  <a:gd name="T27" fmla="*/ 595 h 595"/>
                  <a:gd name="T28" fmla="*/ 336 w 411"/>
                  <a:gd name="T29" fmla="*/ 491 h 595"/>
                  <a:gd name="T30" fmla="*/ 336 w 411"/>
                  <a:gd name="T31" fmla="*/ 491 h 595"/>
                  <a:gd name="T32" fmla="*/ 336 w 411"/>
                  <a:gd name="T33" fmla="*/ 491 h 595"/>
                  <a:gd name="T34" fmla="*/ 354 w 411"/>
                  <a:gd name="T35" fmla="*/ 422 h 595"/>
                  <a:gd name="T36" fmla="*/ 380 w 411"/>
                  <a:gd name="T37" fmla="*/ 322 h 595"/>
                  <a:gd name="T38" fmla="*/ 411 w 411"/>
                  <a:gd name="T39" fmla="*/ 204 h 595"/>
                  <a:gd name="T40" fmla="*/ 337 w 411"/>
                  <a:gd name="T41" fmla="*/ 248 h 595"/>
                  <a:gd name="T42" fmla="*/ 293 w 411"/>
                  <a:gd name="T43" fmla="*/ 396 h 595"/>
                  <a:gd name="T44" fmla="*/ 219 w 411"/>
                  <a:gd name="T45" fmla="*/ 425 h 595"/>
                  <a:gd name="T46" fmla="*/ 209 w 411"/>
                  <a:gd name="T47" fmla="*/ 286 h 595"/>
                  <a:gd name="T48" fmla="*/ 288 w 411"/>
                  <a:gd name="T49" fmla="*/ 130 h 595"/>
                  <a:gd name="T50" fmla="*/ 329 w 411"/>
                  <a:gd name="T51" fmla="*/ 165 h 595"/>
                  <a:gd name="T52" fmla="*/ 411 w 411"/>
                  <a:gd name="T53" fmla="*/ 157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595">
                    <a:moveTo>
                      <a:pt x="411" y="157"/>
                    </a:moveTo>
                    <a:cubicBezTo>
                      <a:pt x="284" y="53"/>
                      <a:pt x="284" y="53"/>
                      <a:pt x="284" y="53"/>
                    </a:cubicBezTo>
                    <a:cubicBezTo>
                      <a:pt x="178" y="190"/>
                      <a:pt x="178" y="190"/>
                      <a:pt x="178" y="190"/>
                    </a:cubicBezTo>
                    <a:cubicBezTo>
                      <a:pt x="274" y="44"/>
                      <a:pt x="274" y="44"/>
                      <a:pt x="274" y="44"/>
                    </a:cubicBezTo>
                    <a:cubicBezTo>
                      <a:pt x="227" y="6"/>
                      <a:pt x="227" y="6"/>
                      <a:pt x="227" y="6"/>
                    </a:cubicBezTo>
                    <a:cubicBezTo>
                      <a:pt x="133" y="165"/>
                      <a:pt x="133" y="165"/>
                      <a:pt x="133" y="165"/>
                    </a:cubicBezTo>
                    <a:cubicBezTo>
                      <a:pt x="208" y="0"/>
                      <a:pt x="208" y="0"/>
                      <a:pt x="208" y="0"/>
                    </a:cubicBezTo>
                    <a:cubicBezTo>
                      <a:pt x="127" y="30"/>
                      <a:pt x="127" y="30"/>
                      <a:pt x="127" y="30"/>
                    </a:cubicBezTo>
                    <a:cubicBezTo>
                      <a:pt x="86" y="131"/>
                      <a:pt x="86" y="131"/>
                      <a:pt x="86" y="131"/>
                    </a:cubicBezTo>
                    <a:cubicBezTo>
                      <a:pt x="112" y="35"/>
                      <a:pt x="112" y="35"/>
                      <a:pt x="112" y="35"/>
                    </a:cubicBezTo>
                    <a:cubicBezTo>
                      <a:pt x="55" y="56"/>
                      <a:pt x="55" y="56"/>
                      <a:pt x="55" y="56"/>
                    </a:cubicBezTo>
                    <a:cubicBezTo>
                      <a:pt x="13" y="454"/>
                      <a:pt x="13" y="454"/>
                      <a:pt x="13" y="454"/>
                    </a:cubicBezTo>
                    <a:cubicBezTo>
                      <a:pt x="0" y="469"/>
                      <a:pt x="0" y="469"/>
                      <a:pt x="0" y="469"/>
                    </a:cubicBezTo>
                    <a:cubicBezTo>
                      <a:pt x="175" y="595"/>
                      <a:pt x="175" y="595"/>
                      <a:pt x="175" y="595"/>
                    </a:cubicBezTo>
                    <a:cubicBezTo>
                      <a:pt x="336" y="491"/>
                      <a:pt x="336" y="491"/>
                      <a:pt x="336" y="491"/>
                    </a:cubicBezTo>
                    <a:cubicBezTo>
                      <a:pt x="336" y="491"/>
                      <a:pt x="336" y="491"/>
                      <a:pt x="336" y="491"/>
                    </a:cubicBezTo>
                    <a:cubicBezTo>
                      <a:pt x="336" y="491"/>
                      <a:pt x="336" y="491"/>
                      <a:pt x="336" y="491"/>
                    </a:cubicBezTo>
                    <a:cubicBezTo>
                      <a:pt x="354" y="422"/>
                      <a:pt x="354" y="422"/>
                      <a:pt x="354" y="422"/>
                    </a:cubicBezTo>
                    <a:cubicBezTo>
                      <a:pt x="380" y="322"/>
                      <a:pt x="380" y="322"/>
                      <a:pt x="380" y="322"/>
                    </a:cubicBezTo>
                    <a:cubicBezTo>
                      <a:pt x="411" y="204"/>
                      <a:pt x="411" y="204"/>
                      <a:pt x="411" y="204"/>
                    </a:cubicBezTo>
                    <a:cubicBezTo>
                      <a:pt x="379" y="196"/>
                      <a:pt x="346" y="215"/>
                      <a:pt x="337" y="248"/>
                    </a:cubicBezTo>
                    <a:cubicBezTo>
                      <a:pt x="293" y="396"/>
                      <a:pt x="293" y="396"/>
                      <a:pt x="293" y="396"/>
                    </a:cubicBezTo>
                    <a:cubicBezTo>
                      <a:pt x="219" y="425"/>
                      <a:pt x="219" y="425"/>
                      <a:pt x="219" y="425"/>
                    </a:cubicBezTo>
                    <a:cubicBezTo>
                      <a:pt x="209" y="286"/>
                      <a:pt x="209" y="286"/>
                      <a:pt x="209" y="286"/>
                    </a:cubicBezTo>
                    <a:cubicBezTo>
                      <a:pt x="288" y="130"/>
                      <a:pt x="288" y="130"/>
                      <a:pt x="288" y="130"/>
                    </a:cubicBezTo>
                    <a:cubicBezTo>
                      <a:pt x="329" y="165"/>
                      <a:pt x="329" y="165"/>
                      <a:pt x="329" y="165"/>
                    </a:cubicBezTo>
                    <a:cubicBezTo>
                      <a:pt x="354" y="185"/>
                      <a:pt x="390" y="182"/>
                      <a:pt x="411" y="157"/>
                    </a:cubicBezTo>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4" name="Freeform 8"/>
              <p:cNvSpPr>
                <a:spLocks/>
              </p:cNvSpPr>
              <p:nvPr/>
            </p:nvSpPr>
            <p:spPr bwMode="auto">
              <a:xfrm>
                <a:off x="10213411" y="1635405"/>
                <a:ext cx="119162" cy="101808"/>
              </a:xfrm>
              <a:custGeom>
                <a:avLst/>
                <a:gdLst>
                  <a:gd name="T0" fmla="*/ 21 w 103"/>
                  <a:gd name="T1" fmla="*/ 0 h 88"/>
                  <a:gd name="T2" fmla="*/ 0 w 103"/>
                  <a:gd name="T3" fmla="*/ 29 h 88"/>
                  <a:gd name="T4" fmla="*/ 82 w 103"/>
                  <a:gd name="T5" fmla="*/ 88 h 88"/>
                  <a:gd name="T6" fmla="*/ 103 w 103"/>
                  <a:gd name="T7" fmla="*/ 59 h 88"/>
                  <a:gd name="T8" fmla="*/ 21 w 103"/>
                  <a:gd name="T9" fmla="*/ 0 h 88"/>
                </a:gdLst>
                <a:ahLst/>
                <a:cxnLst>
                  <a:cxn ang="0">
                    <a:pos x="T0" y="T1"/>
                  </a:cxn>
                  <a:cxn ang="0">
                    <a:pos x="T2" y="T3"/>
                  </a:cxn>
                  <a:cxn ang="0">
                    <a:pos x="T4" y="T5"/>
                  </a:cxn>
                  <a:cxn ang="0">
                    <a:pos x="T6" y="T7"/>
                  </a:cxn>
                  <a:cxn ang="0">
                    <a:pos x="T8" y="T9"/>
                  </a:cxn>
                </a:cxnLst>
                <a:rect l="0" t="0" r="r" b="b"/>
                <a:pathLst>
                  <a:path w="103" h="88">
                    <a:moveTo>
                      <a:pt x="21" y="0"/>
                    </a:moveTo>
                    <a:lnTo>
                      <a:pt x="0" y="29"/>
                    </a:lnTo>
                    <a:lnTo>
                      <a:pt x="82" y="88"/>
                    </a:lnTo>
                    <a:lnTo>
                      <a:pt x="103" y="59"/>
                    </a:ln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5" name="Freeform 9"/>
              <p:cNvSpPr>
                <a:spLocks/>
              </p:cNvSpPr>
              <p:nvPr/>
            </p:nvSpPr>
            <p:spPr bwMode="auto">
              <a:xfrm>
                <a:off x="10097720" y="1666642"/>
                <a:ext cx="273031" cy="517140"/>
              </a:xfrm>
              <a:custGeom>
                <a:avLst/>
                <a:gdLst>
                  <a:gd name="T0" fmla="*/ 462 w 590"/>
                  <a:gd name="T1" fmla="*/ 158 h 1116"/>
                  <a:gd name="T2" fmla="*/ 244 w 590"/>
                  <a:gd name="T3" fmla="*/ 0 h 1116"/>
                  <a:gd name="T4" fmla="*/ 339 w 590"/>
                  <a:gd name="T5" fmla="*/ 1116 h 1116"/>
                  <a:gd name="T6" fmla="*/ 446 w 590"/>
                  <a:gd name="T7" fmla="*/ 1088 h 1116"/>
                  <a:gd name="T8" fmla="*/ 508 w 590"/>
                  <a:gd name="T9" fmla="*/ 1096 h 1116"/>
                  <a:gd name="T10" fmla="*/ 590 w 590"/>
                  <a:gd name="T11" fmla="*/ 979 h 1116"/>
                  <a:gd name="T12" fmla="*/ 462 w 590"/>
                  <a:gd name="T13" fmla="*/ 158 h 1116"/>
                </a:gdLst>
                <a:ahLst/>
                <a:cxnLst>
                  <a:cxn ang="0">
                    <a:pos x="T0" y="T1"/>
                  </a:cxn>
                  <a:cxn ang="0">
                    <a:pos x="T2" y="T3"/>
                  </a:cxn>
                  <a:cxn ang="0">
                    <a:pos x="T4" y="T5"/>
                  </a:cxn>
                  <a:cxn ang="0">
                    <a:pos x="T6" y="T7"/>
                  </a:cxn>
                  <a:cxn ang="0">
                    <a:pos x="T8" y="T9"/>
                  </a:cxn>
                  <a:cxn ang="0">
                    <a:pos x="T10" y="T11"/>
                  </a:cxn>
                  <a:cxn ang="0">
                    <a:pos x="T12" y="T13"/>
                  </a:cxn>
                </a:cxnLst>
                <a:rect l="0" t="0" r="r" b="b"/>
                <a:pathLst>
                  <a:path w="590" h="1116">
                    <a:moveTo>
                      <a:pt x="462" y="158"/>
                    </a:moveTo>
                    <a:cubicBezTo>
                      <a:pt x="244" y="0"/>
                      <a:pt x="244" y="0"/>
                      <a:pt x="244" y="0"/>
                    </a:cubicBezTo>
                    <a:cubicBezTo>
                      <a:pt x="0" y="352"/>
                      <a:pt x="48" y="821"/>
                      <a:pt x="339" y="1116"/>
                    </a:cubicBezTo>
                    <a:cubicBezTo>
                      <a:pt x="371" y="1098"/>
                      <a:pt x="407" y="1088"/>
                      <a:pt x="446" y="1088"/>
                    </a:cubicBezTo>
                    <a:cubicBezTo>
                      <a:pt x="468" y="1088"/>
                      <a:pt x="488" y="1091"/>
                      <a:pt x="508" y="1096"/>
                    </a:cubicBezTo>
                    <a:cubicBezTo>
                      <a:pt x="526" y="1051"/>
                      <a:pt x="554" y="1011"/>
                      <a:pt x="590" y="979"/>
                    </a:cubicBezTo>
                    <a:cubicBezTo>
                      <a:pt x="339" y="783"/>
                      <a:pt x="282" y="424"/>
                      <a:pt x="462" y="158"/>
                    </a:cubicBezTo>
                  </a:path>
                </a:pathLst>
              </a:custGeom>
              <a:solidFill>
                <a:schemeClr val="accent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6" name="Oval 10"/>
              <p:cNvSpPr>
                <a:spLocks noChangeArrowheads="1"/>
              </p:cNvSpPr>
              <p:nvPr/>
            </p:nvSpPr>
            <p:spPr bwMode="auto">
              <a:xfrm>
                <a:off x="10258531" y="1738371"/>
                <a:ext cx="23138" cy="2198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7" name="Freeform 11"/>
              <p:cNvSpPr>
                <a:spLocks/>
              </p:cNvSpPr>
              <p:nvPr/>
            </p:nvSpPr>
            <p:spPr bwMode="auto">
              <a:xfrm>
                <a:off x="10721296" y="2099328"/>
                <a:ext cx="189734" cy="274189"/>
              </a:xfrm>
              <a:custGeom>
                <a:avLst/>
                <a:gdLst>
                  <a:gd name="T0" fmla="*/ 76 w 411"/>
                  <a:gd name="T1" fmla="*/ 103 h 594"/>
                  <a:gd name="T2" fmla="*/ 76 w 411"/>
                  <a:gd name="T3" fmla="*/ 103 h 594"/>
                  <a:gd name="T4" fmla="*/ 75 w 411"/>
                  <a:gd name="T5" fmla="*/ 103 h 594"/>
                  <a:gd name="T6" fmla="*/ 57 w 411"/>
                  <a:gd name="T7" fmla="*/ 172 h 594"/>
                  <a:gd name="T8" fmla="*/ 31 w 411"/>
                  <a:gd name="T9" fmla="*/ 272 h 594"/>
                  <a:gd name="T10" fmla="*/ 0 w 411"/>
                  <a:gd name="T11" fmla="*/ 390 h 594"/>
                  <a:gd name="T12" fmla="*/ 74 w 411"/>
                  <a:gd name="T13" fmla="*/ 347 h 594"/>
                  <a:gd name="T14" fmla="*/ 119 w 411"/>
                  <a:gd name="T15" fmla="*/ 198 h 594"/>
                  <a:gd name="T16" fmla="*/ 192 w 411"/>
                  <a:gd name="T17" fmla="*/ 169 h 594"/>
                  <a:gd name="T18" fmla="*/ 202 w 411"/>
                  <a:gd name="T19" fmla="*/ 308 h 594"/>
                  <a:gd name="T20" fmla="*/ 124 w 411"/>
                  <a:gd name="T21" fmla="*/ 464 h 594"/>
                  <a:gd name="T22" fmla="*/ 82 w 411"/>
                  <a:gd name="T23" fmla="*/ 429 h 594"/>
                  <a:gd name="T24" fmla="*/ 1 w 411"/>
                  <a:gd name="T25" fmla="*/ 437 h 594"/>
                  <a:gd name="T26" fmla="*/ 127 w 411"/>
                  <a:gd name="T27" fmla="*/ 541 h 594"/>
                  <a:gd name="T28" fmla="*/ 234 w 411"/>
                  <a:gd name="T29" fmla="*/ 405 h 594"/>
                  <a:gd name="T30" fmla="*/ 137 w 411"/>
                  <a:gd name="T31" fmla="*/ 550 h 594"/>
                  <a:gd name="T32" fmla="*/ 185 w 411"/>
                  <a:gd name="T33" fmla="*/ 588 h 594"/>
                  <a:gd name="T34" fmla="*/ 279 w 411"/>
                  <a:gd name="T35" fmla="*/ 429 h 594"/>
                  <a:gd name="T36" fmla="*/ 203 w 411"/>
                  <a:gd name="T37" fmla="*/ 594 h 594"/>
                  <a:gd name="T38" fmla="*/ 285 w 411"/>
                  <a:gd name="T39" fmla="*/ 564 h 594"/>
                  <a:gd name="T40" fmla="*/ 326 w 411"/>
                  <a:gd name="T41" fmla="*/ 463 h 594"/>
                  <a:gd name="T42" fmla="*/ 300 w 411"/>
                  <a:gd name="T43" fmla="*/ 559 h 594"/>
                  <a:gd name="T44" fmla="*/ 356 w 411"/>
                  <a:gd name="T45" fmla="*/ 538 h 594"/>
                  <a:gd name="T46" fmla="*/ 399 w 411"/>
                  <a:gd name="T47" fmla="*/ 140 h 594"/>
                  <a:gd name="T48" fmla="*/ 411 w 411"/>
                  <a:gd name="T49" fmla="*/ 126 h 594"/>
                  <a:gd name="T50" fmla="*/ 236 w 411"/>
                  <a:gd name="T51" fmla="*/ 0 h 594"/>
                  <a:gd name="T52" fmla="*/ 76 w 411"/>
                  <a:gd name="T53" fmla="*/ 103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594">
                    <a:moveTo>
                      <a:pt x="76" y="103"/>
                    </a:moveTo>
                    <a:cubicBezTo>
                      <a:pt x="76" y="103"/>
                      <a:pt x="76" y="103"/>
                      <a:pt x="76" y="103"/>
                    </a:cubicBezTo>
                    <a:cubicBezTo>
                      <a:pt x="75" y="103"/>
                      <a:pt x="75" y="103"/>
                      <a:pt x="75" y="103"/>
                    </a:cubicBezTo>
                    <a:cubicBezTo>
                      <a:pt x="57" y="172"/>
                      <a:pt x="57" y="172"/>
                      <a:pt x="57" y="172"/>
                    </a:cubicBezTo>
                    <a:cubicBezTo>
                      <a:pt x="31" y="272"/>
                      <a:pt x="31" y="272"/>
                      <a:pt x="31" y="272"/>
                    </a:cubicBezTo>
                    <a:cubicBezTo>
                      <a:pt x="0" y="390"/>
                      <a:pt x="0" y="390"/>
                      <a:pt x="0" y="390"/>
                    </a:cubicBezTo>
                    <a:cubicBezTo>
                      <a:pt x="32" y="398"/>
                      <a:pt x="65" y="379"/>
                      <a:pt x="74" y="347"/>
                    </a:cubicBezTo>
                    <a:cubicBezTo>
                      <a:pt x="119" y="198"/>
                      <a:pt x="119" y="198"/>
                      <a:pt x="119" y="198"/>
                    </a:cubicBezTo>
                    <a:cubicBezTo>
                      <a:pt x="192" y="169"/>
                      <a:pt x="192" y="169"/>
                      <a:pt x="192" y="169"/>
                    </a:cubicBezTo>
                    <a:cubicBezTo>
                      <a:pt x="202" y="308"/>
                      <a:pt x="202" y="308"/>
                      <a:pt x="202" y="308"/>
                    </a:cubicBezTo>
                    <a:cubicBezTo>
                      <a:pt x="124" y="464"/>
                      <a:pt x="124" y="464"/>
                      <a:pt x="124" y="464"/>
                    </a:cubicBezTo>
                    <a:cubicBezTo>
                      <a:pt x="82" y="429"/>
                      <a:pt x="82" y="429"/>
                      <a:pt x="82" y="429"/>
                    </a:cubicBezTo>
                    <a:cubicBezTo>
                      <a:pt x="58" y="409"/>
                      <a:pt x="21" y="412"/>
                      <a:pt x="1" y="437"/>
                    </a:cubicBezTo>
                    <a:cubicBezTo>
                      <a:pt x="127" y="541"/>
                      <a:pt x="127" y="541"/>
                      <a:pt x="127" y="541"/>
                    </a:cubicBezTo>
                    <a:cubicBezTo>
                      <a:pt x="234" y="405"/>
                      <a:pt x="234" y="405"/>
                      <a:pt x="234" y="405"/>
                    </a:cubicBezTo>
                    <a:cubicBezTo>
                      <a:pt x="137" y="550"/>
                      <a:pt x="137" y="550"/>
                      <a:pt x="137" y="550"/>
                    </a:cubicBezTo>
                    <a:cubicBezTo>
                      <a:pt x="185" y="588"/>
                      <a:pt x="185" y="588"/>
                      <a:pt x="185" y="588"/>
                    </a:cubicBezTo>
                    <a:cubicBezTo>
                      <a:pt x="279" y="429"/>
                      <a:pt x="279" y="429"/>
                      <a:pt x="279" y="429"/>
                    </a:cubicBezTo>
                    <a:cubicBezTo>
                      <a:pt x="203" y="594"/>
                      <a:pt x="203" y="594"/>
                      <a:pt x="203" y="594"/>
                    </a:cubicBezTo>
                    <a:cubicBezTo>
                      <a:pt x="285" y="564"/>
                      <a:pt x="285" y="564"/>
                      <a:pt x="285" y="564"/>
                    </a:cubicBezTo>
                    <a:cubicBezTo>
                      <a:pt x="326" y="463"/>
                      <a:pt x="326" y="463"/>
                      <a:pt x="326" y="463"/>
                    </a:cubicBezTo>
                    <a:cubicBezTo>
                      <a:pt x="300" y="559"/>
                      <a:pt x="300" y="559"/>
                      <a:pt x="300" y="559"/>
                    </a:cubicBezTo>
                    <a:cubicBezTo>
                      <a:pt x="356" y="538"/>
                      <a:pt x="356" y="538"/>
                      <a:pt x="356" y="538"/>
                    </a:cubicBezTo>
                    <a:cubicBezTo>
                      <a:pt x="399" y="140"/>
                      <a:pt x="399" y="140"/>
                      <a:pt x="399" y="140"/>
                    </a:cubicBezTo>
                    <a:cubicBezTo>
                      <a:pt x="411" y="126"/>
                      <a:pt x="411" y="126"/>
                      <a:pt x="411" y="126"/>
                    </a:cubicBezTo>
                    <a:cubicBezTo>
                      <a:pt x="236" y="0"/>
                      <a:pt x="236" y="0"/>
                      <a:pt x="236" y="0"/>
                    </a:cubicBezTo>
                    <a:lnTo>
                      <a:pt x="76" y="103"/>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8" name="Freeform 12"/>
              <p:cNvSpPr>
                <a:spLocks/>
              </p:cNvSpPr>
              <p:nvPr/>
            </p:nvSpPr>
            <p:spPr bwMode="auto">
              <a:xfrm>
                <a:off x="10791868" y="1534754"/>
                <a:ext cx="281130" cy="595810"/>
              </a:xfrm>
              <a:custGeom>
                <a:avLst/>
                <a:gdLst>
                  <a:gd name="T0" fmla="*/ 119 w 608"/>
                  <a:gd name="T1" fmla="*/ 71 h 1288"/>
                  <a:gd name="T2" fmla="*/ 0 w 608"/>
                  <a:gd name="T3" fmla="*/ 0 h 1288"/>
                  <a:gd name="T4" fmla="*/ 0 w 608"/>
                  <a:gd name="T5" fmla="*/ 320 h 1288"/>
                  <a:gd name="T6" fmla="*/ 115 w 608"/>
                  <a:gd name="T7" fmla="*/ 1130 h 1288"/>
                  <a:gd name="T8" fmla="*/ 333 w 608"/>
                  <a:gd name="T9" fmla="*/ 1288 h 1288"/>
                  <a:gd name="T10" fmla="*/ 119 w 608"/>
                  <a:gd name="T11" fmla="*/ 71 h 1288"/>
                </a:gdLst>
                <a:ahLst/>
                <a:cxnLst>
                  <a:cxn ang="0">
                    <a:pos x="T0" y="T1"/>
                  </a:cxn>
                  <a:cxn ang="0">
                    <a:pos x="T2" y="T3"/>
                  </a:cxn>
                  <a:cxn ang="0">
                    <a:pos x="T4" y="T5"/>
                  </a:cxn>
                  <a:cxn ang="0">
                    <a:pos x="T6" y="T7"/>
                  </a:cxn>
                  <a:cxn ang="0">
                    <a:pos x="T8" y="T9"/>
                  </a:cxn>
                  <a:cxn ang="0">
                    <a:pos x="T10" y="T11"/>
                  </a:cxn>
                </a:cxnLst>
                <a:rect l="0" t="0" r="r" b="b"/>
                <a:pathLst>
                  <a:path w="608" h="1288">
                    <a:moveTo>
                      <a:pt x="119" y="71"/>
                    </a:moveTo>
                    <a:cubicBezTo>
                      <a:pt x="80" y="44"/>
                      <a:pt x="41" y="20"/>
                      <a:pt x="0" y="0"/>
                    </a:cubicBezTo>
                    <a:cubicBezTo>
                      <a:pt x="0" y="320"/>
                      <a:pt x="0" y="320"/>
                      <a:pt x="0" y="320"/>
                    </a:cubicBezTo>
                    <a:cubicBezTo>
                      <a:pt x="240" y="518"/>
                      <a:pt x="292" y="869"/>
                      <a:pt x="115" y="1130"/>
                    </a:cubicBezTo>
                    <a:cubicBezTo>
                      <a:pt x="333" y="1288"/>
                      <a:pt x="333" y="1288"/>
                      <a:pt x="333" y="1288"/>
                    </a:cubicBezTo>
                    <a:cubicBezTo>
                      <a:pt x="608" y="893"/>
                      <a:pt x="513" y="349"/>
                      <a:pt x="119" y="71"/>
                    </a:cubicBezTo>
                  </a:path>
                </a:pathLst>
              </a:custGeom>
              <a:solidFill>
                <a:schemeClr val="accent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19" name="Oval 13"/>
              <p:cNvSpPr>
                <a:spLocks noChangeArrowheads="1"/>
              </p:cNvSpPr>
              <p:nvPr/>
            </p:nvSpPr>
            <p:spPr bwMode="auto">
              <a:xfrm>
                <a:off x="10875166" y="2036854"/>
                <a:ext cx="21982" cy="23138"/>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0" name="Rectangle 14"/>
              <p:cNvSpPr>
                <a:spLocks noChangeArrowheads="1"/>
              </p:cNvSpPr>
              <p:nvPr/>
            </p:nvSpPr>
            <p:spPr bwMode="auto">
              <a:xfrm>
                <a:off x="10506110" y="1412122"/>
                <a:ext cx="133045" cy="288072"/>
              </a:xfrm>
              <a:prstGeom prst="rect">
                <a:avLst/>
              </a:prstGeom>
              <a:solidFill>
                <a:schemeClr val="tx1">
                  <a:lumMod val="50000"/>
                  <a:lumOff val="50000"/>
                </a:schemeClr>
              </a:solidFill>
              <a:ln>
                <a:noFill/>
              </a:ln>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1" name="Freeform 15"/>
              <p:cNvSpPr>
                <a:spLocks/>
              </p:cNvSpPr>
              <p:nvPr/>
            </p:nvSpPr>
            <p:spPr bwMode="auto">
              <a:xfrm>
                <a:off x="10519993" y="1432946"/>
                <a:ext cx="105279" cy="18511"/>
              </a:xfrm>
              <a:custGeom>
                <a:avLst/>
                <a:gdLst>
                  <a:gd name="T0" fmla="*/ 20 w 226"/>
                  <a:gd name="T1" fmla="*/ 0 h 40"/>
                  <a:gd name="T2" fmla="*/ 0 w 226"/>
                  <a:gd name="T3" fmla="*/ 18 h 40"/>
                  <a:gd name="T4" fmla="*/ 0 w 226"/>
                  <a:gd name="T5" fmla="*/ 22 h 40"/>
                  <a:gd name="T6" fmla="*/ 20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20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20" y="0"/>
                    </a:moveTo>
                    <a:cubicBezTo>
                      <a:pt x="20" y="0"/>
                      <a:pt x="0" y="0"/>
                      <a:pt x="0" y="18"/>
                    </a:cubicBezTo>
                    <a:cubicBezTo>
                      <a:pt x="0" y="22"/>
                      <a:pt x="0" y="22"/>
                      <a:pt x="0" y="22"/>
                    </a:cubicBezTo>
                    <a:cubicBezTo>
                      <a:pt x="0" y="22"/>
                      <a:pt x="0" y="40"/>
                      <a:pt x="20"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2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2" name="Freeform 16"/>
              <p:cNvSpPr>
                <a:spLocks/>
              </p:cNvSpPr>
              <p:nvPr/>
            </p:nvSpPr>
            <p:spPr bwMode="auto">
              <a:xfrm>
                <a:off x="10519993" y="1465340"/>
                <a:ext cx="105279" cy="18511"/>
              </a:xfrm>
              <a:custGeom>
                <a:avLst/>
                <a:gdLst>
                  <a:gd name="T0" fmla="*/ 20 w 226"/>
                  <a:gd name="T1" fmla="*/ 0 h 40"/>
                  <a:gd name="T2" fmla="*/ 0 w 226"/>
                  <a:gd name="T3" fmla="*/ 18 h 40"/>
                  <a:gd name="T4" fmla="*/ 0 w 226"/>
                  <a:gd name="T5" fmla="*/ 22 h 40"/>
                  <a:gd name="T6" fmla="*/ 20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20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20" y="0"/>
                    </a:moveTo>
                    <a:cubicBezTo>
                      <a:pt x="20" y="0"/>
                      <a:pt x="0" y="0"/>
                      <a:pt x="0" y="18"/>
                    </a:cubicBezTo>
                    <a:cubicBezTo>
                      <a:pt x="0" y="22"/>
                      <a:pt x="0" y="22"/>
                      <a:pt x="0" y="22"/>
                    </a:cubicBezTo>
                    <a:cubicBezTo>
                      <a:pt x="0" y="22"/>
                      <a:pt x="0" y="40"/>
                      <a:pt x="20"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2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3" name="Freeform 17"/>
              <p:cNvSpPr>
                <a:spLocks/>
              </p:cNvSpPr>
              <p:nvPr/>
            </p:nvSpPr>
            <p:spPr bwMode="auto">
              <a:xfrm>
                <a:off x="10519993" y="1497733"/>
                <a:ext cx="105279" cy="18511"/>
              </a:xfrm>
              <a:custGeom>
                <a:avLst/>
                <a:gdLst>
                  <a:gd name="T0" fmla="*/ 20 w 226"/>
                  <a:gd name="T1" fmla="*/ 0 h 40"/>
                  <a:gd name="T2" fmla="*/ 0 w 226"/>
                  <a:gd name="T3" fmla="*/ 18 h 40"/>
                  <a:gd name="T4" fmla="*/ 0 w 226"/>
                  <a:gd name="T5" fmla="*/ 22 h 40"/>
                  <a:gd name="T6" fmla="*/ 20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20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20" y="0"/>
                    </a:moveTo>
                    <a:cubicBezTo>
                      <a:pt x="20" y="0"/>
                      <a:pt x="0" y="0"/>
                      <a:pt x="0" y="18"/>
                    </a:cubicBezTo>
                    <a:cubicBezTo>
                      <a:pt x="0" y="22"/>
                      <a:pt x="0" y="22"/>
                      <a:pt x="0" y="22"/>
                    </a:cubicBezTo>
                    <a:cubicBezTo>
                      <a:pt x="0" y="22"/>
                      <a:pt x="0" y="40"/>
                      <a:pt x="20"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2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4" name="Freeform 18"/>
              <p:cNvSpPr>
                <a:spLocks/>
              </p:cNvSpPr>
              <p:nvPr/>
            </p:nvSpPr>
            <p:spPr bwMode="auto">
              <a:xfrm>
                <a:off x="10519993" y="1531283"/>
                <a:ext cx="105279" cy="17354"/>
              </a:xfrm>
              <a:custGeom>
                <a:avLst/>
                <a:gdLst>
                  <a:gd name="T0" fmla="*/ 20 w 226"/>
                  <a:gd name="T1" fmla="*/ 0 h 39"/>
                  <a:gd name="T2" fmla="*/ 0 w 226"/>
                  <a:gd name="T3" fmla="*/ 18 h 39"/>
                  <a:gd name="T4" fmla="*/ 0 w 226"/>
                  <a:gd name="T5" fmla="*/ 21 h 39"/>
                  <a:gd name="T6" fmla="*/ 20 w 226"/>
                  <a:gd name="T7" fmla="*/ 39 h 39"/>
                  <a:gd name="T8" fmla="*/ 207 w 226"/>
                  <a:gd name="T9" fmla="*/ 39 h 39"/>
                  <a:gd name="T10" fmla="*/ 226 w 226"/>
                  <a:gd name="T11" fmla="*/ 21 h 39"/>
                  <a:gd name="T12" fmla="*/ 226 w 226"/>
                  <a:gd name="T13" fmla="*/ 18 h 39"/>
                  <a:gd name="T14" fmla="*/ 207 w 226"/>
                  <a:gd name="T15" fmla="*/ 0 h 39"/>
                  <a:gd name="T16" fmla="*/ 120 w 226"/>
                  <a:gd name="T17" fmla="*/ 0 h 39"/>
                  <a:gd name="T18" fmla="*/ 20 w 226"/>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39">
                    <a:moveTo>
                      <a:pt x="20" y="0"/>
                    </a:moveTo>
                    <a:cubicBezTo>
                      <a:pt x="20" y="0"/>
                      <a:pt x="0" y="0"/>
                      <a:pt x="0" y="18"/>
                    </a:cubicBezTo>
                    <a:cubicBezTo>
                      <a:pt x="0" y="21"/>
                      <a:pt x="0" y="21"/>
                      <a:pt x="0" y="21"/>
                    </a:cubicBezTo>
                    <a:cubicBezTo>
                      <a:pt x="0" y="21"/>
                      <a:pt x="0" y="39"/>
                      <a:pt x="20" y="39"/>
                    </a:cubicBezTo>
                    <a:cubicBezTo>
                      <a:pt x="207" y="39"/>
                      <a:pt x="207" y="39"/>
                      <a:pt x="207" y="39"/>
                    </a:cubicBezTo>
                    <a:cubicBezTo>
                      <a:pt x="207" y="39"/>
                      <a:pt x="226" y="39"/>
                      <a:pt x="226" y="21"/>
                    </a:cubicBezTo>
                    <a:cubicBezTo>
                      <a:pt x="226" y="18"/>
                      <a:pt x="226" y="18"/>
                      <a:pt x="226" y="18"/>
                    </a:cubicBezTo>
                    <a:cubicBezTo>
                      <a:pt x="226" y="18"/>
                      <a:pt x="226" y="0"/>
                      <a:pt x="207" y="0"/>
                    </a:cubicBezTo>
                    <a:cubicBezTo>
                      <a:pt x="120" y="0"/>
                      <a:pt x="120" y="0"/>
                      <a:pt x="120" y="0"/>
                    </a:cubicBezTo>
                    <a:lnTo>
                      <a:pt x="2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5" name="Freeform 19"/>
              <p:cNvSpPr>
                <a:spLocks/>
              </p:cNvSpPr>
              <p:nvPr/>
            </p:nvSpPr>
            <p:spPr bwMode="auto">
              <a:xfrm>
                <a:off x="10519993" y="1563677"/>
                <a:ext cx="105279" cy="17354"/>
              </a:xfrm>
              <a:custGeom>
                <a:avLst/>
                <a:gdLst>
                  <a:gd name="T0" fmla="*/ 20 w 226"/>
                  <a:gd name="T1" fmla="*/ 0 h 39"/>
                  <a:gd name="T2" fmla="*/ 0 w 226"/>
                  <a:gd name="T3" fmla="*/ 18 h 39"/>
                  <a:gd name="T4" fmla="*/ 0 w 226"/>
                  <a:gd name="T5" fmla="*/ 21 h 39"/>
                  <a:gd name="T6" fmla="*/ 20 w 226"/>
                  <a:gd name="T7" fmla="*/ 39 h 39"/>
                  <a:gd name="T8" fmla="*/ 207 w 226"/>
                  <a:gd name="T9" fmla="*/ 39 h 39"/>
                  <a:gd name="T10" fmla="*/ 226 w 226"/>
                  <a:gd name="T11" fmla="*/ 21 h 39"/>
                  <a:gd name="T12" fmla="*/ 226 w 226"/>
                  <a:gd name="T13" fmla="*/ 18 h 39"/>
                  <a:gd name="T14" fmla="*/ 207 w 226"/>
                  <a:gd name="T15" fmla="*/ 0 h 39"/>
                  <a:gd name="T16" fmla="*/ 120 w 226"/>
                  <a:gd name="T17" fmla="*/ 0 h 39"/>
                  <a:gd name="T18" fmla="*/ 20 w 226"/>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39">
                    <a:moveTo>
                      <a:pt x="20" y="0"/>
                    </a:moveTo>
                    <a:cubicBezTo>
                      <a:pt x="20" y="0"/>
                      <a:pt x="0" y="0"/>
                      <a:pt x="0" y="18"/>
                    </a:cubicBezTo>
                    <a:cubicBezTo>
                      <a:pt x="0" y="21"/>
                      <a:pt x="0" y="21"/>
                      <a:pt x="0" y="21"/>
                    </a:cubicBezTo>
                    <a:cubicBezTo>
                      <a:pt x="0" y="21"/>
                      <a:pt x="0" y="39"/>
                      <a:pt x="20" y="39"/>
                    </a:cubicBezTo>
                    <a:cubicBezTo>
                      <a:pt x="207" y="39"/>
                      <a:pt x="207" y="39"/>
                      <a:pt x="207" y="39"/>
                    </a:cubicBezTo>
                    <a:cubicBezTo>
                      <a:pt x="207" y="39"/>
                      <a:pt x="226" y="39"/>
                      <a:pt x="226" y="21"/>
                    </a:cubicBezTo>
                    <a:cubicBezTo>
                      <a:pt x="226" y="18"/>
                      <a:pt x="226" y="18"/>
                      <a:pt x="226" y="18"/>
                    </a:cubicBezTo>
                    <a:cubicBezTo>
                      <a:pt x="226" y="18"/>
                      <a:pt x="226" y="0"/>
                      <a:pt x="207" y="0"/>
                    </a:cubicBezTo>
                    <a:cubicBezTo>
                      <a:pt x="120" y="0"/>
                      <a:pt x="120" y="0"/>
                      <a:pt x="120" y="0"/>
                    </a:cubicBezTo>
                    <a:lnTo>
                      <a:pt x="2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6" name="Freeform 20"/>
              <p:cNvSpPr>
                <a:spLocks/>
              </p:cNvSpPr>
              <p:nvPr/>
            </p:nvSpPr>
            <p:spPr bwMode="auto">
              <a:xfrm>
                <a:off x="10519993" y="1596070"/>
                <a:ext cx="105279" cy="18511"/>
              </a:xfrm>
              <a:custGeom>
                <a:avLst/>
                <a:gdLst>
                  <a:gd name="T0" fmla="*/ 20 w 226"/>
                  <a:gd name="T1" fmla="*/ 0 h 40"/>
                  <a:gd name="T2" fmla="*/ 0 w 226"/>
                  <a:gd name="T3" fmla="*/ 18 h 40"/>
                  <a:gd name="T4" fmla="*/ 0 w 226"/>
                  <a:gd name="T5" fmla="*/ 22 h 40"/>
                  <a:gd name="T6" fmla="*/ 20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20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20" y="0"/>
                    </a:moveTo>
                    <a:cubicBezTo>
                      <a:pt x="20" y="0"/>
                      <a:pt x="0" y="0"/>
                      <a:pt x="0" y="18"/>
                    </a:cubicBezTo>
                    <a:cubicBezTo>
                      <a:pt x="0" y="22"/>
                      <a:pt x="0" y="22"/>
                      <a:pt x="0" y="22"/>
                    </a:cubicBezTo>
                    <a:cubicBezTo>
                      <a:pt x="0" y="22"/>
                      <a:pt x="0" y="40"/>
                      <a:pt x="20"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2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7" name="Freeform 21"/>
              <p:cNvSpPr>
                <a:spLocks/>
              </p:cNvSpPr>
              <p:nvPr/>
            </p:nvSpPr>
            <p:spPr bwMode="auto">
              <a:xfrm>
                <a:off x="10519993" y="1628464"/>
                <a:ext cx="105279" cy="18511"/>
              </a:xfrm>
              <a:custGeom>
                <a:avLst/>
                <a:gdLst>
                  <a:gd name="T0" fmla="*/ 20 w 226"/>
                  <a:gd name="T1" fmla="*/ 0 h 40"/>
                  <a:gd name="T2" fmla="*/ 0 w 226"/>
                  <a:gd name="T3" fmla="*/ 18 h 40"/>
                  <a:gd name="T4" fmla="*/ 0 w 226"/>
                  <a:gd name="T5" fmla="*/ 22 h 40"/>
                  <a:gd name="T6" fmla="*/ 20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20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20" y="0"/>
                    </a:moveTo>
                    <a:cubicBezTo>
                      <a:pt x="20" y="0"/>
                      <a:pt x="0" y="0"/>
                      <a:pt x="0" y="18"/>
                    </a:cubicBezTo>
                    <a:cubicBezTo>
                      <a:pt x="0" y="22"/>
                      <a:pt x="0" y="22"/>
                      <a:pt x="0" y="22"/>
                    </a:cubicBezTo>
                    <a:cubicBezTo>
                      <a:pt x="0" y="22"/>
                      <a:pt x="0" y="40"/>
                      <a:pt x="20"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2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8" name="Freeform 22"/>
              <p:cNvSpPr>
                <a:spLocks/>
              </p:cNvSpPr>
              <p:nvPr/>
            </p:nvSpPr>
            <p:spPr bwMode="auto">
              <a:xfrm>
                <a:off x="10519993" y="1660858"/>
                <a:ext cx="105279" cy="18511"/>
              </a:xfrm>
              <a:custGeom>
                <a:avLst/>
                <a:gdLst>
                  <a:gd name="T0" fmla="*/ 20 w 226"/>
                  <a:gd name="T1" fmla="*/ 0 h 40"/>
                  <a:gd name="T2" fmla="*/ 0 w 226"/>
                  <a:gd name="T3" fmla="*/ 18 h 40"/>
                  <a:gd name="T4" fmla="*/ 0 w 226"/>
                  <a:gd name="T5" fmla="*/ 22 h 40"/>
                  <a:gd name="T6" fmla="*/ 20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20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20" y="0"/>
                    </a:moveTo>
                    <a:cubicBezTo>
                      <a:pt x="20" y="0"/>
                      <a:pt x="0" y="0"/>
                      <a:pt x="0" y="18"/>
                    </a:cubicBezTo>
                    <a:cubicBezTo>
                      <a:pt x="0" y="22"/>
                      <a:pt x="0" y="22"/>
                      <a:pt x="0" y="22"/>
                    </a:cubicBezTo>
                    <a:cubicBezTo>
                      <a:pt x="0" y="22"/>
                      <a:pt x="0" y="40"/>
                      <a:pt x="20"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2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9" name="Oval 23"/>
              <p:cNvSpPr>
                <a:spLocks noChangeArrowheads="1"/>
              </p:cNvSpPr>
              <p:nvPr/>
            </p:nvSpPr>
            <p:spPr bwMode="auto">
              <a:xfrm>
                <a:off x="10605604" y="1436416"/>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0" name="Oval 24"/>
              <p:cNvSpPr>
                <a:spLocks noChangeArrowheads="1"/>
              </p:cNvSpPr>
              <p:nvPr/>
            </p:nvSpPr>
            <p:spPr bwMode="auto">
              <a:xfrm>
                <a:off x="10605604" y="1469967"/>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1" name="Oval 25"/>
              <p:cNvSpPr>
                <a:spLocks noChangeArrowheads="1"/>
              </p:cNvSpPr>
              <p:nvPr/>
            </p:nvSpPr>
            <p:spPr bwMode="auto">
              <a:xfrm>
                <a:off x="10605604" y="1502361"/>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2" name="Oval 26"/>
              <p:cNvSpPr>
                <a:spLocks noChangeArrowheads="1"/>
              </p:cNvSpPr>
              <p:nvPr/>
            </p:nvSpPr>
            <p:spPr bwMode="auto">
              <a:xfrm>
                <a:off x="10605604" y="1534754"/>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3" name="Oval 27"/>
              <p:cNvSpPr>
                <a:spLocks noChangeArrowheads="1"/>
              </p:cNvSpPr>
              <p:nvPr/>
            </p:nvSpPr>
            <p:spPr bwMode="auto">
              <a:xfrm>
                <a:off x="10605604" y="1567148"/>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4" name="Oval 28"/>
              <p:cNvSpPr>
                <a:spLocks noChangeArrowheads="1"/>
              </p:cNvSpPr>
              <p:nvPr/>
            </p:nvSpPr>
            <p:spPr bwMode="auto">
              <a:xfrm>
                <a:off x="10605604" y="1599541"/>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5" name="Oval 29"/>
              <p:cNvSpPr>
                <a:spLocks noChangeArrowheads="1"/>
              </p:cNvSpPr>
              <p:nvPr/>
            </p:nvSpPr>
            <p:spPr bwMode="auto">
              <a:xfrm>
                <a:off x="10605604" y="1631935"/>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6" name="Oval 30"/>
              <p:cNvSpPr>
                <a:spLocks noChangeArrowheads="1"/>
              </p:cNvSpPr>
              <p:nvPr/>
            </p:nvSpPr>
            <p:spPr bwMode="auto">
              <a:xfrm>
                <a:off x="10605604" y="1665485"/>
                <a:ext cx="10413" cy="925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7" name="Rectangle 31"/>
              <p:cNvSpPr>
                <a:spLocks noChangeArrowheads="1"/>
              </p:cNvSpPr>
              <p:nvPr/>
            </p:nvSpPr>
            <p:spPr bwMode="auto">
              <a:xfrm>
                <a:off x="10658822" y="1412122"/>
                <a:ext cx="133045" cy="288072"/>
              </a:xfrm>
              <a:prstGeom prst="rect">
                <a:avLst/>
              </a:prstGeom>
              <a:solidFill>
                <a:schemeClr val="tx1">
                  <a:lumMod val="50000"/>
                  <a:lumOff val="50000"/>
                </a:schemeClr>
              </a:solidFill>
              <a:ln>
                <a:noFill/>
              </a:ln>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8" name="Freeform 32"/>
              <p:cNvSpPr>
                <a:spLocks/>
              </p:cNvSpPr>
              <p:nvPr/>
            </p:nvSpPr>
            <p:spPr bwMode="auto">
              <a:xfrm>
                <a:off x="10672705" y="1432946"/>
                <a:ext cx="105279" cy="18511"/>
              </a:xfrm>
              <a:custGeom>
                <a:avLst/>
                <a:gdLst>
                  <a:gd name="T0" fmla="*/ 19 w 226"/>
                  <a:gd name="T1" fmla="*/ 0 h 40"/>
                  <a:gd name="T2" fmla="*/ 0 w 226"/>
                  <a:gd name="T3" fmla="*/ 18 h 40"/>
                  <a:gd name="T4" fmla="*/ 0 w 226"/>
                  <a:gd name="T5" fmla="*/ 22 h 40"/>
                  <a:gd name="T6" fmla="*/ 19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19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19" y="0"/>
                    </a:moveTo>
                    <a:cubicBezTo>
                      <a:pt x="19" y="0"/>
                      <a:pt x="0" y="0"/>
                      <a:pt x="0" y="18"/>
                    </a:cubicBezTo>
                    <a:cubicBezTo>
                      <a:pt x="0" y="22"/>
                      <a:pt x="0" y="22"/>
                      <a:pt x="0" y="22"/>
                    </a:cubicBezTo>
                    <a:cubicBezTo>
                      <a:pt x="0" y="22"/>
                      <a:pt x="0" y="40"/>
                      <a:pt x="19"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9" name="Freeform 33"/>
              <p:cNvSpPr>
                <a:spLocks/>
              </p:cNvSpPr>
              <p:nvPr/>
            </p:nvSpPr>
            <p:spPr bwMode="auto">
              <a:xfrm>
                <a:off x="10672705" y="1465340"/>
                <a:ext cx="105279" cy="18511"/>
              </a:xfrm>
              <a:custGeom>
                <a:avLst/>
                <a:gdLst>
                  <a:gd name="T0" fmla="*/ 19 w 226"/>
                  <a:gd name="T1" fmla="*/ 0 h 40"/>
                  <a:gd name="T2" fmla="*/ 0 w 226"/>
                  <a:gd name="T3" fmla="*/ 18 h 40"/>
                  <a:gd name="T4" fmla="*/ 0 w 226"/>
                  <a:gd name="T5" fmla="*/ 22 h 40"/>
                  <a:gd name="T6" fmla="*/ 19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19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19" y="0"/>
                    </a:moveTo>
                    <a:cubicBezTo>
                      <a:pt x="19" y="0"/>
                      <a:pt x="0" y="0"/>
                      <a:pt x="0" y="18"/>
                    </a:cubicBezTo>
                    <a:cubicBezTo>
                      <a:pt x="0" y="22"/>
                      <a:pt x="0" y="22"/>
                      <a:pt x="0" y="22"/>
                    </a:cubicBezTo>
                    <a:cubicBezTo>
                      <a:pt x="0" y="22"/>
                      <a:pt x="0" y="40"/>
                      <a:pt x="19"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0" name="Freeform 34"/>
              <p:cNvSpPr>
                <a:spLocks/>
              </p:cNvSpPr>
              <p:nvPr/>
            </p:nvSpPr>
            <p:spPr bwMode="auto">
              <a:xfrm>
                <a:off x="10672705" y="1497733"/>
                <a:ext cx="105279" cy="18511"/>
              </a:xfrm>
              <a:custGeom>
                <a:avLst/>
                <a:gdLst>
                  <a:gd name="T0" fmla="*/ 19 w 226"/>
                  <a:gd name="T1" fmla="*/ 0 h 40"/>
                  <a:gd name="T2" fmla="*/ 0 w 226"/>
                  <a:gd name="T3" fmla="*/ 18 h 40"/>
                  <a:gd name="T4" fmla="*/ 0 w 226"/>
                  <a:gd name="T5" fmla="*/ 22 h 40"/>
                  <a:gd name="T6" fmla="*/ 19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19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19" y="0"/>
                    </a:moveTo>
                    <a:cubicBezTo>
                      <a:pt x="19" y="0"/>
                      <a:pt x="0" y="0"/>
                      <a:pt x="0" y="18"/>
                    </a:cubicBezTo>
                    <a:cubicBezTo>
                      <a:pt x="0" y="22"/>
                      <a:pt x="0" y="22"/>
                      <a:pt x="0" y="22"/>
                    </a:cubicBezTo>
                    <a:cubicBezTo>
                      <a:pt x="0" y="22"/>
                      <a:pt x="0" y="40"/>
                      <a:pt x="19"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1" name="Freeform 35"/>
              <p:cNvSpPr>
                <a:spLocks/>
              </p:cNvSpPr>
              <p:nvPr/>
            </p:nvSpPr>
            <p:spPr bwMode="auto">
              <a:xfrm>
                <a:off x="10672705" y="1531283"/>
                <a:ext cx="105279" cy="17354"/>
              </a:xfrm>
              <a:custGeom>
                <a:avLst/>
                <a:gdLst>
                  <a:gd name="T0" fmla="*/ 19 w 226"/>
                  <a:gd name="T1" fmla="*/ 0 h 39"/>
                  <a:gd name="T2" fmla="*/ 0 w 226"/>
                  <a:gd name="T3" fmla="*/ 18 h 39"/>
                  <a:gd name="T4" fmla="*/ 0 w 226"/>
                  <a:gd name="T5" fmla="*/ 21 h 39"/>
                  <a:gd name="T6" fmla="*/ 19 w 226"/>
                  <a:gd name="T7" fmla="*/ 39 h 39"/>
                  <a:gd name="T8" fmla="*/ 207 w 226"/>
                  <a:gd name="T9" fmla="*/ 39 h 39"/>
                  <a:gd name="T10" fmla="*/ 226 w 226"/>
                  <a:gd name="T11" fmla="*/ 21 h 39"/>
                  <a:gd name="T12" fmla="*/ 226 w 226"/>
                  <a:gd name="T13" fmla="*/ 18 h 39"/>
                  <a:gd name="T14" fmla="*/ 207 w 226"/>
                  <a:gd name="T15" fmla="*/ 0 h 39"/>
                  <a:gd name="T16" fmla="*/ 120 w 226"/>
                  <a:gd name="T17" fmla="*/ 0 h 39"/>
                  <a:gd name="T18" fmla="*/ 19 w 226"/>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39">
                    <a:moveTo>
                      <a:pt x="19" y="0"/>
                    </a:moveTo>
                    <a:cubicBezTo>
                      <a:pt x="19" y="0"/>
                      <a:pt x="0" y="0"/>
                      <a:pt x="0" y="18"/>
                    </a:cubicBezTo>
                    <a:cubicBezTo>
                      <a:pt x="0" y="21"/>
                      <a:pt x="0" y="21"/>
                      <a:pt x="0" y="21"/>
                    </a:cubicBezTo>
                    <a:cubicBezTo>
                      <a:pt x="0" y="21"/>
                      <a:pt x="0" y="39"/>
                      <a:pt x="19" y="39"/>
                    </a:cubicBezTo>
                    <a:cubicBezTo>
                      <a:pt x="207" y="39"/>
                      <a:pt x="207" y="39"/>
                      <a:pt x="207" y="39"/>
                    </a:cubicBezTo>
                    <a:cubicBezTo>
                      <a:pt x="207" y="39"/>
                      <a:pt x="226" y="39"/>
                      <a:pt x="226" y="21"/>
                    </a:cubicBezTo>
                    <a:cubicBezTo>
                      <a:pt x="226" y="18"/>
                      <a:pt x="226" y="18"/>
                      <a:pt x="226" y="18"/>
                    </a:cubicBezTo>
                    <a:cubicBezTo>
                      <a:pt x="226" y="18"/>
                      <a:pt x="226" y="0"/>
                      <a:pt x="207" y="0"/>
                    </a:cubicBezTo>
                    <a:cubicBezTo>
                      <a:pt x="120" y="0"/>
                      <a:pt x="120" y="0"/>
                      <a:pt x="120"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2" name="Freeform 36"/>
              <p:cNvSpPr>
                <a:spLocks/>
              </p:cNvSpPr>
              <p:nvPr/>
            </p:nvSpPr>
            <p:spPr bwMode="auto">
              <a:xfrm>
                <a:off x="10672705" y="1563677"/>
                <a:ext cx="105279" cy="17354"/>
              </a:xfrm>
              <a:custGeom>
                <a:avLst/>
                <a:gdLst>
                  <a:gd name="T0" fmla="*/ 19 w 226"/>
                  <a:gd name="T1" fmla="*/ 0 h 39"/>
                  <a:gd name="T2" fmla="*/ 0 w 226"/>
                  <a:gd name="T3" fmla="*/ 18 h 39"/>
                  <a:gd name="T4" fmla="*/ 0 w 226"/>
                  <a:gd name="T5" fmla="*/ 21 h 39"/>
                  <a:gd name="T6" fmla="*/ 19 w 226"/>
                  <a:gd name="T7" fmla="*/ 39 h 39"/>
                  <a:gd name="T8" fmla="*/ 207 w 226"/>
                  <a:gd name="T9" fmla="*/ 39 h 39"/>
                  <a:gd name="T10" fmla="*/ 226 w 226"/>
                  <a:gd name="T11" fmla="*/ 21 h 39"/>
                  <a:gd name="T12" fmla="*/ 226 w 226"/>
                  <a:gd name="T13" fmla="*/ 18 h 39"/>
                  <a:gd name="T14" fmla="*/ 207 w 226"/>
                  <a:gd name="T15" fmla="*/ 0 h 39"/>
                  <a:gd name="T16" fmla="*/ 120 w 226"/>
                  <a:gd name="T17" fmla="*/ 0 h 39"/>
                  <a:gd name="T18" fmla="*/ 19 w 226"/>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39">
                    <a:moveTo>
                      <a:pt x="19" y="0"/>
                    </a:moveTo>
                    <a:cubicBezTo>
                      <a:pt x="19" y="0"/>
                      <a:pt x="0" y="0"/>
                      <a:pt x="0" y="18"/>
                    </a:cubicBezTo>
                    <a:cubicBezTo>
                      <a:pt x="0" y="21"/>
                      <a:pt x="0" y="21"/>
                      <a:pt x="0" y="21"/>
                    </a:cubicBezTo>
                    <a:cubicBezTo>
                      <a:pt x="0" y="21"/>
                      <a:pt x="0" y="39"/>
                      <a:pt x="19" y="39"/>
                    </a:cubicBezTo>
                    <a:cubicBezTo>
                      <a:pt x="207" y="39"/>
                      <a:pt x="207" y="39"/>
                      <a:pt x="207" y="39"/>
                    </a:cubicBezTo>
                    <a:cubicBezTo>
                      <a:pt x="207" y="39"/>
                      <a:pt x="226" y="39"/>
                      <a:pt x="226" y="21"/>
                    </a:cubicBezTo>
                    <a:cubicBezTo>
                      <a:pt x="226" y="18"/>
                      <a:pt x="226" y="18"/>
                      <a:pt x="226" y="18"/>
                    </a:cubicBezTo>
                    <a:cubicBezTo>
                      <a:pt x="226" y="18"/>
                      <a:pt x="226" y="0"/>
                      <a:pt x="207" y="0"/>
                    </a:cubicBezTo>
                    <a:cubicBezTo>
                      <a:pt x="120" y="0"/>
                      <a:pt x="120" y="0"/>
                      <a:pt x="120"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3" name="Freeform 37"/>
              <p:cNvSpPr>
                <a:spLocks/>
              </p:cNvSpPr>
              <p:nvPr/>
            </p:nvSpPr>
            <p:spPr bwMode="auto">
              <a:xfrm>
                <a:off x="10672705" y="1596070"/>
                <a:ext cx="105279" cy="18511"/>
              </a:xfrm>
              <a:custGeom>
                <a:avLst/>
                <a:gdLst>
                  <a:gd name="T0" fmla="*/ 19 w 226"/>
                  <a:gd name="T1" fmla="*/ 0 h 40"/>
                  <a:gd name="T2" fmla="*/ 0 w 226"/>
                  <a:gd name="T3" fmla="*/ 18 h 40"/>
                  <a:gd name="T4" fmla="*/ 0 w 226"/>
                  <a:gd name="T5" fmla="*/ 22 h 40"/>
                  <a:gd name="T6" fmla="*/ 19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19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19" y="0"/>
                    </a:moveTo>
                    <a:cubicBezTo>
                      <a:pt x="19" y="0"/>
                      <a:pt x="0" y="0"/>
                      <a:pt x="0" y="18"/>
                    </a:cubicBezTo>
                    <a:cubicBezTo>
                      <a:pt x="0" y="22"/>
                      <a:pt x="0" y="22"/>
                      <a:pt x="0" y="22"/>
                    </a:cubicBezTo>
                    <a:cubicBezTo>
                      <a:pt x="0" y="22"/>
                      <a:pt x="0" y="40"/>
                      <a:pt x="19"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4" name="Freeform 38"/>
              <p:cNvSpPr>
                <a:spLocks/>
              </p:cNvSpPr>
              <p:nvPr/>
            </p:nvSpPr>
            <p:spPr bwMode="auto">
              <a:xfrm>
                <a:off x="10672705" y="1628464"/>
                <a:ext cx="105279" cy="18511"/>
              </a:xfrm>
              <a:custGeom>
                <a:avLst/>
                <a:gdLst>
                  <a:gd name="T0" fmla="*/ 19 w 226"/>
                  <a:gd name="T1" fmla="*/ 0 h 40"/>
                  <a:gd name="T2" fmla="*/ 0 w 226"/>
                  <a:gd name="T3" fmla="*/ 18 h 40"/>
                  <a:gd name="T4" fmla="*/ 0 w 226"/>
                  <a:gd name="T5" fmla="*/ 22 h 40"/>
                  <a:gd name="T6" fmla="*/ 19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19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19" y="0"/>
                    </a:moveTo>
                    <a:cubicBezTo>
                      <a:pt x="19" y="0"/>
                      <a:pt x="0" y="0"/>
                      <a:pt x="0" y="18"/>
                    </a:cubicBezTo>
                    <a:cubicBezTo>
                      <a:pt x="0" y="22"/>
                      <a:pt x="0" y="22"/>
                      <a:pt x="0" y="22"/>
                    </a:cubicBezTo>
                    <a:cubicBezTo>
                      <a:pt x="0" y="22"/>
                      <a:pt x="0" y="40"/>
                      <a:pt x="19"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5" name="Freeform 39"/>
              <p:cNvSpPr>
                <a:spLocks/>
              </p:cNvSpPr>
              <p:nvPr/>
            </p:nvSpPr>
            <p:spPr bwMode="auto">
              <a:xfrm>
                <a:off x="10672705" y="1660858"/>
                <a:ext cx="105279" cy="18511"/>
              </a:xfrm>
              <a:custGeom>
                <a:avLst/>
                <a:gdLst>
                  <a:gd name="T0" fmla="*/ 19 w 226"/>
                  <a:gd name="T1" fmla="*/ 0 h 40"/>
                  <a:gd name="T2" fmla="*/ 0 w 226"/>
                  <a:gd name="T3" fmla="*/ 18 h 40"/>
                  <a:gd name="T4" fmla="*/ 0 w 226"/>
                  <a:gd name="T5" fmla="*/ 22 h 40"/>
                  <a:gd name="T6" fmla="*/ 19 w 226"/>
                  <a:gd name="T7" fmla="*/ 40 h 40"/>
                  <a:gd name="T8" fmla="*/ 207 w 226"/>
                  <a:gd name="T9" fmla="*/ 40 h 40"/>
                  <a:gd name="T10" fmla="*/ 226 w 226"/>
                  <a:gd name="T11" fmla="*/ 22 h 40"/>
                  <a:gd name="T12" fmla="*/ 226 w 226"/>
                  <a:gd name="T13" fmla="*/ 18 h 40"/>
                  <a:gd name="T14" fmla="*/ 207 w 226"/>
                  <a:gd name="T15" fmla="*/ 0 h 40"/>
                  <a:gd name="T16" fmla="*/ 120 w 226"/>
                  <a:gd name="T17" fmla="*/ 0 h 40"/>
                  <a:gd name="T18" fmla="*/ 19 w 22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40">
                    <a:moveTo>
                      <a:pt x="19" y="0"/>
                    </a:moveTo>
                    <a:cubicBezTo>
                      <a:pt x="19" y="0"/>
                      <a:pt x="0" y="0"/>
                      <a:pt x="0" y="18"/>
                    </a:cubicBezTo>
                    <a:cubicBezTo>
                      <a:pt x="0" y="22"/>
                      <a:pt x="0" y="22"/>
                      <a:pt x="0" y="22"/>
                    </a:cubicBezTo>
                    <a:cubicBezTo>
                      <a:pt x="0" y="22"/>
                      <a:pt x="0" y="40"/>
                      <a:pt x="19" y="40"/>
                    </a:cubicBezTo>
                    <a:cubicBezTo>
                      <a:pt x="207" y="40"/>
                      <a:pt x="207" y="40"/>
                      <a:pt x="207" y="40"/>
                    </a:cubicBezTo>
                    <a:cubicBezTo>
                      <a:pt x="207" y="40"/>
                      <a:pt x="226" y="40"/>
                      <a:pt x="226" y="22"/>
                    </a:cubicBezTo>
                    <a:cubicBezTo>
                      <a:pt x="226" y="18"/>
                      <a:pt x="226" y="18"/>
                      <a:pt x="226" y="18"/>
                    </a:cubicBezTo>
                    <a:cubicBezTo>
                      <a:pt x="226" y="18"/>
                      <a:pt x="226" y="0"/>
                      <a:pt x="207" y="0"/>
                    </a:cubicBezTo>
                    <a:cubicBezTo>
                      <a:pt x="120" y="0"/>
                      <a:pt x="120" y="0"/>
                      <a:pt x="120"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6" name="Oval 40"/>
              <p:cNvSpPr>
                <a:spLocks noChangeArrowheads="1"/>
              </p:cNvSpPr>
              <p:nvPr/>
            </p:nvSpPr>
            <p:spPr bwMode="auto">
              <a:xfrm>
                <a:off x="10758317" y="1436416"/>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7" name="Oval 41"/>
              <p:cNvSpPr>
                <a:spLocks noChangeArrowheads="1"/>
              </p:cNvSpPr>
              <p:nvPr/>
            </p:nvSpPr>
            <p:spPr bwMode="auto">
              <a:xfrm>
                <a:off x="10758317" y="1469967"/>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8" name="Oval 42"/>
              <p:cNvSpPr>
                <a:spLocks noChangeArrowheads="1"/>
              </p:cNvSpPr>
              <p:nvPr/>
            </p:nvSpPr>
            <p:spPr bwMode="auto">
              <a:xfrm>
                <a:off x="10758317" y="1502361"/>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9" name="Oval 43"/>
              <p:cNvSpPr>
                <a:spLocks noChangeArrowheads="1"/>
              </p:cNvSpPr>
              <p:nvPr/>
            </p:nvSpPr>
            <p:spPr bwMode="auto">
              <a:xfrm>
                <a:off x="10758317" y="1534754"/>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0" name="Oval 44"/>
              <p:cNvSpPr>
                <a:spLocks noChangeArrowheads="1"/>
              </p:cNvSpPr>
              <p:nvPr/>
            </p:nvSpPr>
            <p:spPr bwMode="auto">
              <a:xfrm>
                <a:off x="10758317" y="1567148"/>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1" name="Oval 45"/>
              <p:cNvSpPr>
                <a:spLocks noChangeArrowheads="1"/>
              </p:cNvSpPr>
              <p:nvPr/>
            </p:nvSpPr>
            <p:spPr bwMode="auto">
              <a:xfrm>
                <a:off x="10758317" y="1599541"/>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2" name="Oval 46"/>
              <p:cNvSpPr>
                <a:spLocks noChangeArrowheads="1"/>
              </p:cNvSpPr>
              <p:nvPr/>
            </p:nvSpPr>
            <p:spPr bwMode="auto">
              <a:xfrm>
                <a:off x="10758317" y="1631935"/>
                <a:ext cx="10413" cy="10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3" name="Oval 47"/>
              <p:cNvSpPr>
                <a:spLocks noChangeArrowheads="1"/>
              </p:cNvSpPr>
              <p:nvPr/>
            </p:nvSpPr>
            <p:spPr bwMode="auto">
              <a:xfrm>
                <a:off x="10758317" y="1665485"/>
                <a:ext cx="10413" cy="925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4" name="Freeform 48"/>
              <p:cNvSpPr>
                <a:spLocks/>
              </p:cNvSpPr>
              <p:nvPr/>
            </p:nvSpPr>
            <p:spPr bwMode="auto">
              <a:xfrm>
                <a:off x="10202999" y="2081974"/>
                <a:ext cx="488217" cy="244109"/>
              </a:xfrm>
              <a:custGeom>
                <a:avLst/>
                <a:gdLst>
                  <a:gd name="T0" fmla="*/ 34 w 1056"/>
                  <a:gd name="T1" fmla="*/ 527 h 527"/>
                  <a:gd name="T2" fmla="*/ 0 w 1056"/>
                  <a:gd name="T3" fmla="*/ 409 h 527"/>
                  <a:gd name="T4" fmla="*/ 218 w 1056"/>
                  <a:gd name="T5" fmla="*/ 191 h 527"/>
                  <a:gd name="T6" fmla="*/ 280 w 1056"/>
                  <a:gd name="T7" fmla="*/ 199 h 527"/>
                  <a:gd name="T8" fmla="*/ 576 w 1056"/>
                  <a:gd name="T9" fmla="*/ 0 h 527"/>
                  <a:gd name="T10" fmla="*/ 895 w 1056"/>
                  <a:gd name="T11" fmla="*/ 301 h 527"/>
                  <a:gd name="T12" fmla="*/ 1056 w 1056"/>
                  <a:gd name="T13" fmla="*/ 467 h 527"/>
                  <a:gd name="T14" fmla="*/ 1045 w 1056"/>
                  <a:gd name="T15" fmla="*/ 527 h 527"/>
                  <a:gd name="T16" fmla="*/ 34 w 1056"/>
                  <a:gd name="T17" fmla="*/ 527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6" h="527">
                    <a:moveTo>
                      <a:pt x="34" y="527"/>
                    </a:moveTo>
                    <a:cubicBezTo>
                      <a:pt x="12" y="493"/>
                      <a:pt x="0" y="452"/>
                      <a:pt x="0" y="409"/>
                    </a:cubicBezTo>
                    <a:cubicBezTo>
                      <a:pt x="0" y="288"/>
                      <a:pt x="98" y="191"/>
                      <a:pt x="218" y="191"/>
                    </a:cubicBezTo>
                    <a:cubicBezTo>
                      <a:pt x="240" y="191"/>
                      <a:pt x="260" y="194"/>
                      <a:pt x="280" y="199"/>
                    </a:cubicBezTo>
                    <a:cubicBezTo>
                      <a:pt x="327" y="83"/>
                      <a:pt x="442" y="0"/>
                      <a:pt x="576" y="0"/>
                    </a:cubicBezTo>
                    <a:cubicBezTo>
                      <a:pt x="746" y="0"/>
                      <a:pt x="885" y="133"/>
                      <a:pt x="895" y="301"/>
                    </a:cubicBezTo>
                    <a:cubicBezTo>
                      <a:pt x="984" y="303"/>
                      <a:pt x="1056" y="377"/>
                      <a:pt x="1056" y="467"/>
                    </a:cubicBezTo>
                    <a:cubicBezTo>
                      <a:pt x="1056" y="488"/>
                      <a:pt x="1052" y="508"/>
                      <a:pt x="1045" y="527"/>
                    </a:cubicBezTo>
                    <a:lnTo>
                      <a:pt x="34" y="527"/>
                    </a:ln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5" name="Freeform 49"/>
              <p:cNvSpPr>
                <a:spLocks/>
              </p:cNvSpPr>
              <p:nvPr/>
            </p:nvSpPr>
            <p:spPr bwMode="auto">
              <a:xfrm>
                <a:off x="10823104" y="2059993"/>
                <a:ext cx="119162" cy="101808"/>
              </a:xfrm>
              <a:custGeom>
                <a:avLst/>
                <a:gdLst>
                  <a:gd name="T0" fmla="*/ 82 w 103"/>
                  <a:gd name="T1" fmla="*/ 88 h 88"/>
                  <a:gd name="T2" fmla="*/ 103 w 103"/>
                  <a:gd name="T3" fmla="*/ 59 h 88"/>
                  <a:gd name="T4" fmla="*/ 21 w 103"/>
                  <a:gd name="T5" fmla="*/ 0 h 88"/>
                  <a:gd name="T6" fmla="*/ 0 w 103"/>
                  <a:gd name="T7" fmla="*/ 29 h 88"/>
                  <a:gd name="T8" fmla="*/ 82 w 103"/>
                  <a:gd name="T9" fmla="*/ 88 h 88"/>
                </a:gdLst>
                <a:ahLst/>
                <a:cxnLst>
                  <a:cxn ang="0">
                    <a:pos x="T0" y="T1"/>
                  </a:cxn>
                  <a:cxn ang="0">
                    <a:pos x="T2" y="T3"/>
                  </a:cxn>
                  <a:cxn ang="0">
                    <a:pos x="T4" y="T5"/>
                  </a:cxn>
                  <a:cxn ang="0">
                    <a:pos x="T6" y="T7"/>
                  </a:cxn>
                  <a:cxn ang="0">
                    <a:pos x="T8" y="T9"/>
                  </a:cxn>
                </a:cxnLst>
                <a:rect l="0" t="0" r="r" b="b"/>
                <a:pathLst>
                  <a:path w="103" h="88">
                    <a:moveTo>
                      <a:pt x="82" y="88"/>
                    </a:moveTo>
                    <a:lnTo>
                      <a:pt x="103" y="59"/>
                    </a:lnTo>
                    <a:lnTo>
                      <a:pt x="21" y="0"/>
                    </a:lnTo>
                    <a:lnTo>
                      <a:pt x="0" y="29"/>
                    </a:lnTo>
                    <a:lnTo>
                      <a:pt x="82" y="8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6" name="Freeform 50"/>
              <p:cNvSpPr>
                <a:spLocks/>
              </p:cNvSpPr>
              <p:nvPr/>
            </p:nvSpPr>
            <p:spPr bwMode="auto">
              <a:xfrm>
                <a:off x="10375379" y="1376257"/>
                <a:ext cx="233696" cy="166595"/>
              </a:xfrm>
              <a:custGeom>
                <a:avLst/>
                <a:gdLst>
                  <a:gd name="T0" fmla="*/ 377 w 504"/>
                  <a:gd name="T1" fmla="*/ 24 h 359"/>
                  <a:gd name="T2" fmla="*/ 187 w 504"/>
                  <a:gd name="T3" fmla="*/ 126 h 359"/>
                  <a:gd name="T4" fmla="*/ 193 w 504"/>
                  <a:gd name="T5" fmla="*/ 227 h 359"/>
                  <a:gd name="T6" fmla="*/ 107 w 504"/>
                  <a:gd name="T7" fmla="*/ 270 h 359"/>
                  <a:gd name="T8" fmla="*/ 17 w 504"/>
                  <a:gd name="T9" fmla="*/ 315 h 359"/>
                  <a:gd name="T10" fmla="*/ 8 w 504"/>
                  <a:gd name="T11" fmla="*/ 340 h 359"/>
                  <a:gd name="T12" fmla="*/ 9 w 504"/>
                  <a:gd name="T13" fmla="*/ 343 h 359"/>
                  <a:gd name="T14" fmla="*/ 35 w 504"/>
                  <a:gd name="T15" fmla="*/ 350 h 359"/>
                  <a:gd name="T16" fmla="*/ 212 w 504"/>
                  <a:gd name="T17" fmla="*/ 262 h 359"/>
                  <a:gd name="T18" fmla="*/ 290 w 504"/>
                  <a:gd name="T19" fmla="*/ 316 h 359"/>
                  <a:gd name="T20" fmla="*/ 480 w 504"/>
                  <a:gd name="T21" fmla="*/ 213 h 359"/>
                  <a:gd name="T22" fmla="*/ 377 w 504"/>
                  <a:gd name="T23" fmla="*/ 24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4" h="359">
                    <a:moveTo>
                      <a:pt x="377" y="24"/>
                    </a:moveTo>
                    <a:cubicBezTo>
                      <a:pt x="296" y="0"/>
                      <a:pt x="211" y="46"/>
                      <a:pt x="187" y="126"/>
                    </a:cubicBezTo>
                    <a:cubicBezTo>
                      <a:pt x="177" y="161"/>
                      <a:pt x="180" y="196"/>
                      <a:pt x="193" y="227"/>
                    </a:cubicBezTo>
                    <a:cubicBezTo>
                      <a:pt x="107" y="270"/>
                      <a:pt x="107" y="270"/>
                      <a:pt x="107" y="270"/>
                    </a:cubicBezTo>
                    <a:cubicBezTo>
                      <a:pt x="17" y="315"/>
                      <a:pt x="17" y="315"/>
                      <a:pt x="17" y="315"/>
                    </a:cubicBezTo>
                    <a:cubicBezTo>
                      <a:pt x="17" y="315"/>
                      <a:pt x="0" y="323"/>
                      <a:pt x="8" y="340"/>
                    </a:cubicBezTo>
                    <a:cubicBezTo>
                      <a:pt x="9" y="343"/>
                      <a:pt x="9" y="343"/>
                      <a:pt x="9" y="343"/>
                    </a:cubicBezTo>
                    <a:cubicBezTo>
                      <a:pt x="9" y="343"/>
                      <a:pt x="17" y="359"/>
                      <a:pt x="35" y="350"/>
                    </a:cubicBezTo>
                    <a:cubicBezTo>
                      <a:pt x="212" y="262"/>
                      <a:pt x="212" y="262"/>
                      <a:pt x="212" y="262"/>
                    </a:cubicBezTo>
                    <a:cubicBezTo>
                      <a:pt x="231" y="287"/>
                      <a:pt x="258" y="306"/>
                      <a:pt x="290" y="316"/>
                    </a:cubicBezTo>
                    <a:cubicBezTo>
                      <a:pt x="371" y="340"/>
                      <a:pt x="456" y="294"/>
                      <a:pt x="480" y="213"/>
                    </a:cubicBezTo>
                    <a:cubicBezTo>
                      <a:pt x="504" y="132"/>
                      <a:pt x="458" y="47"/>
                      <a:pt x="377" y="24"/>
                    </a:cubicBezTo>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7" name="Freeform 51"/>
              <p:cNvSpPr>
                <a:spLocks/>
              </p:cNvSpPr>
              <p:nvPr/>
            </p:nvSpPr>
            <p:spPr bwMode="auto">
              <a:xfrm>
                <a:off x="10463304" y="1387826"/>
                <a:ext cx="133045" cy="134202"/>
              </a:xfrm>
              <a:custGeom>
                <a:avLst/>
                <a:gdLst>
                  <a:gd name="T0" fmla="*/ 107 w 288"/>
                  <a:gd name="T1" fmla="*/ 267 h 288"/>
                  <a:gd name="T2" fmla="*/ 267 w 288"/>
                  <a:gd name="T3" fmla="*/ 180 h 288"/>
                  <a:gd name="T4" fmla="*/ 180 w 288"/>
                  <a:gd name="T5" fmla="*/ 20 h 288"/>
                  <a:gd name="T6" fmla="*/ 20 w 288"/>
                  <a:gd name="T7" fmla="*/ 107 h 288"/>
                  <a:gd name="T8" fmla="*/ 107 w 288"/>
                  <a:gd name="T9" fmla="*/ 267 h 288"/>
                </a:gdLst>
                <a:ahLst/>
                <a:cxnLst>
                  <a:cxn ang="0">
                    <a:pos x="T0" y="T1"/>
                  </a:cxn>
                  <a:cxn ang="0">
                    <a:pos x="T2" y="T3"/>
                  </a:cxn>
                  <a:cxn ang="0">
                    <a:pos x="T4" y="T5"/>
                  </a:cxn>
                  <a:cxn ang="0">
                    <a:pos x="T6" y="T7"/>
                  </a:cxn>
                  <a:cxn ang="0">
                    <a:pos x="T8" y="T9"/>
                  </a:cxn>
                </a:cxnLst>
                <a:rect l="0" t="0" r="r" b="b"/>
                <a:pathLst>
                  <a:path w="288" h="288">
                    <a:moveTo>
                      <a:pt x="107" y="267"/>
                    </a:moveTo>
                    <a:cubicBezTo>
                      <a:pt x="175" y="288"/>
                      <a:pt x="247" y="249"/>
                      <a:pt x="267" y="180"/>
                    </a:cubicBezTo>
                    <a:cubicBezTo>
                      <a:pt x="288" y="112"/>
                      <a:pt x="249" y="40"/>
                      <a:pt x="180" y="20"/>
                    </a:cubicBezTo>
                    <a:cubicBezTo>
                      <a:pt x="112" y="0"/>
                      <a:pt x="40" y="39"/>
                      <a:pt x="20" y="107"/>
                    </a:cubicBezTo>
                    <a:cubicBezTo>
                      <a:pt x="0" y="175"/>
                      <a:pt x="39" y="247"/>
                      <a:pt x="107" y="267"/>
                    </a:cubicBezTo>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8" name="Freeform 52"/>
              <p:cNvSpPr>
                <a:spLocks noEditPoints="1"/>
              </p:cNvSpPr>
              <p:nvPr/>
            </p:nvSpPr>
            <p:spPr bwMode="auto">
              <a:xfrm>
                <a:off x="10398517" y="1387826"/>
                <a:ext cx="262620" cy="134202"/>
              </a:xfrm>
              <a:custGeom>
                <a:avLst/>
                <a:gdLst>
                  <a:gd name="T0" fmla="*/ 27 w 567"/>
                  <a:gd name="T1" fmla="*/ 0 h 288"/>
                  <a:gd name="T2" fmla="*/ 0 w 567"/>
                  <a:gd name="T3" fmla="*/ 66 h 288"/>
                  <a:gd name="T4" fmla="*/ 36 w 567"/>
                  <a:gd name="T5" fmla="*/ 152 h 288"/>
                  <a:gd name="T6" fmla="*/ 18 w 567"/>
                  <a:gd name="T7" fmla="*/ 117 h 288"/>
                  <a:gd name="T8" fmla="*/ 36 w 567"/>
                  <a:gd name="T9" fmla="*/ 279 h 288"/>
                  <a:gd name="T10" fmla="*/ 36 w 567"/>
                  <a:gd name="T11" fmla="*/ 217 h 288"/>
                  <a:gd name="T12" fmla="*/ 101 w 567"/>
                  <a:gd name="T13" fmla="*/ 61 h 288"/>
                  <a:gd name="T14" fmla="*/ 101 w 567"/>
                  <a:gd name="T15" fmla="*/ 0 h 288"/>
                  <a:gd name="T16" fmla="*/ 110 w 567"/>
                  <a:gd name="T17" fmla="*/ 174 h 288"/>
                  <a:gd name="T18" fmla="*/ 70 w 567"/>
                  <a:gd name="T19" fmla="*/ 108 h 288"/>
                  <a:gd name="T20" fmla="*/ 70 w 567"/>
                  <a:gd name="T21" fmla="*/ 179 h 288"/>
                  <a:gd name="T22" fmla="*/ 101 w 567"/>
                  <a:gd name="T23" fmla="*/ 279 h 288"/>
                  <a:gd name="T24" fmla="*/ 83 w 567"/>
                  <a:gd name="T25" fmla="*/ 279 h 288"/>
                  <a:gd name="T26" fmla="*/ 140 w 567"/>
                  <a:gd name="T27" fmla="*/ 61 h 288"/>
                  <a:gd name="T28" fmla="*/ 140 w 567"/>
                  <a:gd name="T29" fmla="*/ 0 h 288"/>
                  <a:gd name="T30" fmla="*/ 175 w 567"/>
                  <a:gd name="T31" fmla="*/ 152 h 288"/>
                  <a:gd name="T32" fmla="*/ 131 w 567"/>
                  <a:gd name="T33" fmla="*/ 113 h 288"/>
                  <a:gd name="T34" fmla="*/ 171 w 567"/>
                  <a:gd name="T35" fmla="*/ 179 h 288"/>
                  <a:gd name="T36" fmla="*/ 175 w 567"/>
                  <a:gd name="T37" fmla="*/ 279 h 288"/>
                  <a:gd name="T38" fmla="*/ 166 w 567"/>
                  <a:gd name="T39" fmla="*/ 288 h 288"/>
                  <a:gd name="T40" fmla="*/ 223 w 567"/>
                  <a:gd name="T41" fmla="*/ 61 h 288"/>
                  <a:gd name="T42" fmla="*/ 200 w 567"/>
                  <a:gd name="T43" fmla="*/ 61 h 288"/>
                  <a:gd name="T44" fmla="*/ 205 w 567"/>
                  <a:gd name="T45" fmla="*/ 117 h 288"/>
                  <a:gd name="T46" fmla="*/ 196 w 567"/>
                  <a:gd name="T47" fmla="*/ 117 h 288"/>
                  <a:gd name="T48" fmla="*/ 205 w 567"/>
                  <a:gd name="T49" fmla="*/ 226 h 288"/>
                  <a:gd name="T50" fmla="*/ 196 w 567"/>
                  <a:gd name="T51" fmla="*/ 226 h 288"/>
                  <a:gd name="T52" fmla="*/ 270 w 567"/>
                  <a:gd name="T53" fmla="*/ 9 h 288"/>
                  <a:gd name="T54" fmla="*/ 261 w 567"/>
                  <a:gd name="T55" fmla="*/ 9 h 288"/>
                  <a:gd name="T56" fmla="*/ 301 w 567"/>
                  <a:gd name="T57" fmla="*/ 147 h 288"/>
                  <a:gd name="T58" fmla="*/ 266 w 567"/>
                  <a:gd name="T59" fmla="*/ 117 h 288"/>
                  <a:gd name="T60" fmla="*/ 306 w 567"/>
                  <a:gd name="T61" fmla="*/ 174 h 288"/>
                  <a:gd name="T62" fmla="*/ 306 w 567"/>
                  <a:gd name="T63" fmla="*/ 226 h 288"/>
                  <a:gd name="T64" fmla="*/ 306 w 567"/>
                  <a:gd name="T65" fmla="*/ 279 h 288"/>
                  <a:gd name="T66" fmla="*/ 353 w 567"/>
                  <a:gd name="T67" fmla="*/ 0 h 288"/>
                  <a:gd name="T68" fmla="*/ 326 w 567"/>
                  <a:gd name="T69" fmla="*/ 66 h 288"/>
                  <a:gd name="T70" fmla="*/ 362 w 567"/>
                  <a:gd name="T71" fmla="*/ 117 h 288"/>
                  <a:gd name="T72" fmla="*/ 326 w 567"/>
                  <a:gd name="T73" fmla="*/ 170 h 288"/>
                  <a:gd name="T74" fmla="*/ 362 w 567"/>
                  <a:gd name="T75" fmla="*/ 260 h 288"/>
                  <a:gd name="T76" fmla="*/ 344 w 567"/>
                  <a:gd name="T77" fmla="*/ 226 h 288"/>
                  <a:gd name="T78" fmla="*/ 427 w 567"/>
                  <a:gd name="T79" fmla="*/ 61 h 288"/>
                  <a:gd name="T80" fmla="*/ 427 w 567"/>
                  <a:gd name="T81" fmla="*/ 0 h 288"/>
                  <a:gd name="T82" fmla="*/ 427 w 567"/>
                  <a:gd name="T83" fmla="*/ 170 h 288"/>
                  <a:gd name="T84" fmla="*/ 427 w 567"/>
                  <a:gd name="T85" fmla="*/ 108 h 288"/>
                  <a:gd name="T86" fmla="*/ 436 w 567"/>
                  <a:gd name="T87" fmla="*/ 283 h 288"/>
                  <a:gd name="T88" fmla="*/ 396 w 567"/>
                  <a:gd name="T89" fmla="*/ 217 h 288"/>
                  <a:gd name="T90" fmla="*/ 396 w 567"/>
                  <a:gd name="T91" fmla="*/ 288 h 288"/>
                  <a:gd name="T92" fmla="*/ 493 w 567"/>
                  <a:gd name="T93" fmla="*/ 61 h 288"/>
                  <a:gd name="T94" fmla="*/ 475 w 567"/>
                  <a:gd name="T95" fmla="*/ 61 h 288"/>
                  <a:gd name="T96" fmla="*/ 502 w 567"/>
                  <a:gd name="T97" fmla="*/ 152 h 288"/>
                  <a:gd name="T98" fmla="*/ 457 w 567"/>
                  <a:gd name="T99" fmla="*/ 113 h 288"/>
                  <a:gd name="T100" fmla="*/ 497 w 567"/>
                  <a:gd name="T101" fmla="*/ 179 h 288"/>
                  <a:gd name="T102" fmla="*/ 502 w 567"/>
                  <a:gd name="T103" fmla="*/ 279 h 288"/>
                  <a:gd name="T104" fmla="*/ 493 w 567"/>
                  <a:gd name="T105" fmla="*/ 288 h 288"/>
                  <a:gd name="T106" fmla="*/ 549 w 567"/>
                  <a:gd name="T107" fmla="*/ 61 h 288"/>
                  <a:gd name="T108" fmla="*/ 527 w 567"/>
                  <a:gd name="T109" fmla="*/ 61 h 288"/>
                  <a:gd name="T110" fmla="*/ 531 w 567"/>
                  <a:gd name="T111" fmla="*/ 117 h 288"/>
                  <a:gd name="T112" fmla="*/ 522 w 567"/>
                  <a:gd name="T113" fmla="*/ 117 h 288"/>
                  <a:gd name="T114" fmla="*/ 562 w 567"/>
                  <a:gd name="T115" fmla="*/ 256 h 288"/>
                  <a:gd name="T116" fmla="*/ 527 w 567"/>
                  <a:gd name="T117" fmla="*/ 226 h 288"/>
                  <a:gd name="T118" fmla="*/ 567 w 567"/>
                  <a:gd name="T119" fmla="*/ 283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7" h="288">
                    <a:moveTo>
                      <a:pt x="45" y="66"/>
                    </a:moveTo>
                    <a:cubicBezTo>
                      <a:pt x="45" y="43"/>
                      <a:pt x="45" y="43"/>
                      <a:pt x="45" y="43"/>
                    </a:cubicBezTo>
                    <a:cubicBezTo>
                      <a:pt x="45" y="40"/>
                      <a:pt x="44" y="38"/>
                      <a:pt x="40" y="38"/>
                    </a:cubicBezTo>
                    <a:cubicBezTo>
                      <a:pt x="37" y="38"/>
                      <a:pt x="36" y="40"/>
                      <a:pt x="36" y="43"/>
                    </a:cubicBezTo>
                    <a:cubicBezTo>
                      <a:pt x="36" y="61"/>
                      <a:pt x="36" y="61"/>
                      <a:pt x="36" y="61"/>
                    </a:cubicBezTo>
                    <a:cubicBezTo>
                      <a:pt x="27" y="61"/>
                      <a:pt x="27" y="61"/>
                      <a:pt x="27" y="61"/>
                    </a:cubicBezTo>
                    <a:cubicBezTo>
                      <a:pt x="27" y="0"/>
                      <a:pt x="27" y="0"/>
                      <a:pt x="27" y="0"/>
                    </a:cubicBezTo>
                    <a:cubicBezTo>
                      <a:pt x="5" y="0"/>
                      <a:pt x="5" y="0"/>
                      <a:pt x="5" y="0"/>
                    </a:cubicBezTo>
                    <a:cubicBezTo>
                      <a:pt x="2" y="0"/>
                      <a:pt x="0" y="1"/>
                      <a:pt x="0" y="4"/>
                    </a:cubicBezTo>
                    <a:cubicBezTo>
                      <a:pt x="0" y="7"/>
                      <a:pt x="2" y="9"/>
                      <a:pt x="5" y="9"/>
                    </a:cubicBezTo>
                    <a:cubicBezTo>
                      <a:pt x="18" y="9"/>
                      <a:pt x="18" y="9"/>
                      <a:pt x="18" y="9"/>
                    </a:cubicBezTo>
                    <a:cubicBezTo>
                      <a:pt x="18" y="61"/>
                      <a:pt x="18" y="61"/>
                      <a:pt x="18" y="61"/>
                    </a:cubicBezTo>
                    <a:cubicBezTo>
                      <a:pt x="5" y="61"/>
                      <a:pt x="5" y="61"/>
                      <a:pt x="5" y="61"/>
                    </a:cubicBezTo>
                    <a:cubicBezTo>
                      <a:pt x="2" y="61"/>
                      <a:pt x="0" y="62"/>
                      <a:pt x="0" y="66"/>
                    </a:cubicBezTo>
                    <a:cubicBezTo>
                      <a:pt x="0" y="69"/>
                      <a:pt x="2" y="70"/>
                      <a:pt x="5" y="70"/>
                    </a:cubicBezTo>
                    <a:cubicBezTo>
                      <a:pt x="40" y="70"/>
                      <a:pt x="40" y="70"/>
                      <a:pt x="40" y="70"/>
                    </a:cubicBezTo>
                    <a:cubicBezTo>
                      <a:pt x="43" y="70"/>
                      <a:pt x="45" y="69"/>
                      <a:pt x="45" y="66"/>
                    </a:cubicBezTo>
                    <a:moveTo>
                      <a:pt x="45" y="174"/>
                    </a:moveTo>
                    <a:cubicBezTo>
                      <a:pt x="45" y="152"/>
                      <a:pt x="45" y="152"/>
                      <a:pt x="45" y="152"/>
                    </a:cubicBezTo>
                    <a:cubicBezTo>
                      <a:pt x="45" y="149"/>
                      <a:pt x="44" y="147"/>
                      <a:pt x="40" y="147"/>
                    </a:cubicBezTo>
                    <a:cubicBezTo>
                      <a:pt x="37" y="147"/>
                      <a:pt x="36" y="149"/>
                      <a:pt x="36" y="152"/>
                    </a:cubicBezTo>
                    <a:cubicBezTo>
                      <a:pt x="36" y="170"/>
                      <a:pt x="36" y="170"/>
                      <a:pt x="36" y="170"/>
                    </a:cubicBezTo>
                    <a:cubicBezTo>
                      <a:pt x="27" y="170"/>
                      <a:pt x="27" y="170"/>
                      <a:pt x="27" y="170"/>
                    </a:cubicBezTo>
                    <a:cubicBezTo>
                      <a:pt x="27" y="108"/>
                      <a:pt x="27" y="108"/>
                      <a:pt x="27" y="108"/>
                    </a:cubicBezTo>
                    <a:cubicBezTo>
                      <a:pt x="5" y="108"/>
                      <a:pt x="5" y="108"/>
                      <a:pt x="5" y="108"/>
                    </a:cubicBezTo>
                    <a:cubicBezTo>
                      <a:pt x="2" y="108"/>
                      <a:pt x="0" y="110"/>
                      <a:pt x="0" y="113"/>
                    </a:cubicBezTo>
                    <a:cubicBezTo>
                      <a:pt x="0" y="116"/>
                      <a:pt x="2" y="117"/>
                      <a:pt x="5" y="117"/>
                    </a:cubicBezTo>
                    <a:cubicBezTo>
                      <a:pt x="18" y="117"/>
                      <a:pt x="18" y="117"/>
                      <a:pt x="18" y="117"/>
                    </a:cubicBezTo>
                    <a:cubicBezTo>
                      <a:pt x="18" y="170"/>
                      <a:pt x="18" y="170"/>
                      <a:pt x="18" y="170"/>
                    </a:cubicBezTo>
                    <a:cubicBezTo>
                      <a:pt x="5" y="170"/>
                      <a:pt x="5" y="170"/>
                      <a:pt x="5" y="170"/>
                    </a:cubicBezTo>
                    <a:cubicBezTo>
                      <a:pt x="2" y="170"/>
                      <a:pt x="0" y="171"/>
                      <a:pt x="0" y="174"/>
                    </a:cubicBezTo>
                    <a:cubicBezTo>
                      <a:pt x="0" y="178"/>
                      <a:pt x="2" y="179"/>
                      <a:pt x="5" y="179"/>
                    </a:cubicBezTo>
                    <a:cubicBezTo>
                      <a:pt x="40" y="179"/>
                      <a:pt x="40" y="179"/>
                      <a:pt x="40" y="179"/>
                    </a:cubicBezTo>
                    <a:cubicBezTo>
                      <a:pt x="43" y="179"/>
                      <a:pt x="45" y="178"/>
                      <a:pt x="45" y="174"/>
                    </a:cubicBezTo>
                    <a:moveTo>
                      <a:pt x="36" y="279"/>
                    </a:moveTo>
                    <a:cubicBezTo>
                      <a:pt x="9" y="279"/>
                      <a:pt x="9" y="279"/>
                      <a:pt x="9" y="279"/>
                    </a:cubicBezTo>
                    <a:cubicBezTo>
                      <a:pt x="9" y="226"/>
                      <a:pt x="9" y="226"/>
                      <a:pt x="9" y="226"/>
                    </a:cubicBezTo>
                    <a:cubicBezTo>
                      <a:pt x="36" y="226"/>
                      <a:pt x="36" y="226"/>
                      <a:pt x="36" y="226"/>
                    </a:cubicBezTo>
                    <a:lnTo>
                      <a:pt x="36" y="279"/>
                    </a:lnTo>
                    <a:close/>
                    <a:moveTo>
                      <a:pt x="45" y="279"/>
                    </a:moveTo>
                    <a:cubicBezTo>
                      <a:pt x="45" y="226"/>
                      <a:pt x="45" y="226"/>
                      <a:pt x="45" y="226"/>
                    </a:cubicBezTo>
                    <a:cubicBezTo>
                      <a:pt x="45" y="221"/>
                      <a:pt x="41" y="217"/>
                      <a:pt x="36" y="217"/>
                    </a:cubicBezTo>
                    <a:cubicBezTo>
                      <a:pt x="9" y="217"/>
                      <a:pt x="9" y="217"/>
                      <a:pt x="9" y="217"/>
                    </a:cubicBezTo>
                    <a:cubicBezTo>
                      <a:pt x="4" y="217"/>
                      <a:pt x="0" y="221"/>
                      <a:pt x="0" y="226"/>
                    </a:cubicBezTo>
                    <a:cubicBezTo>
                      <a:pt x="0" y="279"/>
                      <a:pt x="0" y="279"/>
                      <a:pt x="0" y="279"/>
                    </a:cubicBezTo>
                    <a:cubicBezTo>
                      <a:pt x="0" y="284"/>
                      <a:pt x="4" y="288"/>
                      <a:pt x="9" y="288"/>
                    </a:cubicBezTo>
                    <a:cubicBezTo>
                      <a:pt x="36" y="288"/>
                      <a:pt x="36" y="288"/>
                      <a:pt x="36" y="288"/>
                    </a:cubicBezTo>
                    <a:cubicBezTo>
                      <a:pt x="41" y="288"/>
                      <a:pt x="45" y="284"/>
                      <a:pt x="45" y="279"/>
                    </a:cubicBezTo>
                    <a:moveTo>
                      <a:pt x="101" y="61"/>
                    </a:moveTo>
                    <a:cubicBezTo>
                      <a:pt x="75" y="61"/>
                      <a:pt x="75" y="61"/>
                      <a:pt x="75" y="61"/>
                    </a:cubicBezTo>
                    <a:cubicBezTo>
                      <a:pt x="75" y="9"/>
                      <a:pt x="75" y="9"/>
                      <a:pt x="75" y="9"/>
                    </a:cubicBezTo>
                    <a:cubicBezTo>
                      <a:pt x="101" y="9"/>
                      <a:pt x="101" y="9"/>
                      <a:pt x="101" y="9"/>
                    </a:cubicBezTo>
                    <a:lnTo>
                      <a:pt x="101" y="61"/>
                    </a:lnTo>
                    <a:close/>
                    <a:moveTo>
                      <a:pt x="110" y="61"/>
                    </a:moveTo>
                    <a:cubicBezTo>
                      <a:pt x="110" y="9"/>
                      <a:pt x="110" y="9"/>
                      <a:pt x="110" y="9"/>
                    </a:cubicBezTo>
                    <a:cubicBezTo>
                      <a:pt x="110" y="4"/>
                      <a:pt x="106" y="0"/>
                      <a:pt x="101" y="0"/>
                    </a:cubicBezTo>
                    <a:cubicBezTo>
                      <a:pt x="75" y="0"/>
                      <a:pt x="75" y="0"/>
                      <a:pt x="75" y="0"/>
                    </a:cubicBezTo>
                    <a:cubicBezTo>
                      <a:pt x="70" y="0"/>
                      <a:pt x="65" y="4"/>
                      <a:pt x="65" y="9"/>
                    </a:cubicBezTo>
                    <a:cubicBezTo>
                      <a:pt x="65" y="61"/>
                      <a:pt x="65" y="61"/>
                      <a:pt x="65" y="61"/>
                    </a:cubicBezTo>
                    <a:cubicBezTo>
                      <a:pt x="65" y="66"/>
                      <a:pt x="69" y="70"/>
                      <a:pt x="75" y="70"/>
                    </a:cubicBezTo>
                    <a:cubicBezTo>
                      <a:pt x="101" y="70"/>
                      <a:pt x="101" y="70"/>
                      <a:pt x="101" y="70"/>
                    </a:cubicBezTo>
                    <a:cubicBezTo>
                      <a:pt x="106" y="70"/>
                      <a:pt x="110" y="66"/>
                      <a:pt x="110" y="61"/>
                    </a:cubicBezTo>
                    <a:moveTo>
                      <a:pt x="110" y="174"/>
                    </a:moveTo>
                    <a:cubicBezTo>
                      <a:pt x="110" y="152"/>
                      <a:pt x="110" y="152"/>
                      <a:pt x="110" y="152"/>
                    </a:cubicBezTo>
                    <a:cubicBezTo>
                      <a:pt x="110" y="149"/>
                      <a:pt x="109" y="147"/>
                      <a:pt x="106" y="147"/>
                    </a:cubicBezTo>
                    <a:cubicBezTo>
                      <a:pt x="102" y="147"/>
                      <a:pt x="101" y="149"/>
                      <a:pt x="101" y="152"/>
                    </a:cubicBezTo>
                    <a:cubicBezTo>
                      <a:pt x="101" y="170"/>
                      <a:pt x="101" y="170"/>
                      <a:pt x="101" y="170"/>
                    </a:cubicBezTo>
                    <a:cubicBezTo>
                      <a:pt x="92" y="170"/>
                      <a:pt x="92" y="170"/>
                      <a:pt x="92" y="170"/>
                    </a:cubicBezTo>
                    <a:cubicBezTo>
                      <a:pt x="92" y="108"/>
                      <a:pt x="92" y="108"/>
                      <a:pt x="92" y="108"/>
                    </a:cubicBezTo>
                    <a:cubicBezTo>
                      <a:pt x="70" y="108"/>
                      <a:pt x="70" y="108"/>
                      <a:pt x="70" y="108"/>
                    </a:cubicBezTo>
                    <a:cubicBezTo>
                      <a:pt x="68" y="108"/>
                      <a:pt x="65" y="110"/>
                      <a:pt x="65" y="113"/>
                    </a:cubicBezTo>
                    <a:cubicBezTo>
                      <a:pt x="65" y="116"/>
                      <a:pt x="68" y="117"/>
                      <a:pt x="70" y="117"/>
                    </a:cubicBezTo>
                    <a:cubicBezTo>
                      <a:pt x="83" y="117"/>
                      <a:pt x="83" y="117"/>
                      <a:pt x="83" y="117"/>
                    </a:cubicBezTo>
                    <a:cubicBezTo>
                      <a:pt x="83" y="170"/>
                      <a:pt x="83" y="170"/>
                      <a:pt x="83" y="170"/>
                    </a:cubicBezTo>
                    <a:cubicBezTo>
                      <a:pt x="70" y="170"/>
                      <a:pt x="70" y="170"/>
                      <a:pt x="70" y="170"/>
                    </a:cubicBezTo>
                    <a:cubicBezTo>
                      <a:pt x="68" y="170"/>
                      <a:pt x="65" y="171"/>
                      <a:pt x="65" y="174"/>
                    </a:cubicBezTo>
                    <a:cubicBezTo>
                      <a:pt x="65" y="178"/>
                      <a:pt x="68" y="179"/>
                      <a:pt x="70" y="179"/>
                    </a:cubicBezTo>
                    <a:cubicBezTo>
                      <a:pt x="106" y="179"/>
                      <a:pt x="106" y="179"/>
                      <a:pt x="106" y="179"/>
                    </a:cubicBezTo>
                    <a:cubicBezTo>
                      <a:pt x="108" y="179"/>
                      <a:pt x="110" y="178"/>
                      <a:pt x="110" y="174"/>
                    </a:cubicBezTo>
                    <a:moveTo>
                      <a:pt x="110" y="283"/>
                    </a:moveTo>
                    <a:cubicBezTo>
                      <a:pt x="110" y="260"/>
                      <a:pt x="110" y="260"/>
                      <a:pt x="110" y="260"/>
                    </a:cubicBezTo>
                    <a:cubicBezTo>
                      <a:pt x="110" y="258"/>
                      <a:pt x="109" y="256"/>
                      <a:pt x="106" y="256"/>
                    </a:cubicBezTo>
                    <a:cubicBezTo>
                      <a:pt x="102" y="256"/>
                      <a:pt x="101" y="258"/>
                      <a:pt x="101" y="260"/>
                    </a:cubicBezTo>
                    <a:cubicBezTo>
                      <a:pt x="101" y="279"/>
                      <a:pt x="101" y="279"/>
                      <a:pt x="101" y="279"/>
                    </a:cubicBezTo>
                    <a:cubicBezTo>
                      <a:pt x="92" y="279"/>
                      <a:pt x="92" y="279"/>
                      <a:pt x="92" y="279"/>
                    </a:cubicBezTo>
                    <a:cubicBezTo>
                      <a:pt x="92" y="217"/>
                      <a:pt x="92" y="217"/>
                      <a:pt x="92" y="217"/>
                    </a:cubicBezTo>
                    <a:cubicBezTo>
                      <a:pt x="70" y="217"/>
                      <a:pt x="70" y="217"/>
                      <a:pt x="70" y="217"/>
                    </a:cubicBezTo>
                    <a:cubicBezTo>
                      <a:pt x="68" y="217"/>
                      <a:pt x="65" y="218"/>
                      <a:pt x="65" y="222"/>
                    </a:cubicBezTo>
                    <a:cubicBezTo>
                      <a:pt x="65" y="225"/>
                      <a:pt x="68" y="226"/>
                      <a:pt x="70" y="226"/>
                    </a:cubicBezTo>
                    <a:cubicBezTo>
                      <a:pt x="83" y="226"/>
                      <a:pt x="83" y="226"/>
                      <a:pt x="83" y="226"/>
                    </a:cubicBezTo>
                    <a:cubicBezTo>
                      <a:pt x="83" y="279"/>
                      <a:pt x="83" y="279"/>
                      <a:pt x="83" y="279"/>
                    </a:cubicBezTo>
                    <a:cubicBezTo>
                      <a:pt x="70" y="279"/>
                      <a:pt x="70" y="279"/>
                      <a:pt x="70" y="279"/>
                    </a:cubicBezTo>
                    <a:cubicBezTo>
                      <a:pt x="68" y="279"/>
                      <a:pt x="65" y="280"/>
                      <a:pt x="65" y="283"/>
                    </a:cubicBezTo>
                    <a:cubicBezTo>
                      <a:pt x="65" y="286"/>
                      <a:pt x="68" y="288"/>
                      <a:pt x="70" y="288"/>
                    </a:cubicBezTo>
                    <a:cubicBezTo>
                      <a:pt x="106" y="288"/>
                      <a:pt x="106" y="288"/>
                      <a:pt x="106" y="288"/>
                    </a:cubicBezTo>
                    <a:cubicBezTo>
                      <a:pt x="108" y="288"/>
                      <a:pt x="110" y="286"/>
                      <a:pt x="110" y="283"/>
                    </a:cubicBezTo>
                    <a:moveTo>
                      <a:pt x="166" y="61"/>
                    </a:moveTo>
                    <a:cubicBezTo>
                      <a:pt x="140" y="61"/>
                      <a:pt x="140" y="61"/>
                      <a:pt x="140" y="61"/>
                    </a:cubicBezTo>
                    <a:cubicBezTo>
                      <a:pt x="140" y="9"/>
                      <a:pt x="140" y="9"/>
                      <a:pt x="140" y="9"/>
                    </a:cubicBezTo>
                    <a:cubicBezTo>
                      <a:pt x="166" y="9"/>
                      <a:pt x="166" y="9"/>
                      <a:pt x="166" y="9"/>
                    </a:cubicBezTo>
                    <a:lnTo>
                      <a:pt x="166" y="61"/>
                    </a:lnTo>
                    <a:close/>
                    <a:moveTo>
                      <a:pt x="175" y="61"/>
                    </a:moveTo>
                    <a:cubicBezTo>
                      <a:pt x="175" y="9"/>
                      <a:pt x="175" y="9"/>
                      <a:pt x="175" y="9"/>
                    </a:cubicBezTo>
                    <a:cubicBezTo>
                      <a:pt x="175" y="4"/>
                      <a:pt x="171" y="0"/>
                      <a:pt x="166" y="0"/>
                    </a:cubicBezTo>
                    <a:cubicBezTo>
                      <a:pt x="140" y="0"/>
                      <a:pt x="140" y="0"/>
                      <a:pt x="140" y="0"/>
                    </a:cubicBezTo>
                    <a:cubicBezTo>
                      <a:pt x="135" y="0"/>
                      <a:pt x="131" y="4"/>
                      <a:pt x="131" y="9"/>
                    </a:cubicBezTo>
                    <a:cubicBezTo>
                      <a:pt x="131" y="61"/>
                      <a:pt x="131" y="61"/>
                      <a:pt x="131" y="61"/>
                    </a:cubicBezTo>
                    <a:cubicBezTo>
                      <a:pt x="131" y="66"/>
                      <a:pt x="135" y="70"/>
                      <a:pt x="140" y="70"/>
                    </a:cubicBezTo>
                    <a:cubicBezTo>
                      <a:pt x="166" y="70"/>
                      <a:pt x="166" y="70"/>
                      <a:pt x="166" y="70"/>
                    </a:cubicBezTo>
                    <a:cubicBezTo>
                      <a:pt x="172" y="70"/>
                      <a:pt x="175" y="66"/>
                      <a:pt x="175" y="61"/>
                    </a:cubicBezTo>
                    <a:moveTo>
                      <a:pt x="175" y="174"/>
                    </a:moveTo>
                    <a:cubicBezTo>
                      <a:pt x="175" y="152"/>
                      <a:pt x="175" y="152"/>
                      <a:pt x="175" y="152"/>
                    </a:cubicBezTo>
                    <a:cubicBezTo>
                      <a:pt x="175" y="149"/>
                      <a:pt x="174" y="147"/>
                      <a:pt x="171" y="147"/>
                    </a:cubicBezTo>
                    <a:cubicBezTo>
                      <a:pt x="168" y="147"/>
                      <a:pt x="166" y="149"/>
                      <a:pt x="166" y="152"/>
                    </a:cubicBezTo>
                    <a:cubicBezTo>
                      <a:pt x="166" y="170"/>
                      <a:pt x="166" y="170"/>
                      <a:pt x="166" y="170"/>
                    </a:cubicBezTo>
                    <a:cubicBezTo>
                      <a:pt x="158" y="170"/>
                      <a:pt x="158" y="170"/>
                      <a:pt x="158" y="170"/>
                    </a:cubicBezTo>
                    <a:cubicBezTo>
                      <a:pt x="158" y="108"/>
                      <a:pt x="158" y="108"/>
                      <a:pt x="158" y="108"/>
                    </a:cubicBezTo>
                    <a:cubicBezTo>
                      <a:pt x="135" y="108"/>
                      <a:pt x="135" y="108"/>
                      <a:pt x="135" y="108"/>
                    </a:cubicBezTo>
                    <a:cubicBezTo>
                      <a:pt x="133" y="108"/>
                      <a:pt x="131" y="110"/>
                      <a:pt x="131" y="113"/>
                    </a:cubicBezTo>
                    <a:cubicBezTo>
                      <a:pt x="131" y="116"/>
                      <a:pt x="133" y="117"/>
                      <a:pt x="135" y="117"/>
                    </a:cubicBezTo>
                    <a:cubicBezTo>
                      <a:pt x="149" y="117"/>
                      <a:pt x="149" y="117"/>
                      <a:pt x="149" y="117"/>
                    </a:cubicBezTo>
                    <a:cubicBezTo>
                      <a:pt x="149" y="170"/>
                      <a:pt x="149" y="170"/>
                      <a:pt x="149" y="170"/>
                    </a:cubicBezTo>
                    <a:cubicBezTo>
                      <a:pt x="135" y="170"/>
                      <a:pt x="135" y="170"/>
                      <a:pt x="135" y="170"/>
                    </a:cubicBezTo>
                    <a:cubicBezTo>
                      <a:pt x="133" y="170"/>
                      <a:pt x="131" y="171"/>
                      <a:pt x="131" y="174"/>
                    </a:cubicBezTo>
                    <a:cubicBezTo>
                      <a:pt x="131" y="178"/>
                      <a:pt x="133" y="179"/>
                      <a:pt x="135" y="179"/>
                    </a:cubicBezTo>
                    <a:cubicBezTo>
                      <a:pt x="171" y="179"/>
                      <a:pt x="171" y="179"/>
                      <a:pt x="171" y="179"/>
                    </a:cubicBezTo>
                    <a:cubicBezTo>
                      <a:pt x="173" y="179"/>
                      <a:pt x="175" y="178"/>
                      <a:pt x="175" y="174"/>
                    </a:cubicBezTo>
                    <a:moveTo>
                      <a:pt x="166" y="279"/>
                    </a:moveTo>
                    <a:cubicBezTo>
                      <a:pt x="140" y="279"/>
                      <a:pt x="140" y="279"/>
                      <a:pt x="140" y="279"/>
                    </a:cubicBezTo>
                    <a:cubicBezTo>
                      <a:pt x="140" y="226"/>
                      <a:pt x="140" y="226"/>
                      <a:pt x="140" y="226"/>
                    </a:cubicBezTo>
                    <a:cubicBezTo>
                      <a:pt x="166" y="226"/>
                      <a:pt x="166" y="226"/>
                      <a:pt x="166" y="226"/>
                    </a:cubicBezTo>
                    <a:lnTo>
                      <a:pt x="166" y="279"/>
                    </a:lnTo>
                    <a:close/>
                    <a:moveTo>
                      <a:pt x="175" y="279"/>
                    </a:moveTo>
                    <a:cubicBezTo>
                      <a:pt x="175" y="226"/>
                      <a:pt x="175" y="226"/>
                      <a:pt x="175" y="226"/>
                    </a:cubicBezTo>
                    <a:cubicBezTo>
                      <a:pt x="175" y="221"/>
                      <a:pt x="171" y="217"/>
                      <a:pt x="166" y="217"/>
                    </a:cubicBezTo>
                    <a:cubicBezTo>
                      <a:pt x="140" y="217"/>
                      <a:pt x="140" y="217"/>
                      <a:pt x="140" y="217"/>
                    </a:cubicBezTo>
                    <a:cubicBezTo>
                      <a:pt x="135" y="217"/>
                      <a:pt x="131" y="221"/>
                      <a:pt x="131" y="226"/>
                    </a:cubicBezTo>
                    <a:cubicBezTo>
                      <a:pt x="131" y="279"/>
                      <a:pt x="131" y="279"/>
                      <a:pt x="131" y="279"/>
                    </a:cubicBezTo>
                    <a:cubicBezTo>
                      <a:pt x="131" y="284"/>
                      <a:pt x="135" y="288"/>
                      <a:pt x="140" y="288"/>
                    </a:cubicBezTo>
                    <a:cubicBezTo>
                      <a:pt x="166" y="288"/>
                      <a:pt x="166" y="288"/>
                      <a:pt x="166" y="288"/>
                    </a:cubicBezTo>
                    <a:cubicBezTo>
                      <a:pt x="172" y="288"/>
                      <a:pt x="175" y="284"/>
                      <a:pt x="175" y="279"/>
                    </a:cubicBezTo>
                    <a:moveTo>
                      <a:pt x="241" y="66"/>
                    </a:moveTo>
                    <a:cubicBezTo>
                      <a:pt x="241" y="43"/>
                      <a:pt x="241" y="43"/>
                      <a:pt x="241" y="43"/>
                    </a:cubicBezTo>
                    <a:cubicBezTo>
                      <a:pt x="241" y="40"/>
                      <a:pt x="240" y="38"/>
                      <a:pt x="236" y="38"/>
                    </a:cubicBezTo>
                    <a:cubicBezTo>
                      <a:pt x="233" y="38"/>
                      <a:pt x="232" y="40"/>
                      <a:pt x="232" y="43"/>
                    </a:cubicBezTo>
                    <a:cubicBezTo>
                      <a:pt x="232" y="61"/>
                      <a:pt x="232" y="61"/>
                      <a:pt x="232" y="61"/>
                    </a:cubicBezTo>
                    <a:cubicBezTo>
                      <a:pt x="223" y="61"/>
                      <a:pt x="223" y="61"/>
                      <a:pt x="223" y="61"/>
                    </a:cubicBezTo>
                    <a:cubicBezTo>
                      <a:pt x="223" y="0"/>
                      <a:pt x="223" y="0"/>
                      <a:pt x="223" y="0"/>
                    </a:cubicBezTo>
                    <a:cubicBezTo>
                      <a:pt x="200" y="0"/>
                      <a:pt x="200" y="0"/>
                      <a:pt x="200" y="0"/>
                    </a:cubicBezTo>
                    <a:cubicBezTo>
                      <a:pt x="198" y="0"/>
                      <a:pt x="196" y="1"/>
                      <a:pt x="196" y="4"/>
                    </a:cubicBezTo>
                    <a:cubicBezTo>
                      <a:pt x="196" y="7"/>
                      <a:pt x="198" y="9"/>
                      <a:pt x="200" y="9"/>
                    </a:cubicBezTo>
                    <a:cubicBezTo>
                      <a:pt x="214" y="9"/>
                      <a:pt x="214" y="9"/>
                      <a:pt x="214" y="9"/>
                    </a:cubicBezTo>
                    <a:cubicBezTo>
                      <a:pt x="214" y="61"/>
                      <a:pt x="214" y="61"/>
                      <a:pt x="214" y="61"/>
                    </a:cubicBezTo>
                    <a:cubicBezTo>
                      <a:pt x="200" y="61"/>
                      <a:pt x="200" y="61"/>
                      <a:pt x="200" y="61"/>
                    </a:cubicBezTo>
                    <a:cubicBezTo>
                      <a:pt x="198" y="61"/>
                      <a:pt x="196" y="62"/>
                      <a:pt x="196" y="66"/>
                    </a:cubicBezTo>
                    <a:cubicBezTo>
                      <a:pt x="196" y="69"/>
                      <a:pt x="198" y="70"/>
                      <a:pt x="200" y="70"/>
                    </a:cubicBezTo>
                    <a:cubicBezTo>
                      <a:pt x="236" y="70"/>
                      <a:pt x="236" y="70"/>
                      <a:pt x="236" y="70"/>
                    </a:cubicBezTo>
                    <a:cubicBezTo>
                      <a:pt x="239" y="70"/>
                      <a:pt x="241" y="69"/>
                      <a:pt x="241" y="66"/>
                    </a:cubicBezTo>
                    <a:moveTo>
                      <a:pt x="232" y="170"/>
                    </a:moveTo>
                    <a:cubicBezTo>
                      <a:pt x="205" y="170"/>
                      <a:pt x="205" y="170"/>
                      <a:pt x="205" y="170"/>
                    </a:cubicBezTo>
                    <a:cubicBezTo>
                      <a:pt x="205" y="117"/>
                      <a:pt x="205" y="117"/>
                      <a:pt x="205" y="117"/>
                    </a:cubicBezTo>
                    <a:cubicBezTo>
                      <a:pt x="232" y="117"/>
                      <a:pt x="232" y="117"/>
                      <a:pt x="232" y="117"/>
                    </a:cubicBezTo>
                    <a:lnTo>
                      <a:pt x="232" y="170"/>
                    </a:lnTo>
                    <a:close/>
                    <a:moveTo>
                      <a:pt x="241" y="170"/>
                    </a:moveTo>
                    <a:cubicBezTo>
                      <a:pt x="241" y="117"/>
                      <a:pt x="241" y="117"/>
                      <a:pt x="241" y="117"/>
                    </a:cubicBezTo>
                    <a:cubicBezTo>
                      <a:pt x="241" y="113"/>
                      <a:pt x="237" y="108"/>
                      <a:pt x="232" y="108"/>
                    </a:cubicBezTo>
                    <a:cubicBezTo>
                      <a:pt x="205" y="108"/>
                      <a:pt x="205" y="108"/>
                      <a:pt x="205" y="108"/>
                    </a:cubicBezTo>
                    <a:cubicBezTo>
                      <a:pt x="200" y="108"/>
                      <a:pt x="196" y="113"/>
                      <a:pt x="196" y="117"/>
                    </a:cubicBezTo>
                    <a:cubicBezTo>
                      <a:pt x="196" y="170"/>
                      <a:pt x="196" y="170"/>
                      <a:pt x="196" y="170"/>
                    </a:cubicBezTo>
                    <a:cubicBezTo>
                      <a:pt x="196" y="175"/>
                      <a:pt x="200" y="179"/>
                      <a:pt x="205" y="179"/>
                    </a:cubicBezTo>
                    <a:cubicBezTo>
                      <a:pt x="232" y="179"/>
                      <a:pt x="232" y="179"/>
                      <a:pt x="232" y="179"/>
                    </a:cubicBezTo>
                    <a:cubicBezTo>
                      <a:pt x="237" y="179"/>
                      <a:pt x="241" y="175"/>
                      <a:pt x="241" y="170"/>
                    </a:cubicBezTo>
                    <a:moveTo>
                      <a:pt x="232" y="279"/>
                    </a:moveTo>
                    <a:cubicBezTo>
                      <a:pt x="205" y="279"/>
                      <a:pt x="205" y="279"/>
                      <a:pt x="205" y="279"/>
                    </a:cubicBezTo>
                    <a:cubicBezTo>
                      <a:pt x="205" y="226"/>
                      <a:pt x="205" y="226"/>
                      <a:pt x="205" y="226"/>
                    </a:cubicBezTo>
                    <a:cubicBezTo>
                      <a:pt x="232" y="226"/>
                      <a:pt x="232" y="226"/>
                      <a:pt x="232" y="226"/>
                    </a:cubicBezTo>
                    <a:lnTo>
                      <a:pt x="232" y="279"/>
                    </a:lnTo>
                    <a:close/>
                    <a:moveTo>
                      <a:pt x="241" y="279"/>
                    </a:moveTo>
                    <a:cubicBezTo>
                      <a:pt x="241" y="226"/>
                      <a:pt x="241" y="226"/>
                      <a:pt x="241" y="226"/>
                    </a:cubicBezTo>
                    <a:cubicBezTo>
                      <a:pt x="241" y="221"/>
                      <a:pt x="237" y="217"/>
                      <a:pt x="232" y="217"/>
                    </a:cubicBezTo>
                    <a:cubicBezTo>
                      <a:pt x="205" y="217"/>
                      <a:pt x="205" y="217"/>
                      <a:pt x="205" y="217"/>
                    </a:cubicBezTo>
                    <a:cubicBezTo>
                      <a:pt x="200" y="217"/>
                      <a:pt x="196" y="221"/>
                      <a:pt x="196" y="226"/>
                    </a:cubicBezTo>
                    <a:cubicBezTo>
                      <a:pt x="196" y="279"/>
                      <a:pt x="196" y="279"/>
                      <a:pt x="196" y="279"/>
                    </a:cubicBezTo>
                    <a:cubicBezTo>
                      <a:pt x="196" y="284"/>
                      <a:pt x="200" y="288"/>
                      <a:pt x="205" y="288"/>
                    </a:cubicBezTo>
                    <a:cubicBezTo>
                      <a:pt x="232" y="288"/>
                      <a:pt x="232" y="288"/>
                      <a:pt x="232" y="288"/>
                    </a:cubicBezTo>
                    <a:cubicBezTo>
                      <a:pt x="237" y="288"/>
                      <a:pt x="241" y="284"/>
                      <a:pt x="241" y="279"/>
                    </a:cubicBezTo>
                    <a:moveTo>
                      <a:pt x="297" y="61"/>
                    </a:moveTo>
                    <a:cubicBezTo>
                      <a:pt x="270" y="61"/>
                      <a:pt x="270" y="61"/>
                      <a:pt x="270" y="61"/>
                    </a:cubicBezTo>
                    <a:cubicBezTo>
                      <a:pt x="270" y="9"/>
                      <a:pt x="270" y="9"/>
                      <a:pt x="270" y="9"/>
                    </a:cubicBezTo>
                    <a:cubicBezTo>
                      <a:pt x="297" y="9"/>
                      <a:pt x="297" y="9"/>
                      <a:pt x="297" y="9"/>
                    </a:cubicBezTo>
                    <a:lnTo>
                      <a:pt x="297" y="61"/>
                    </a:lnTo>
                    <a:close/>
                    <a:moveTo>
                      <a:pt x="306" y="61"/>
                    </a:moveTo>
                    <a:cubicBezTo>
                      <a:pt x="306" y="9"/>
                      <a:pt x="306" y="9"/>
                      <a:pt x="306" y="9"/>
                    </a:cubicBezTo>
                    <a:cubicBezTo>
                      <a:pt x="306" y="4"/>
                      <a:pt x="302" y="0"/>
                      <a:pt x="297" y="0"/>
                    </a:cubicBezTo>
                    <a:cubicBezTo>
                      <a:pt x="270" y="0"/>
                      <a:pt x="270" y="0"/>
                      <a:pt x="270" y="0"/>
                    </a:cubicBezTo>
                    <a:cubicBezTo>
                      <a:pt x="265" y="0"/>
                      <a:pt x="261" y="4"/>
                      <a:pt x="261" y="9"/>
                    </a:cubicBezTo>
                    <a:cubicBezTo>
                      <a:pt x="261" y="61"/>
                      <a:pt x="261" y="61"/>
                      <a:pt x="261" y="61"/>
                    </a:cubicBezTo>
                    <a:cubicBezTo>
                      <a:pt x="261" y="66"/>
                      <a:pt x="265" y="70"/>
                      <a:pt x="270" y="70"/>
                    </a:cubicBezTo>
                    <a:cubicBezTo>
                      <a:pt x="297" y="70"/>
                      <a:pt x="297" y="70"/>
                      <a:pt x="297" y="70"/>
                    </a:cubicBezTo>
                    <a:cubicBezTo>
                      <a:pt x="302" y="70"/>
                      <a:pt x="306" y="66"/>
                      <a:pt x="306" y="61"/>
                    </a:cubicBezTo>
                    <a:moveTo>
                      <a:pt x="306" y="174"/>
                    </a:moveTo>
                    <a:cubicBezTo>
                      <a:pt x="306" y="152"/>
                      <a:pt x="306" y="152"/>
                      <a:pt x="306" y="152"/>
                    </a:cubicBezTo>
                    <a:cubicBezTo>
                      <a:pt x="306" y="149"/>
                      <a:pt x="305" y="147"/>
                      <a:pt x="301" y="147"/>
                    </a:cubicBezTo>
                    <a:cubicBezTo>
                      <a:pt x="298" y="147"/>
                      <a:pt x="297" y="149"/>
                      <a:pt x="297" y="152"/>
                    </a:cubicBezTo>
                    <a:cubicBezTo>
                      <a:pt x="297" y="170"/>
                      <a:pt x="297" y="170"/>
                      <a:pt x="297" y="170"/>
                    </a:cubicBezTo>
                    <a:cubicBezTo>
                      <a:pt x="288" y="170"/>
                      <a:pt x="288" y="170"/>
                      <a:pt x="288" y="170"/>
                    </a:cubicBezTo>
                    <a:cubicBezTo>
                      <a:pt x="288" y="108"/>
                      <a:pt x="288" y="108"/>
                      <a:pt x="288" y="108"/>
                    </a:cubicBezTo>
                    <a:cubicBezTo>
                      <a:pt x="266" y="108"/>
                      <a:pt x="266" y="108"/>
                      <a:pt x="266" y="108"/>
                    </a:cubicBezTo>
                    <a:cubicBezTo>
                      <a:pt x="263" y="108"/>
                      <a:pt x="261" y="110"/>
                      <a:pt x="261" y="113"/>
                    </a:cubicBezTo>
                    <a:cubicBezTo>
                      <a:pt x="261" y="116"/>
                      <a:pt x="263" y="117"/>
                      <a:pt x="266" y="117"/>
                    </a:cubicBezTo>
                    <a:cubicBezTo>
                      <a:pt x="279" y="117"/>
                      <a:pt x="279" y="117"/>
                      <a:pt x="279" y="117"/>
                    </a:cubicBezTo>
                    <a:cubicBezTo>
                      <a:pt x="279" y="170"/>
                      <a:pt x="279" y="170"/>
                      <a:pt x="279" y="170"/>
                    </a:cubicBezTo>
                    <a:cubicBezTo>
                      <a:pt x="266" y="170"/>
                      <a:pt x="266" y="170"/>
                      <a:pt x="266" y="170"/>
                    </a:cubicBezTo>
                    <a:cubicBezTo>
                      <a:pt x="263" y="170"/>
                      <a:pt x="261" y="171"/>
                      <a:pt x="261" y="174"/>
                    </a:cubicBezTo>
                    <a:cubicBezTo>
                      <a:pt x="261" y="178"/>
                      <a:pt x="263" y="179"/>
                      <a:pt x="266" y="179"/>
                    </a:cubicBezTo>
                    <a:cubicBezTo>
                      <a:pt x="301" y="179"/>
                      <a:pt x="301" y="179"/>
                      <a:pt x="301" y="179"/>
                    </a:cubicBezTo>
                    <a:cubicBezTo>
                      <a:pt x="304" y="179"/>
                      <a:pt x="306" y="178"/>
                      <a:pt x="306" y="174"/>
                    </a:cubicBezTo>
                    <a:moveTo>
                      <a:pt x="297" y="279"/>
                    </a:moveTo>
                    <a:cubicBezTo>
                      <a:pt x="270" y="279"/>
                      <a:pt x="270" y="279"/>
                      <a:pt x="270" y="279"/>
                    </a:cubicBezTo>
                    <a:cubicBezTo>
                      <a:pt x="270" y="226"/>
                      <a:pt x="270" y="226"/>
                      <a:pt x="270" y="226"/>
                    </a:cubicBezTo>
                    <a:cubicBezTo>
                      <a:pt x="297" y="226"/>
                      <a:pt x="297" y="226"/>
                      <a:pt x="297" y="226"/>
                    </a:cubicBezTo>
                    <a:lnTo>
                      <a:pt x="297" y="279"/>
                    </a:lnTo>
                    <a:close/>
                    <a:moveTo>
                      <a:pt x="306" y="279"/>
                    </a:moveTo>
                    <a:cubicBezTo>
                      <a:pt x="306" y="226"/>
                      <a:pt x="306" y="226"/>
                      <a:pt x="306" y="226"/>
                    </a:cubicBezTo>
                    <a:cubicBezTo>
                      <a:pt x="306" y="221"/>
                      <a:pt x="302" y="217"/>
                      <a:pt x="297" y="217"/>
                    </a:cubicBezTo>
                    <a:cubicBezTo>
                      <a:pt x="270" y="217"/>
                      <a:pt x="270" y="217"/>
                      <a:pt x="270" y="217"/>
                    </a:cubicBezTo>
                    <a:cubicBezTo>
                      <a:pt x="265" y="217"/>
                      <a:pt x="261" y="221"/>
                      <a:pt x="261" y="226"/>
                    </a:cubicBezTo>
                    <a:cubicBezTo>
                      <a:pt x="261" y="279"/>
                      <a:pt x="261" y="279"/>
                      <a:pt x="261" y="279"/>
                    </a:cubicBezTo>
                    <a:cubicBezTo>
                      <a:pt x="261" y="284"/>
                      <a:pt x="265" y="288"/>
                      <a:pt x="270" y="288"/>
                    </a:cubicBezTo>
                    <a:cubicBezTo>
                      <a:pt x="297" y="288"/>
                      <a:pt x="297" y="288"/>
                      <a:pt x="297" y="288"/>
                    </a:cubicBezTo>
                    <a:cubicBezTo>
                      <a:pt x="302" y="288"/>
                      <a:pt x="306" y="284"/>
                      <a:pt x="306" y="279"/>
                    </a:cubicBezTo>
                    <a:moveTo>
                      <a:pt x="371" y="66"/>
                    </a:moveTo>
                    <a:cubicBezTo>
                      <a:pt x="371" y="43"/>
                      <a:pt x="371" y="43"/>
                      <a:pt x="371" y="43"/>
                    </a:cubicBezTo>
                    <a:cubicBezTo>
                      <a:pt x="371" y="40"/>
                      <a:pt x="370" y="38"/>
                      <a:pt x="367" y="38"/>
                    </a:cubicBezTo>
                    <a:cubicBezTo>
                      <a:pt x="363" y="38"/>
                      <a:pt x="362" y="40"/>
                      <a:pt x="362" y="43"/>
                    </a:cubicBezTo>
                    <a:cubicBezTo>
                      <a:pt x="362" y="61"/>
                      <a:pt x="362" y="61"/>
                      <a:pt x="362" y="61"/>
                    </a:cubicBezTo>
                    <a:cubicBezTo>
                      <a:pt x="353" y="61"/>
                      <a:pt x="353" y="61"/>
                      <a:pt x="353" y="61"/>
                    </a:cubicBezTo>
                    <a:cubicBezTo>
                      <a:pt x="353" y="0"/>
                      <a:pt x="353" y="0"/>
                      <a:pt x="353" y="0"/>
                    </a:cubicBezTo>
                    <a:cubicBezTo>
                      <a:pt x="331" y="0"/>
                      <a:pt x="331" y="0"/>
                      <a:pt x="331" y="0"/>
                    </a:cubicBezTo>
                    <a:cubicBezTo>
                      <a:pt x="329" y="0"/>
                      <a:pt x="326" y="1"/>
                      <a:pt x="326" y="4"/>
                    </a:cubicBezTo>
                    <a:cubicBezTo>
                      <a:pt x="326" y="7"/>
                      <a:pt x="329" y="9"/>
                      <a:pt x="331" y="9"/>
                    </a:cubicBezTo>
                    <a:cubicBezTo>
                      <a:pt x="344" y="9"/>
                      <a:pt x="344" y="9"/>
                      <a:pt x="344" y="9"/>
                    </a:cubicBezTo>
                    <a:cubicBezTo>
                      <a:pt x="344" y="61"/>
                      <a:pt x="344" y="61"/>
                      <a:pt x="344" y="61"/>
                    </a:cubicBezTo>
                    <a:cubicBezTo>
                      <a:pt x="331" y="61"/>
                      <a:pt x="331" y="61"/>
                      <a:pt x="331" y="61"/>
                    </a:cubicBezTo>
                    <a:cubicBezTo>
                      <a:pt x="329" y="61"/>
                      <a:pt x="326" y="62"/>
                      <a:pt x="326" y="66"/>
                    </a:cubicBezTo>
                    <a:cubicBezTo>
                      <a:pt x="326" y="69"/>
                      <a:pt x="329" y="70"/>
                      <a:pt x="331" y="70"/>
                    </a:cubicBezTo>
                    <a:cubicBezTo>
                      <a:pt x="367" y="70"/>
                      <a:pt x="367" y="70"/>
                      <a:pt x="367" y="70"/>
                    </a:cubicBezTo>
                    <a:cubicBezTo>
                      <a:pt x="369" y="70"/>
                      <a:pt x="371" y="69"/>
                      <a:pt x="371" y="66"/>
                    </a:cubicBezTo>
                    <a:moveTo>
                      <a:pt x="362" y="170"/>
                    </a:moveTo>
                    <a:cubicBezTo>
                      <a:pt x="335" y="170"/>
                      <a:pt x="335" y="170"/>
                      <a:pt x="335" y="170"/>
                    </a:cubicBezTo>
                    <a:cubicBezTo>
                      <a:pt x="335" y="117"/>
                      <a:pt x="335" y="117"/>
                      <a:pt x="335" y="117"/>
                    </a:cubicBezTo>
                    <a:cubicBezTo>
                      <a:pt x="362" y="117"/>
                      <a:pt x="362" y="117"/>
                      <a:pt x="362" y="117"/>
                    </a:cubicBezTo>
                    <a:lnTo>
                      <a:pt x="362" y="170"/>
                    </a:lnTo>
                    <a:close/>
                    <a:moveTo>
                      <a:pt x="371" y="170"/>
                    </a:moveTo>
                    <a:cubicBezTo>
                      <a:pt x="371" y="117"/>
                      <a:pt x="371" y="117"/>
                      <a:pt x="371" y="117"/>
                    </a:cubicBezTo>
                    <a:cubicBezTo>
                      <a:pt x="371" y="113"/>
                      <a:pt x="367" y="108"/>
                      <a:pt x="362" y="108"/>
                    </a:cubicBezTo>
                    <a:cubicBezTo>
                      <a:pt x="335" y="108"/>
                      <a:pt x="335" y="108"/>
                      <a:pt x="335" y="108"/>
                    </a:cubicBezTo>
                    <a:cubicBezTo>
                      <a:pt x="330" y="108"/>
                      <a:pt x="326" y="113"/>
                      <a:pt x="326" y="117"/>
                    </a:cubicBezTo>
                    <a:cubicBezTo>
                      <a:pt x="326" y="170"/>
                      <a:pt x="326" y="170"/>
                      <a:pt x="326" y="170"/>
                    </a:cubicBezTo>
                    <a:cubicBezTo>
                      <a:pt x="326" y="175"/>
                      <a:pt x="330" y="179"/>
                      <a:pt x="335" y="179"/>
                    </a:cubicBezTo>
                    <a:cubicBezTo>
                      <a:pt x="362" y="179"/>
                      <a:pt x="362" y="179"/>
                      <a:pt x="362" y="179"/>
                    </a:cubicBezTo>
                    <a:cubicBezTo>
                      <a:pt x="367" y="179"/>
                      <a:pt x="371" y="175"/>
                      <a:pt x="371" y="170"/>
                    </a:cubicBezTo>
                    <a:moveTo>
                      <a:pt x="371" y="283"/>
                    </a:moveTo>
                    <a:cubicBezTo>
                      <a:pt x="371" y="260"/>
                      <a:pt x="371" y="260"/>
                      <a:pt x="371" y="260"/>
                    </a:cubicBezTo>
                    <a:cubicBezTo>
                      <a:pt x="371" y="258"/>
                      <a:pt x="370" y="256"/>
                      <a:pt x="367" y="256"/>
                    </a:cubicBezTo>
                    <a:cubicBezTo>
                      <a:pt x="363" y="256"/>
                      <a:pt x="362" y="258"/>
                      <a:pt x="362" y="260"/>
                    </a:cubicBezTo>
                    <a:cubicBezTo>
                      <a:pt x="362" y="279"/>
                      <a:pt x="362" y="279"/>
                      <a:pt x="362" y="279"/>
                    </a:cubicBezTo>
                    <a:cubicBezTo>
                      <a:pt x="353" y="279"/>
                      <a:pt x="353" y="279"/>
                      <a:pt x="353" y="279"/>
                    </a:cubicBezTo>
                    <a:cubicBezTo>
                      <a:pt x="353" y="217"/>
                      <a:pt x="353" y="217"/>
                      <a:pt x="353" y="217"/>
                    </a:cubicBezTo>
                    <a:cubicBezTo>
                      <a:pt x="331" y="217"/>
                      <a:pt x="331" y="217"/>
                      <a:pt x="331" y="217"/>
                    </a:cubicBezTo>
                    <a:cubicBezTo>
                      <a:pt x="329" y="217"/>
                      <a:pt x="326" y="218"/>
                      <a:pt x="326" y="222"/>
                    </a:cubicBezTo>
                    <a:cubicBezTo>
                      <a:pt x="326" y="225"/>
                      <a:pt x="329" y="226"/>
                      <a:pt x="331" y="226"/>
                    </a:cubicBezTo>
                    <a:cubicBezTo>
                      <a:pt x="344" y="226"/>
                      <a:pt x="344" y="226"/>
                      <a:pt x="344" y="226"/>
                    </a:cubicBezTo>
                    <a:cubicBezTo>
                      <a:pt x="344" y="279"/>
                      <a:pt x="344" y="279"/>
                      <a:pt x="344" y="279"/>
                    </a:cubicBezTo>
                    <a:cubicBezTo>
                      <a:pt x="331" y="279"/>
                      <a:pt x="331" y="279"/>
                      <a:pt x="331" y="279"/>
                    </a:cubicBezTo>
                    <a:cubicBezTo>
                      <a:pt x="329" y="279"/>
                      <a:pt x="326" y="280"/>
                      <a:pt x="326" y="283"/>
                    </a:cubicBezTo>
                    <a:cubicBezTo>
                      <a:pt x="326" y="286"/>
                      <a:pt x="329" y="288"/>
                      <a:pt x="331" y="288"/>
                    </a:cubicBezTo>
                    <a:cubicBezTo>
                      <a:pt x="367" y="288"/>
                      <a:pt x="367" y="288"/>
                      <a:pt x="367" y="288"/>
                    </a:cubicBezTo>
                    <a:cubicBezTo>
                      <a:pt x="369" y="288"/>
                      <a:pt x="371" y="286"/>
                      <a:pt x="371" y="283"/>
                    </a:cubicBezTo>
                    <a:moveTo>
                      <a:pt x="427" y="61"/>
                    </a:moveTo>
                    <a:cubicBezTo>
                      <a:pt x="401" y="61"/>
                      <a:pt x="401" y="61"/>
                      <a:pt x="401" y="61"/>
                    </a:cubicBezTo>
                    <a:cubicBezTo>
                      <a:pt x="401" y="9"/>
                      <a:pt x="401" y="9"/>
                      <a:pt x="401" y="9"/>
                    </a:cubicBezTo>
                    <a:cubicBezTo>
                      <a:pt x="427" y="9"/>
                      <a:pt x="427" y="9"/>
                      <a:pt x="427" y="9"/>
                    </a:cubicBezTo>
                    <a:lnTo>
                      <a:pt x="427" y="61"/>
                    </a:lnTo>
                    <a:close/>
                    <a:moveTo>
                      <a:pt x="436" y="61"/>
                    </a:moveTo>
                    <a:cubicBezTo>
                      <a:pt x="436" y="9"/>
                      <a:pt x="436" y="9"/>
                      <a:pt x="436" y="9"/>
                    </a:cubicBezTo>
                    <a:cubicBezTo>
                      <a:pt x="436" y="4"/>
                      <a:pt x="432" y="0"/>
                      <a:pt x="427" y="0"/>
                    </a:cubicBezTo>
                    <a:cubicBezTo>
                      <a:pt x="401" y="0"/>
                      <a:pt x="401" y="0"/>
                      <a:pt x="401" y="0"/>
                    </a:cubicBezTo>
                    <a:cubicBezTo>
                      <a:pt x="396" y="0"/>
                      <a:pt x="392" y="4"/>
                      <a:pt x="392" y="9"/>
                    </a:cubicBezTo>
                    <a:cubicBezTo>
                      <a:pt x="392" y="61"/>
                      <a:pt x="392" y="61"/>
                      <a:pt x="392" y="61"/>
                    </a:cubicBezTo>
                    <a:cubicBezTo>
                      <a:pt x="392" y="66"/>
                      <a:pt x="396" y="70"/>
                      <a:pt x="401" y="70"/>
                    </a:cubicBezTo>
                    <a:cubicBezTo>
                      <a:pt x="427" y="70"/>
                      <a:pt x="427" y="70"/>
                      <a:pt x="427" y="70"/>
                    </a:cubicBezTo>
                    <a:cubicBezTo>
                      <a:pt x="433" y="70"/>
                      <a:pt x="436" y="66"/>
                      <a:pt x="436" y="61"/>
                    </a:cubicBezTo>
                    <a:moveTo>
                      <a:pt x="427" y="170"/>
                    </a:moveTo>
                    <a:cubicBezTo>
                      <a:pt x="401" y="170"/>
                      <a:pt x="401" y="170"/>
                      <a:pt x="401" y="170"/>
                    </a:cubicBezTo>
                    <a:cubicBezTo>
                      <a:pt x="401" y="117"/>
                      <a:pt x="401" y="117"/>
                      <a:pt x="401" y="117"/>
                    </a:cubicBezTo>
                    <a:cubicBezTo>
                      <a:pt x="427" y="117"/>
                      <a:pt x="427" y="117"/>
                      <a:pt x="427" y="117"/>
                    </a:cubicBezTo>
                    <a:lnTo>
                      <a:pt x="427" y="170"/>
                    </a:lnTo>
                    <a:close/>
                    <a:moveTo>
                      <a:pt x="436" y="170"/>
                    </a:moveTo>
                    <a:cubicBezTo>
                      <a:pt x="436" y="117"/>
                      <a:pt x="436" y="117"/>
                      <a:pt x="436" y="117"/>
                    </a:cubicBezTo>
                    <a:cubicBezTo>
                      <a:pt x="436" y="113"/>
                      <a:pt x="432" y="108"/>
                      <a:pt x="427" y="108"/>
                    </a:cubicBezTo>
                    <a:cubicBezTo>
                      <a:pt x="401" y="108"/>
                      <a:pt x="401" y="108"/>
                      <a:pt x="401" y="108"/>
                    </a:cubicBezTo>
                    <a:cubicBezTo>
                      <a:pt x="396" y="108"/>
                      <a:pt x="392" y="113"/>
                      <a:pt x="392" y="117"/>
                    </a:cubicBezTo>
                    <a:cubicBezTo>
                      <a:pt x="392" y="170"/>
                      <a:pt x="392" y="170"/>
                      <a:pt x="392" y="170"/>
                    </a:cubicBezTo>
                    <a:cubicBezTo>
                      <a:pt x="392" y="175"/>
                      <a:pt x="396" y="179"/>
                      <a:pt x="401" y="179"/>
                    </a:cubicBezTo>
                    <a:cubicBezTo>
                      <a:pt x="427" y="179"/>
                      <a:pt x="427" y="179"/>
                      <a:pt x="427" y="179"/>
                    </a:cubicBezTo>
                    <a:cubicBezTo>
                      <a:pt x="433" y="179"/>
                      <a:pt x="436" y="175"/>
                      <a:pt x="436" y="170"/>
                    </a:cubicBezTo>
                    <a:moveTo>
                      <a:pt x="436" y="283"/>
                    </a:moveTo>
                    <a:cubicBezTo>
                      <a:pt x="436" y="260"/>
                      <a:pt x="436" y="260"/>
                      <a:pt x="436" y="260"/>
                    </a:cubicBezTo>
                    <a:cubicBezTo>
                      <a:pt x="436" y="258"/>
                      <a:pt x="435" y="256"/>
                      <a:pt x="432" y="256"/>
                    </a:cubicBezTo>
                    <a:cubicBezTo>
                      <a:pt x="429" y="256"/>
                      <a:pt x="427" y="258"/>
                      <a:pt x="427" y="260"/>
                    </a:cubicBezTo>
                    <a:cubicBezTo>
                      <a:pt x="427" y="279"/>
                      <a:pt x="427" y="279"/>
                      <a:pt x="427" y="279"/>
                    </a:cubicBezTo>
                    <a:cubicBezTo>
                      <a:pt x="419" y="279"/>
                      <a:pt x="419" y="279"/>
                      <a:pt x="419" y="279"/>
                    </a:cubicBezTo>
                    <a:cubicBezTo>
                      <a:pt x="419" y="217"/>
                      <a:pt x="419" y="217"/>
                      <a:pt x="419" y="217"/>
                    </a:cubicBezTo>
                    <a:cubicBezTo>
                      <a:pt x="396" y="217"/>
                      <a:pt x="396" y="217"/>
                      <a:pt x="396" y="217"/>
                    </a:cubicBezTo>
                    <a:cubicBezTo>
                      <a:pt x="394" y="217"/>
                      <a:pt x="392" y="218"/>
                      <a:pt x="392" y="222"/>
                    </a:cubicBezTo>
                    <a:cubicBezTo>
                      <a:pt x="392" y="225"/>
                      <a:pt x="394" y="226"/>
                      <a:pt x="396" y="226"/>
                    </a:cubicBezTo>
                    <a:cubicBezTo>
                      <a:pt x="410" y="226"/>
                      <a:pt x="410" y="226"/>
                      <a:pt x="410" y="226"/>
                    </a:cubicBezTo>
                    <a:cubicBezTo>
                      <a:pt x="410" y="279"/>
                      <a:pt x="410" y="279"/>
                      <a:pt x="410" y="279"/>
                    </a:cubicBezTo>
                    <a:cubicBezTo>
                      <a:pt x="396" y="279"/>
                      <a:pt x="396" y="279"/>
                      <a:pt x="396" y="279"/>
                    </a:cubicBezTo>
                    <a:cubicBezTo>
                      <a:pt x="394" y="279"/>
                      <a:pt x="392" y="280"/>
                      <a:pt x="392" y="283"/>
                    </a:cubicBezTo>
                    <a:cubicBezTo>
                      <a:pt x="392" y="286"/>
                      <a:pt x="394" y="288"/>
                      <a:pt x="396" y="288"/>
                    </a:cubicBezTo>
                    <a:cubicBezTo>
                      <a:pt x="432" y="288"/>
                      <a:pt x="432" y="288"/>
                      <a:pt x="432" y="288"/>
                    </a:cubicBezTo>
                    <a:cubicBezTo>
                      <a:pt x="434" y="288"/>
                      <a:pt x="436" y="286"/>
                      <a:pt x="436" y="283"/>
                    </a:cubicBezTo>
                    <a:moveTo>
                      <a:pt x="502" y="66"/>
                    </a:moveTo>
                    <a:cubicBezTo>
                      <a:pt x="502" y="43"/>
                      <a:pt x="502" y="43"/>
                      <a:pt x="502" y="43"/>
                    </a:cubicBezTo>
                    <a:cubicBezTo>
                      <a:pt x="502" y="40"/>
                      <a:pt x="500" y="38"/>
                      <a:pt x="497" y="38"/>
                    </a:cubicBezTo>
                    <a:cubicBezTo>
                      <a:pt x="494" y="38"/>
                      <a:pt x="493" y="40"/>
                      <a:pt x="493" y="43"/>
                    </a:cubicBezTo>
                    <a:cubicBezTo>
                      <a:pt x="493" y="61"/>
                      <a:pt x="493" y="61"/>
                      <a:pt x="493" y="61"/>
                    </a:cubicBezTo>
                    <a:cubicBezTo>
                      <a:pt x="484" y="61"/>
                      <a:pt x="484" y="61"/>
                      <a:pt x="484" y="61"/>
                    </a:cubicBezTo>
                    <a:cubicBezTo>
                      <a:pt x="484" y="0"/>
                      <a:pt x="484" y="0"/>
                      <a:pt x="484" y="0"/>
                    </a:cubicBezTo>
                    <a:cubicBezTo>
                      <a:pt x="461" y="0"/>
                      <a:pt x="461" y="0"/>
                      <a:pt x="461" y="0"/>
                    </a:cubicBezTo>
                    <a:cubicBezTo>
                      <a:pt x="459" y="0"/>
                      <a:pt x="457" y="1"/>
                      <a:pt x="457" y="4"/>
                    </a:cubicBezTo>
                    <a:cubicBezTo>
                      <a:pt x="457" y="7"/>
                      <a:pt x="459" y="9"/>
                      <a:pt x="461" y="9"/>
                    </a:cubicBezTo>
                    <a:cubicBezTo>
                      <a:pt x="475" y="9"/>
                      <a:pt x="475" y="9"/>
                      <a:pt x="475" y="9"/>
                    </a:cubicBezTo>
                    <a:cubicBezTo>
                      <a:pt x="475" y="61"/>
                      <a:pt x="475" y="61"/>
                      <a:pt x="475" y="61"/>
                    </a:cubicBezTo>
                    <a:cubicBezTo>
                      <a:pt x="461" y="61"/>
                      <a:pt x="461" y="61"/>
                      <a:pt x="461" y="61"/>
                    </a:cubicBezTo>
                    <a:cubicBezTo>
                      <a:pt x="459" y="61"/>
                      <a:pt x="457" y="62"/>
                      <a:pt x="457" y="66"/>
                    </a:cubicBezTo>
                    <a:cubicBezTo>
                      <a:pt x="457" y="69"/>
                      <a:pt x="459" y="70"/>
                      <a:pt x="461" y="70"/>
                    </a:cubicBezTo>
                    <a:cubicBezTo>
                      <a:pt x="497" y="70"/>
                      <a:pt x="497" y="70"/>
                      <a:pt x="497" y="70"/>
                    </a:cubicBezTo>
                    <a:cubicBezTo>
                      <a:pt x="499" y="70"/>
                      <a:pt x="502" y="69"/>
                      <a:pt x="502" y="66"/>
                    </a:cubicBezTo>
                    <a:moveTo>
                      <a:pt x="502" y="174"/>
                    </a:moveTo>
                    <a:cubicBezTo>
                      <a:pt x="502" y="152"/>
                      <a:pt x="502" y="152"/>
                      <a:pt x="502" y="152"/>
                    </a:cubicBezTo>
                    <a:cubicBezTo>
                      <a:pt x="502" y="149"/>
                      <a:pt x="500" y="147"/>
                      <a:pt x="497" y="147"/>
                    </a:cubicBezTo>
                    <a:cubicBezTo>
                      <a:pt x="494" y="147"/>
                      <a:pt x="493" y="149"/>
                      <a:pt x="493" y="152"/>
                    </a:cubicBezTo>
                    <a:cubicBezTo>
                      <a:pt x="493" y="170"/>
                      <a:pt x="493" y="170"/>
                      <a:pt x="493" y="170"/>
                    </a:cubicBezTo>
                    <a:cubicBezTo>
                      <a:pt x="484" y="170"/>
                      <a:pt x="484" y="170"/>
                      <a:pt x="484" y="170"/>
                    </a:cubicBezTo>
                    <a:cubicBezTo>
                      <a:pt x="484" y="108"/>
                      <a:pt x="484" y="108"/>
                      <a:pt x="484" y="108"/>
                    </a:cubicBezTo>
                    <a:cubicBezTo>
                      <a:pt x="461" y="108"/>
                      <a:pt x="461" y="108"/>
                      <a:pt x="461" y="108"/>
                    </a:cubicBezTo>
                    <a:cubicBezTo>
                      <a:pt x="459" y="108"/>
                      <a:pt x="457" y="110"/>
                      <a:pt x="457" y="113"/>
                    </a:cubicBezTo>
                    <a:cubicBezTo>
                      <a:pt x="457" y="116"/>
                      <a:pt x="459" y="117"/>
                      <a:pt x="461" y="117"/>
                    </a:cubicBezTo>
                    <a:cubicBezTo>
                      <a:pt x="475" y="117"/>
                      <a:pt x="475" y="117"/>
                      <a:pt x="475" y="117"/>
                    </a:cubicBezTo>
                    <a:cubicBezTo>
                      <a:pt x="475" y="170"/>
                      <a:pt x="475" y="170"/>
                      <a:pt x="475" y="170"/>
                    </a:cubicBezTo>
                    <a:cubicBezTo>
                      <a:pt x="461" y="170"/>
                      <a:pt x="461" y="170"/>
                      <a:pt x="461" y="170"/>
                    </a:cubicBezTo>
                    <a:cubicBezTo>
                      <a:pt x="459" y="170"/>
                      <a:pt x="457" y="171"/>
                      <a:pt x="457" y="174"/>
                    </a:cubicBezTo>
                    <a:cubicBezTo>
                      <a:pt x="457" y="178"/>
                      <a:pt x="459" y="179"/>
                      <a:pt x="461" y="179"/>
                    </a:cubicBezTo>
                    <a:cubicBezTo>
                      <a:pt x="497" y="179"/>
                      <a:pt x="497" y="179"/>
                      <a:pt x="497" y="179"/>
                    </a:cubicBezTo>
                    <a:cubicBezTo>
                      <a:pt x="499" y="179"/>
                      <a:pt x="502" y="178"/>
                      <a:pt x="502" y="174"/>
                    </a:cubicBezTo>
                    <a:moveTo>
                      <a:pt x="493" y="279"/>
                    </a:moveTo>
                    <a:cubicBezTo>
                      <a:pt x="466" y="279"/>
                      <a:pt x="466" y="279"/>
                      <a:pt x="466" y="279"/>
                    </a:cubicBezTo>
                    <a:cubicBezTo>
                      <a:pt x="466" y="226"/>
                      <a:pt x="466" y="226"/>
                      <a:pt x="466" y="226"/>
                    </a:cubicBezTo>
                    <a:cubicBezTo>
                      <a:pt x="493" y="226"/>
                      <a:pt x="493" y="226"/>
                      <a:pt x="493" y="226"/>
                    </a:cubicBezTo>
                    <a:lnTo>
                      <a:pt x="493" y="279"/>
                    </a:lnTo>
                    <a:close/>
                    <a:moveTo>
                      <a:pt x="502" y="279"/>
                    </a:moveTo>
                    <a:cubicBezTo>
                      <a:pt x="502" y="226"/>
                      <a:pt x="502" y="226"/>
                      <a:pt x="502" y="226"/>
                    </a:cubicBezTo>
                    <a:cubicBezTo>
                      <a:pt x="502" y="221"/>
                      <a:pt x="498" y="217"/>
                      <a:pt x="493" y="217"/>
                    </a:cubicBezTo>
                    <a:cubicBezTo>
                      <a:pt x="466" y="217"/>
                      <a:pt x="466" y="217"/>
                      <a:pt x="466" y="217"/>
                    </a:cubicBezTo>
                    <a:cubicBezTo>
                      <a:pt x="461" y="217"/>
                      <a:pt x="457" y="221"/>
                      <a:pt x="457" y="226"/>
                    </a:cubicBezTo>
                    <a:cubicBezTo>
                      <a:pt x="457" y="279"/>
                      <a:pt x="457" y="279"/>
                      <a:pt x="457" y="279"/>
                    </a:cubicBezTo>
                    <a:cubicBezTo>
                      <a:pt x="457" y="284"/>
                      <a:pt x="461" y="288"/>
                      <a:pt x="466" y="288"/>
                    </a:cubicBezTo>
                    <a:cubicBezTo>
                      <a:pt x="493" y="288"/>
                      <a:pt x="493" y="288"/>
                      <a:pt x="493" y="288"/>
                    </a:cubicBezTo>
                    <a:cubicBezTo>
                      <a:pt x="498" y="288"/>
                      <a:pt x="502" y="284"/>
                      <a:pt x="502" y="279"/>
                    </a:cubicBezTo>
                    <a:moveTo>
                      <a:pt x="567" y="66"/>
                    </a:moveTo>
                    <a:cubicBezTo>
                      <a:pt x="567" y="43"/>
                      <a:pt x="567" y="43"/>
                      <a:pt x="567" y="43"/>
                    </a:cubicBezTo>
                    <a:cubicBezTo>
                      <a:pt x="567" y="40"/>
                      <a:pt x="566" y="38"/>
                      <a:pt x="562" y="38"/>
                    </a:cubicBezTo>
                    <a:cubicBezTo>
                      <a:pt x="559" y="38"/>
                      <a:pt x="558" y="40"/>
                      <a:pt x="558" y="43"/>
                    </a:cubicBezTo>
                    <a:cubicBezTo>
                      <a:pt x="558" y="61"/>
                      <a:pt x="558" y="61"/>
                      <a:pt x="558" y="61"/>
                    </a:cubicBezTo>
                    <a:cubicBezTo>
                      <a:pt x="549" y="61"/>
                      <a:pt x="549" y="61"/>
                      <a:pt x="549" y="61"/>
                    </a:cubicBezTo>
                    <a:cubicBezTo>
                      <a:pt x="549" y="0"/>
                      <a:pt x="549" y="0"/>
                      <a:pt x="549" y="0"/>
                    </a:cubicBezTo>
                    <a:cubicBezTo>
                      <a:pt x="527" y="0"/>
                      <a:pt x="527" y="0"/>
                      <a:pt x="527" y="0"/>
                    </a:cubicBezTo>
                    <a:cubicBezTo>
                      <a:pt x="524" y="0"/>
                      <a:pt x="522" y="1"/>
                      <a:pt x="522" y="4"/>
                    </a:cubicBezTo>
                    <a:cubicBezTo>
                      <a:pt x="522" y="7"/>
                      <a:pt x="524" y="9"/>
                      <a:pt x="527" y="9"/>
                    </a:cubicBezTo>
                    <a:cubicBezTo>
                      <a:pt x="540" y="9"/>
                      <a:pt x="540" y="9"/>
                      <a:pt x="540" y="9"/>
                    </a:cubicBezTo>
                    <a:cubicBezTo>
                      <a:pt x="540" y="61"/>
                      <a:pt x="540" y="61"/>
                      <a:pt x="540" y="61"/>
                    </a:cubicBezTo>
                    <a:cubicBezTo>
                      <a:pt x="527" y="61"/>
                      <a:pt x="527" y="61"/>
                      <a:pt x="527" y="61"/>
                    </a:cubicBezTo>
                    <a:cubicBezTo>
                      <a:pt x="524" y="61"/>
                      <a:pt x="522" y="62"/>
                      <a:pt x="522" y="66"/>
                    </a:cubicBezTo>
                    <a:cubicBezTo>
                      <a:pt x="522" y="69"/>
                      <a:pt x="524" y="70"/>
                      <a:pt x="527" y="70"/>
                    </a:cubicBezTo>
                    <a:cubicBezTo>
                      <a:pt x="562" y="70"/>
                      <a:pt x="562" y="70"/>
                      <a:pt x="562" y="70"/>
                    </a:cubicBezTo>
                    <a:cubicBezTo>
                      <a:pt x="565" y="70"/>
                      <a:pt x="567" y="69"/>
                      <a:pt x="567" y="66"/>
                    </a:cubicBezTo>
                    <a:moveTo>
                      <a:pt x="558" y="170"/>
                    </a:moveTo>
                    <a:cubicBezTo>
                      <a:pt x="531" y="170"/>
                      <a:pt x="531" y="170"/>
                      <a:pt x="531" y="170"/>
                    </a:cubicBezTo>
                    <a:cubicBezTo>
                      <a:pt x="531" y="117"/>
                      <a:pt x="531" y="117"/>
                      <a:pt x="531" y="117"/>
                    </a:cubicBezTo>
                    <a:cubicBezTo>
                      <a:pt x="558" y="117"/>
                      <a:pt x="558" y="117"/>
                      <a:pt x="558" y="117"/>
                    </a:cubicBezTo>
                    <a:lnTo>
                      <a:pt x="558" y="170"/>
                    </a:lnTo>
                    <a:close/>
                    <a:moveTo>
                      <a:pt x="567" y="170"/>
                    </a:moveTo>
                    <a:cubicBezTo>
                      <a:pt x="567" y="117"/>
                      <a:pt x="567" y="117"/>
                      <a:pt x="567" y="117"/>
                    </a:cubicBezTo>
                    <a:cubicBezTo>
                      <a:pt x="567" y="113"/>
                      <a:pt x="563" y="108"/>
                      <a:pt x="558" y="108"/>
                    </a:cubicBezTo>
                    <a:cubicBezTo>
                      <a:pt x="531" y="108"/>
                      <a:pt x="531" y="108"/>
                      <a:pt x="531" y="108"/>
                    </a:cubicBezTo>
                    <a:cubicBezTo>
                      <a:pt x="526" y="108"/>
                      <a:pt x="522" y="113"/>
                      <a:pt x="522" y="117"/>
                    </a:cubicBezTo>
                    <a:cubicBezTo>
                      <a:pt x="522" y="170"/>
                      <a:pt x="522" y="170"/>
                      <a:pt x="522" y="170"/>
                    </a:cubicBezTo>
                    <a:cubicBezTo>
                      <a:pt x="522" y="175"/>
                      <a:pt x="526" y="179"/>
                      <a:pt x="531" y="179"/>
                    </a:cubicBezTo>
                    <a:cubicBezTo>
                      <a:pt x="558" y="179"/>
                      <a:pt x="558" y="179"/>
                      <a:pt x="558" y="179"/>
                    </a:cubicBezTo>
                    <a:cubicBezTo>
                      <a:pt x="563" y="179"/>
                      <a:pt x="567" y="175"/>
                      <a:pt x="567" y="170"/>
                    </a:cubicBezTo>
                    <a:moveTo>
                      <a:pt x="567" y="283"/>
                    </a:moveTo>
                    <a:cubicBezTo>
                      <a:pt x="567" y="260"/>
                      <a:pt x="567" y="260"/>
                      <a:pt x="567" y="260"/>
                    </a:cubicBezTo>
                    <a:cubicBezTo>
                      <a:pt x="567" y="258"/>
                      <a:pt x="566" y="256"/>
                      <a:pt x="562" y="256"/>
                    </a:cubicBezTo>
                    <a:cubicBezTo>
                      <a:pt x="559" y="256"/>
                      <a:pt x="558" y="258"/>
                      <a:pt x="558" y="260"/>
                    </a:cubicBezTo>
                    <a:cubicBezTo>
                      <a:pt x="558" y="279"/>
                      <a:pt x="558" y="279"/>
                      <a:pt x="558" y="279"/>
                    </a:cubicBezTo>
                    <a:cubicBezTo>
                      <a:pt x="549" y="279"/>
                      <a:pt x="549" y="279"/>
                      <a:pt x="549" y="279"/>
                    </a:cubicBezTo>
                    <a:cubicBezTo>
                      <a:pt x="549" y="217"/>
                      <a:pt x="549" y="217"/>
                      <a:pt x="549" y="217"/>
                    </a:cubicBezTo>
                    <a:cubicBezTo>
                      <a:pt x="527" y="217"/>
                      <a:pt x="527" y="217"/>
                      <a:pt x="527" y="217"/>
                    </a:cubicBezTo>
                    <a:cubicBezTo>
                      <a:pt x="524" y="217"/>
                      <a:pt x="522" y="218"/>
                      <a:pt x="522" y="222"/>
                    </a:cubicBezTo>
                    <a:cubicBezTo>
                      <a:pt x="522" y="225"/>
                      <a:pt x="524" y="226"/>
                      <a:pt x="527" y="226"/>
                    </a:cubicBezTo>
                    <a:cubicBezTo>
                      <a:pt x="540" y="226"/>
                      <a:pt x="540" y="226"/>
                      <a:pt x="540" y="226"/>
                    </a:cubicBezTo>
                    <a:cubicBezTo>
                      <a:pt x="540" y="279"/>
                      <a:pt x="540" y="279"/>
                      <a:pt x="540" y="279"/>
                    </a:cubicBezTo>
                    <a:cubicBezTo>
                      <a:pt x="527" y="279"/>
                      <a:pt x="527" y="279"/>
                      <a:pt x="527" y="279"/>
                    </a:cubicBezTo>
                    <a:cubicBezTo>
                      <a:pt x="524" y="279"/>
                      <a:pt x="522" y="280"/>
                      <a:pt x="522" y="283"/>
                    </a:cubicBezTo>
                    <a:cubicBezTo>
                      <a:pt x="522" y="286"/>
                      <a:pt x="524" y="288"/>
                      <a:pt x="527" y="288"/>
                    </a:cubicBezTo>
                    <a:cubicBezTo>
                      <a:pt x="562" y="288"/>
                      <a:pt x="562" y="288"/>
                      <a:pt x="562" y="288"/>
                    </a:cubicBezTo>
                    <a:cubicBezTo>
                      <a:pt x="565" y="288"/>
                      <a:pt x="567" y="286"/>
                      <a:pt x="567" y="283"/>
                    </a:cubicBezTo>
                  </a:path>
                </a:pathLst>
              </a:custGeom>
              <a:solidFill>
                <a:schemeClr val="accent5"/>
              </a:solidFill>
              <a:ln>
                <a:noFill/>
              </a:ln>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60" name="Freeform 53"/>
              <p:cNvSpPr>
                <a:spLocks/>
              </p:cNvSpPr>
              <p:nvPr/>
            </p:nvSpPr>
            <p:spPr bwMode="auto">
              <a:xfrm>
                <a:off x="10547759" y="2255511"/>
                <a:ext cx="233696" cy="166595"/>
              </a:xfrm>
              <a:custGeom>
                <a:avLst/>
                <a:gdLst>
                  <a:gd name="T0" fmla="*/ 126 w 504"/>
                  <a:gd name="T1" fmla="*/ 336 h 359"/>
                  <a:gd name="T2" fmla="*/ 316 w 504"/>
                  <a:gd name="T3" fmla="*/ 233 h 359"/>
                  <a:gd name="T4" fmla="*/ 311 w 504"/>
                  <a:gd name="T5" fmla="*/ 132 h 359"/>
                  <a:gd name="T6" fmla="*/ 396 w 504"/>
                  <a:gd name="T7" fmla="*/ 89 h 359"/>
                  <a:gd name="T8" fmla="*/ 486 w 504"/>
                  <a:gd name="T9" fmla="*/ 44 h 359"/>
                  <a:gd name="T10" fmla="*/ 496 w 504"/>
                  <a:gd name="T11" fmla="*/ 20 h 359"/>
                  <a:gd name="T12" fmla="*/ 494 w 504"/>
                  <a:gd name="T13" fmla="*/ 16 h 359"/>
                  <a:gd name="T14" fmla="*/ 469 w 504"/>
                  <a:gd name="T15" fmla="*/ 9 h 359"/>
                  <a:gd name="T16" fmla="*/ 291 w 504"/>
                  <a:gd name="T17" fmla="*/ 97 h 359"/>
                  <a:gd name="T18" fmla="*/ 213 w 504"/>
                  <a:gd name="T19" fmla="*/ 43 h 359"/>
                  <a:gd name="T20" fmla="*/ 24 w 504"/>
                  <a:gd name="T21" fmla="*/ 146 h 359"/>
                  <a:gd name="T22" fmla="*/ 126 w 504"/>
                  <a:gd name="T23" fmla="*/ 336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4" h="359">
                    <a:moveTo>
                      <a:pt x="126" y="336"/>
                    </a:moveTo>
                    <a:cubicBezTo>
                      <a:pt x="207" y="359"/>
                      <a:pt x="292" y="313"/>
                      <a:pt x="316" y="233"/>
                    </a:cubicBezTo>
                    <a:cubicBezTo>
                      <a:pt x="326" y="198"/>
                      <a:pt x="323" y="163"/>
                      <a:pt x="311" y="132"/>
                    </a:cubicBezTo>
                    <a:cubicBezTo>
                      <a:pt x="396" y="89"/>
                      <a:pt x="396" y="89"/>
                      <a:pt x="396" y="89"/>
                    </a:cubicBezTo>
                    <a:cubicBezTo>
                      <a:pt x="486" y="44"/>
                      <a:pt x="486" y="44"/>
                      <a:pt x="486" y="44"/>
                    </a:cubicBezTo>
                    <a:cubicBezTo>
                      <a:pt x="486" y="44"/>
                      <a:pt x="504" y="36"/>
                      <a:pt x="496" y="20"/>
                    </a:cubicBezTo>
                    <a:cubicBezTo>
                      <a:pt x="494" y="16"/>
                      <a:pt x="494" y="16"/>
                      <a:pt x="494" y="16"/>
                    </a:cubicBezTo>
                    <a:cubicBezTo>
                      <a:pt x="494" y="16"/>
                      <a:pt x="486" y="0"/>
                      <a:pt x="469" y="9"/>
                    </a:cubicBezTo>
                    <a:cubicBezTo>
                      <a:pt x="291" y="97"/>
                      <a:pt x="291" y="97"/>
                      <a:pt x="291" y="97"/>
                    </a:cubicBezTo>
                    <a:cubicBezTo>
                      <a:pt x="272" y="72"/>
                      <a:pt x="245" y="53"/>
                      <a:pt x="213" y="43"/>
                    </a:cubicBezTo>
                    <a:cubicBezTo>
                      <a:pt x="132" y="19"/>
                      <a:pt x="48" y="65"/>
                      <a:pt x="24" y="146"/>
                    </a:cubicBezTo>
                    <a:cubicBezTo>
                      <a:pt x="0" y="227"/>
                      <a:pt x="46" y="312"/>
                      <a:pt x="126" y="336"/>
                    </a:cubicBezTo>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61" name="Freeform 54"/>
              <p:cNvSpPr>
                <a:spLocks/>
              </p:cNvSpPr>
              <p:nvPr/>
            </p:nvSpPr>
            <p:spPr bwMode="auto">
              <a:xfrm>
                <a:off x="10559328" y="2276335"/>
                <a:ext cx="134202" cy="133045"/>
              </a:xfrm>
              <a:custGeom>
                <a:avLst/>
                <a:gdLst>
                  <a:gd name="T0" fmla="*/ 180 w 288"/>
                  <a:gd name="T1" fmla="*/ 21 h 288"/>
                  <a:gd name="T2" fmla="*/ 20 w 288"/>
                  <a:gd name="T3" fmla="*/ 108 h 288"/>
                  <a:gd name="T4" fmla="*/ 107 w 288"/>
                  <a:gd name="T5" fmla="*/ 268 h 288"/>
                  <a:gd name="T6" fmla="*/ 267 w 288"/>
                  <a:gd name="T7" fmla="*/ 181 h 288"/>
                  <a:gd name="T8" fmla="*/ 180 w 288"/>
                  <a:gd name="T9" fmla="*/ 21 h 288"/>
                </a:gdLst>
                <a:ahLst/>
                <a:cxnLst>
                  <a:cxn ang="0">
                    <a:pos x="T0" y="T1"/>
                  </a:cxn>
                  <a:cxn ang="0">
                    <a:pos x="T2" y="T3"/>
                  </a:cxn>
                  <a:cxn ang="0">
                    <a:pos x="T4" y="T5"/>
                  </a:cxn>
                  <a:cxn ang="0">
                    <a:pos x="T6" y="T7"/>
                  </a:cxn>
                  <a:cxn ang="0">
                    <a:pos x="T8" y="T9"/>
                  </a:cxn>
                </a:cxnLst>
                <a:rect l="0" t="0" r="r" b="b"/>
                <a:pathLst>
                  <a:path w="288" h="288">
                    <a:moveTo>
                      <a:pt x="180" y="21"/>
                    </a:moveTo>
                    <a:cubicBezTo>
                      <a:pt x="112" y="0"/>
                      <a:pt x="40" y="39"/>
                      <a:pt x="20" y="108"/>
                    </a:cubicBezTo>
                    <a:cubicBezTo>
                      <a:pt x="0" y="176"/>
                      <a:pt x="39" y="248"/>
                      <a:pt x="107" y="268"/>
                    </a:cubicBezTo>
                    <a:cubicBezTo>
                      <a:pt x="175" y="288"/>
                      <a:pt x="247" y="249"/>
                      <a:pt x="267" y="181"/>
                    </a:cubicBezTo>
                    <a:cubicBezTo>
                      <a:pt x="288" y="113"/>
                      <a:pt x="249" y="41"/>
                      <a:pt x="180" y="21"/>
                    </a:cubicBezTo>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62" name="Freeform 55"/>
              <p:cNvSpPr>
                <a:spLocks noEditPoints="1"/>
              </p:cNvSpPr>
              <p:nvPr/>
            </p:nvSpPr>
            <p:spPr bwMode="auto">
              <a:xfrm>
                <a:off x="10539661" y="2276335"/>
                <a:ext cx="262620" cy="133045"/>
              </a:xfrm>
              <a:custGeom>
                <a:avLst/>
                <a:gdLst>
                  <a:gd name="T0" fmla="*/ 27 w 567"/>
                  <a:gd name="T1" fmla="*/ 0 h 288"/>
                  <a:gd name="T2" fmla="*/ 0 w 567"/>
                  <a:gd name="T3" fmla="*/ 66 h 288"/>
                  <a:gd name="T4" fmla="*/ 36 w 567"/>
                  <a:gd name="T5" fmla="*/ 152 h 288"/>
                  <a:gd name="T6" fmla="*/ 18 w 567"/>
                  <a:gd name="T7" fmla="*/ 118 h 288"/>
                  <a:gd name="T8" fmla="*/ 36 w 567"/>
                  <a:gd name="T9" fmla="*/ 279 h 288"/>
                  <a:gd name="T10" fmla="*/ 36 w 567"/>
                  <a:gd name="T11" fmla="*/ 218 h 288"/>
                  <a:gd name="T12" fmla="*/ 101 w 567"/>
                  <a:gd name="T13" fmla="*/ 62 h 288"/>
                  <a:gd name="T14" fmla="*/ 101 w 567"/>
                  <a:gd name="T15" fmla="*/ 0 h 288"/>
                  <a:gd name="T16" fmla="*/ 110 w 567"/>
                  <a:gd name="T17" fmla="*/ 175 h 288"/>
                  <a:gd name="T18" fmla="*/ 70 w 567"/>
                  <a:gd name="T19" fmla="*/ 109 h 288"/>
                  <a:gd name="T20" fmla="*/ 70 w 567"/>
                  <a:gd name="T21" fmla="*/ 180 h 288"/>
                  <a:gd name="T22" fmla="*/ 101 w 567"/>
                  <a:gd name="T23" fmla="*/ 279 h 288"/>
                  <a:gd name="T24" fmla="*/ 83 w 567"/>
                  <a:gd name="T25" fmla="*/ 279 h 288"/>
                  <a:gd name="T26" fmla="*/ 140 w 567"/>
                  <a:gd name="T27" fmla="*/ 62 h 288"/>
                  <a:gd name="T28" fmla="*/ 140 w 567"/>
                  <a:gd name="T29" fmla="*/ 0 h 288"/>
                  <a:gd name="T30" fmla="*/ 176 w 567"/>
                  <a:gd name="T31" fmla="*/ 152 h 288"/>
                  <a:gd name="T32" fmla="*/ 131 w 567"/>
                  <a:gd name="T33" fmla="*/ 114 h 288"/>
                  <a:gd name="T34" fmla="*/ 171 w 567"/>
                  <a:gd name="T35" fmla="*/ 180 h 288"/>
                  <a:gd name="T36" fmla="*/ 176 w 567"/>
                  <a:gd name="T37" fmla="*/ 279 h 288"/>
                  <a:gd name="T38" fmla="*/ 167 w 567"/>
                  <a:gd name="T39" fmla="*/ 288 h 288"/>
                  <a:gd name="T40" fmla="*/ 223 w 567"/>
                  <a:gd name="T41" fmla="*/ 62 h 288"/>
                  <a:gd name="T42" fmla="*/ 201 w 567"/>
                  <a:gd name="T43" fmla="*/ 62 h 288"/>
                  <a:gd name="T44" fmla="*/ 205 w 567"/>
                  <a:gd name="T45" fmla="*/ 118 h 288"/>
                  <a:gd name="T46" fmla="*/ 196 w 567"/>
                  <a:gd name="T47" fmla="*/ 118 h 288"/>
                  <a:gd name="T48" fmla="*/ 205 w 567"/>
                  <a:gd name="T49" fmla="*/ 227 h 288"/>
                  <a:gd name="T50" fmla="*/ 196 w 567"/>
                  <a:gd name="T51" fmla="*/ 227 h 288"/>
                  <a:gd name="T52" fmla="*/ 270 w 567"/>
                  <a:gd name="T53" fmla="*/ 10 h 288"/>
                  <a:gd name="T54" fmla="*/ 261 w 567"/>
                  <a:gd name="T55" fmla="*/ 10 h 288"/>
                  <a:gd name="T56" fmla="*/ 302 w 567"/>
                  <a:gd name="T57" fmla="*/ 148 h 288"/>
                  <a:gd name="T58" fmla="*/ 266 w 567"/>
                  <a:gd name="T59" fmla="*/ 118 h 288"/>
                  <a:gd name="T60" fmla="*/ 306 w 567"/>
                  <a:gd name="T61" fmla="*/ 175 h 288"/>
                  <a:gd name="T62" fmla="*/ 306 w 567"/>
                  <a:gd name="T63" fmla="*/ 227 h 288"/>
                  <a:gd name="T64" fmla="*/ 306 w 567"/>
                  <a:gd name="T65" fmla="*/ 279 h 288"/>
                  <a:gd name="T66" fmla="*/ 354 w 567"/>
                  <a:gd name="T67" fmla="*/ 0 h 288"/>
                  <a:gd name="T68" fmla="*/ 327 w 567"/>
                  <a:gd name="T69" fmla="*/ 66 h 288"/>
                  <a:gd name="T70" fmla="*/ 362 w 567"/>
                  <a:gd name="T71" fmla="*/ 118 h 288"/>
                  <a:gd name="T72" fmla="*/ 327 w 567"/>
                  <a:gd name="T73" fmla="*/ 171 h 288"/>
                  <a:gd name="T74" fmla="*/ 362 w 567"/>
                  <a:gd name="T75" fmla="*/ 261 h 288"/>
                  <a:gd name="T76" fmla="*/ 344 w 567"/>
                  <a:gd name="T77" fmla="*/ 227 h 288"/>
                  <a:gd name="T78" fmla="*/ 428 w 567"/>
                  <a:gd name="T79" fmla="*/ 62 h 288"/>
                  <a:gd name="T80" fmla="*/ 428 w 567"/>
                  <a:gd name="T81" fmla="*/ 0 h 288"/>
                  <a:gd name="T82" fmla="*/ 428 w 567"/>
                  <a:gd name="T83" fmla="*/ 171 h 288"/>
                  <a:gd name="T84" fmla="*/ 428 w 567"/>
                  <a:gd name="T85" fmla="*/ 109 h 288"/>
                  <a:gd name="T86" fmla="*/ 437 w 567"/>
                  <a:gd name="T87" fmla="*/ 284 h 288"/>
                  <a:gd name="T88" fmla="*/ 396 w 567"/>
                  <a:gd name="T89" fmla="*/ 218 h 288"/>
                  <a:gd name="T90" fmla="*/ 396 w 567"/>
                  <a:gd name="T91" fmla="*/ 288 h 288"/>
                  <a:gd name="T92" fmla="*/ 493 w 567"/>
                  <a:gd name="T93" fmla="*/ 62 h 288"/>
                  <a:gd name="T94" fmla="*/ 475 w 567"/>
                  <a:gd name="T95" fmla="*/ 62 h 288"/>
                  <a:gd name="T96" fmla="*/ 502 w 567"/>
                  <a:gd name="T97" fmla="*/ 152 h 288"/>
                  <a:gd name="T98" fmla="*/ 457 w 567"/>
                  <a:gd name="T99" fmla="*/ 114 h 288"/>
                  <a:gd name="T100" fmla="*/ 497 w 567"/>
                  <a:gd name="T101" fmla="*/ 180 h 288"/>
                  <a:gd name="T102" fmla="*/ 502 w 567"/>
                  <a:gd name="T103" fmla="*/ 279 h 288"/>
                  <a:gd name="T104" fmla="*/ 493 w 567"/>
                  <a:gd name="T105" fmla="*/ 288 h 288"/>
                  <a:gd name="T106" fmla="*/ 549 w 567"/>
                  <a:gd name="T107" fmla="*/ 62 h 288"/>
                  <a:gd name="T108" fmla="*/ 527 w 567"/>
                  <a:gd name="T109" fmla="*/ 62 h 288"/>
                  <a:gd name="T110" fmla="*/ 531 w 567"/>
                  <a:gd name="T111" fmla="*/ 118 h 288"/>
                  <a:gd name="T112" fmla="*/ 522 w 567"/>
                  <a:gd name="T113" fmla="*/ 118 h 288"/>
                  <a:gd name="T114" fmla="*/ 563 w 567"/>
                  <a:gd name="T115" fmla="*/ 257 h 288"/>
                  <a:gd name="T116" fmla="*/ 527 w 567"/>
                  <a:gd name="T117" fmla="*/ 227 h 288"/>
                  <a:gd name="T118" fmla="*/ 567 w 567"/>
                  <a:gd name="T119" fmla="*/ 28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7" h="288">
                    <a:moveTo>
                      <a:pt x="45" y="66"/>
                    </a:moveTo>
                    <a:cubicBezTo>
                      <a:pt x="45" y="44"/>
                      <a:pt x="45" y="44"/>
                      <a:pt x="45" y="44"/>
                    </a:cubicBezTo>
                    <a:cubicBezTo>
                      <a:pt x="45" y="41"/>
                      <a:pt x="44" y="39"/>
                      <a:pt x="41" y="39"/>
                    </a:cubicBezTo>
                    <a:cubicBezTo>
                      <a:pt x="37" y="39"/>
                      <a:pt x="36" y="41"/>
                      <a:pt x="36" y="44"/>
                    </a:cubicBezTo>
                    <a:cubicBezTo>
                      <a:pt x="36" y="62"/>
                      <a:pt x="36" y="62"/>
                      <a:pt x="36" y="62"/>
                    </a:cubicBezTo>
                    <a:cubicBezTo>
                      <a:pt x="27" y="62"/>
                      <a:pt x="27" y="62"/>
                      <a:pt x="27" y="62"/>
                    </a:cubicBezTo>
                    <a:cubicBezTo>
                      <a:pt x="27" y="0"/>
                      <a:pt x="27" y="0"/>
                      <a:pt x="27" y="0"/>
                    </a:cubicBezTo>
                    <a:cubicBezTo>
                      <a:pt x="5" y="0"/>
                      <a:pt x="5" y="0"/>
                      <a:pt x="5" y="0"/>
                    </a:cubicBezTo>
                    <a:cubicBezTo>
                      <a:pt x="3" y="0"/>
                      <a:pt x="0" y="2"/>
                      <a:pt x="0" y="5"/>
                    </a:cubicBezTo>
                    <a:cubicBezTo>
                      <a:pt x="0" y="8"/>
                      <a:pt x="3" y="10"/>
                      <a:pt x="5" y="10"/>
                    </a:cubicBezTo>
                    <a:cubicBezTo>
                      <a:pt x="18" y="10"/>
                      <a:pt x="18" y="10"/>
                      <a:pt x="18" y="10"/>
                    </a:cubicBezTo>
                    <a:cubicBezTo>
                      <a:pt x="18" y="62"/>
                      <a:pt x="18" y="62"/>
                      <a:pt x="18" y="62"/>
                    </a:cubicBezTo>
                    <a:cubicBezTo>
                      <a:pt x="5" y="62"/>
                      <a:pt x="5" y="62"/>
                      <a:pt x="5" y="62"/>
                    </a:cubicBezTo>
                    <a:cubicBezTo>
                      <a:pt x="3" y="62"/>
                      <a:pt x="0" y="63"/>
                      <a:pt x="0" y="66"/>
                    </a:cubicBezTo>
                    <a:cubicBezTo>
                      <a:pt x="0" y="70"/>
                      <a:pt x="3" y="71"/>
                      <a:pt x="5" y="71"/>
                    </a:cubicBezTo>
                    <a:cubicBezTo>
                      <a:pt x="41" y="71"/>
                      <a:pt x="41" y="71"/>
                      <a:pt x="41" y="71"/>
                    </a:cubicBezTo>
                    <a:cubicBezTo>
                      <a:pt x="43" y="71"/>
                      <a:pt x="45" y="70"/>
                      <a:pt x="45" y="66"/>
                    </a:cubicBezTo>
                    <a:moveTo>
                      <a:pt x="45" y="175"/>
                    </a:moveTo>
                    <a:cubicBezTo>
                      <a:pt x="45" y="152"/>
                      <a:pt x="45" y="152"/>
                      <a:pt x="45" y="152"/>
                    </a:cubicBezTo>
                    <a:cubicBezTo>
                      <a:pt x="45" y="150"/>
                      <a:pt x="44" y="148"/>
                      <a:pt x="41" y="148"/>
                    </a:cubicBezTo>
                    <a:cubicBezTo>
                      <a:pt x="37" y="148"/>
                      <a:pt x="36" y="150"/>
                      <a:pt x="36" y="152"/>
                    </a:cubicBezTo>
                    <a:cubicBezTo>
                      <a:pt x="36" y="171"/>
                      <a:pt x="36" y="171"/>
                      <a:pt x="36" y="171"/>
                    </a:cubicBezTo>
                    <a:cubicBezTo>
                      <a:pt x="27" y="171"/>
                      <a:pt x="27" y="171"/>
                      <a:pt x="27" y="171"/>
                    </a:cubicBezTo>
                    <a:cubicBezTo>
                      <a:pt x="27" y="109"/>
                      <a:pt x="27" y="109"/>
                      <a:pt x="27" y="109"/>
                    </a:cubicBezTo>
                    <a:cubicBezTo>
                      <a:pt x="5" y="109"/>
                      <a:pt x="5" y="109"/>
                      <a:pt x="5" y="109"/>
                    </a:cubicBezTo>
                    <a:cubicBezTo>
                      <a:pt x="3" y="109"/>
                      <a:pt x="0" y="110"/>
                      <a:pt x="0" y="114"/>
                    </a:cubicBezTo>
                    <a:cubicBezTo>
                      <a:pt x="0" y="117"/>
                      <a:pt x="3" y="118"/>
                      <a:pt x="5" y="118"/>
                    </a:cubicBezTo>
                    <a:cubicBezTo>
                      <a:pt x="18" y="118"/>
                      <a:pt x="18" y="118"/>
                      <a:pt x="18" y="118"/>
                    </a:cubicBezTo>
                    <a:cubicBezTo>
                      <a:pt x="18" y="171"/>
                      <a:pt x="18" y="171"/>
                      <a:pt x="18" y="171"/>
                    </a:cubicBezTo>
                    <a:cubicBezTo>
                      <a:pt x="5" y="171"/>
                      <a:pt x="5" y="171"/>
                      <a:pt x="5" y="171"/>
                    </a:cubicBezTo>
                    <a:cubicBezTo>
                      <a:pt x="3" y="171"/>
                      <a:pt x="0" y="172"/>
                      <a:pt x="0" y="175"/>
                    </a:cubicBezTo>
                    <a:cubicBezTo>
                      <a:pt x="0" y="178"/>
                      <a:pt x="3" y="180"/>
                      <a:pt x="5" y="180"/>
                    </a:cubicBezTo>
                    <a:cubicBezTo>
                      <a:pt x="41" y="180"/>
                      <a:pt x="41" y="180"/>
                      <a:pt x="41" y="180"/>
                    </a:cubicBezTo>
                    <a:cubicBezTo>
                      <a:pt x="43" y="180"/>
                      <a:pt x="45" y="178"/>
                      <a:pt x="45" y="175"/>
                    </a:cubicBezTo>
                    <a:moveTo>
                      <a:pt x="36" y="279"/>
                    </a:moveTo>
                    <a:cubicBezTo>
                      <a:pt x="9" y="279"/>
                      <a:pt x="9" y="279"/>
                      <a:pt x="9" y="279"/>
                    </a:cubicBezTo>
                    <a:cubicBezTo>
                      <a:pt x="9" y="227"/>
                      <a:pt x="9" y="227"/>
                      <a:pt x="9" y="227"/>
                    </a:cubicBezTo>
                    <a:cubicBezTo>
                      <a:pt x="36" y="227"/>
                      <a:pt x="36" y="227"/>
                      <a:pt x="36" y="227"/>
                    </a:cubicBezTo>
                    <a:lnTo>
                      <a:pt x="36" y="279"/>
                    </a:lnTo>
                    <a:close/>
                    <a:moveTo>
                      <a:pt x="45" y="279"/>
                    </a:moveTo>
                    <a:cubicBezTo>
                      <a:pt x="45" y="227"/>
                      <a:pt x="45" y="227"/>
                      <a:pt x="45" y="227"/>
                    </a:cubicBezTo>
                    <a:cubicBezTo>
                      <a:pt x="45" y="222"/>
                      <a:pt x="41" y="218"/>
                      <a:pt x="36" y="218"/>
                    </a:cubicBezTo>
                    <a:cubicBezTo>
                      <a:pt x="9" y="218"/>
                      <a:pt x="9" y="218"/>
                      <a:pt x="9" y="218"/>
                    </a:cubicBezTo>
                    <a:cubicBezTo>
                      <a:pt x="4" y="218"/>
                      <a:pt x="0" y="222"/>
                      <a:pt x="0" y="227"/>
                    </a:cubicBezTo>
                    <a:cubicBezTo>
                      <a:pt x="0" y="279"/>
                      <a:pt x="0" y="279"/>
                      <a:pt x="0" y="279"/>
                    </a:cubicBezTo>
                    <a:cubicBezTo>
                      <a:pt x="0" y="284"/>
                      <a:pt x="4" y="288"/>
                      <a:pt x="9" y="288"/>
                    </a:cubicBezTo>
                    <a:cubicBezTo>
                      <a:pt x="36" y="288"/>
                      <a:pt x="36" y="288"/>
                      <a:pt x="36" y="288"/>
                    </a:cubicBezTo>
                    <a:cubicBezTo>
                      <a:pt x="41" y="288"/>
                      <a:pt x="45" y="284"/>
                      <a:pt x="45" y="279"/>
                    </a:cubicBezTo>
                    <a:moveTo>
                      <a:pt x="101" y="62"/>
                    </a:moveTo>
                    <a:cubicBezTo>
                      <a:pt x="75" y="62"/>
                      <a:pt x="75" y="62"/>
                      <a:pt x="75" y="62"/>
                    </a:cubicBezTo>
                    <a:cubicBezTo>
                      <a:pt x="75" y="10"/>
                      <a:pt x="75" y="10"/>
                      <a:pt x="75" y="10"/>
                    </a:cubicBezTo>
                    <a:cubicBezTo>
                      <a:pt x="101" y="10"/>
                      <a:pt x="101" y="10"/>
                      <a:pt x="101" y="10"/>
                    </a:cubicBezTo>
                    <a:lnTo>
                      <a:pt x="101" y="62"/>
                    </a:lnTo>
                    <a:close/>
                    <a:moveTo>
                      <a:pt x="110" y="62"/>
                    </a:moveTo>
                    <a:cubicBezTo>
                      <a:pt x="110" y="10"/>
                      <a:pt x="110" y="10"/>
                      <a:pt x="110" y="10"/>
                    </a:cubicBezTo>
                    <a:cubicBezTo>
                      <a:pt x="110" y="5"/>
                      <a:pt x="106" y="0"/>
                      <a:pt x="101" y="0"/>
                    </a:cubicBezTo>
                    <a:cubicBezTo>
                      <a:pt x="75" y="0"/>
                      <a:pt x="75" y="0"/>
                      <a:pt x="75" y="0"/>
                    </a:cubicBezTo>
                    <a:cubicBezTo>
                      <a:pt x="70" y="0"/>
                      <a:pt x="66" y="5"/>
                      <a:pt x="66" y="10"/>
                    </a:cubicBezTo>
                    <a:cubicBezTo>
                      <a:pt x="66" y="62"/>
                      <a:pt x="66" y="62"/>
                      <a:pt x="66" y="62"/>
                    </a:cubicBezTo>
                    <a:cubicBezTo>
                      <a:pt x="66" y="67"/>
                      <a:pt x="70" y="71"/>
                      <a:pt x="75" y="71"/>
                    </a:cubicBezTo>
                    <a:cubicBezTo>
                      <a:pt x="101" y="71"/>
                      <a:pt x="101" y="71"/>
                      <a:pt x="101" y="71"/>
                    </a:cubicBezTo>
                    <a:cubicBezTo>
                      <a:pt x="106" y="71"/>
                      <a:pt x="110" y="67"/>
                      <a:pt x="110" y="62"/>
                    </a:cubicBezTo>
                    <a:moveTo>
                      <a:pt x="110" y="175"/>
                    </a:moveTo>
                    <a:cubicBezTo>
                      <a:pt x="110" y="152"/>
                      <a:pt x="110" y="152"/>
                      <a:pt x="110" y="152"/>
                    </a:cubicBezTo>
                    <a:cubicBezTo>
                      <a:pt x="110" y="150"/>
                      <a:pt x="109" y="148"/>
                      <a:pt x="106" y="148"/>
                    </a:cubicBezTo>
                    <a:cubicBezTo>
                      <a:pt x="103" y="148"/>
                      <a:pt x="101" y="150"/>
                      <a:pt x="101" y="152"/>
                    </a:cubicBezTo>
                    <a:cubicBezTo>
                      <a:pt x="101" y="171"/>
                      <a:pt x="101" y="171"/>
                      <a:pt x="101" y="171"/>
                    </a:cubicBezTo>
                    <a:cubicBezTo>
                      <a:pt x="93" y="171"/>
                      <a:pt x="93" y="171"/>
                      <a:pt x="93" y="171"/>
                    </a:cubicBezTo>
                    <a:cubicBezTo>
                      <a:pt x="93" y="109"/>
                      <a:pt x="93" y="109"/>
                      <a:pt x="93" y="109"/>
                    </a:cubicBezTo>
                    <a:cubicBezTo>
                      <a:pt x="70" y="109"/>
                      <a:pt x="70" y="109"/>
                      <a:pt x="70" y="109"/>
                    </a:cubicBezTo>
                    <a:cubicBezTo>
                      <a:pt x="68" y="109"/>
                      <a:pt x="66" y="110"/>
                      <a:pt x="66" y="114"/>
                    </a:cubicBezTo>
                    <a:cubicBezTo>
                      <a:pt x="66" y="117"/>
                      <a:pt x="68" y="118"/>
                      <a:pt x="70" y="118"/>
                    </a:cubicBezTo>
                    <a:cubicBezTo>
                      <a:pt x="83" y="118"/>
                      <a:pt x="83" y="118"/>
                      <a:pt x="83" y="118"/>
                    </a:cubicBezTo>
                    <a:cubicBezTo>
                      <a:pt x="83" y="171"/>
                      <a:pt x="83" y="171"/>
                      <a:pt x="83" y="171"/>
                    </a:cubicBezTo>
                    <a:cubicBezTo>
                      <a:pt x="70" y="171"/>
                      <a:pt x="70" y="171"/>
                      <a:pt x="70" y="171"/>
                    </a:cubicBezTo>
                    <a:cubicBezTo>
                      <a:pt x="68" y="171"/>
                      <a:pt x="66" y="172"/>
                      <a:pt x="66" y="175"/>
                    </a:cubicBezTo>
                    <a:cubicBezTo>
                      <a:pt x="66" y="178"/>
                      <a:pt x="68" y="180"/>
                      <a:pt x="70" y="180"/>
                    </a:cubicBezTo>
                    <a:cubicBezTo>
                      <a:pt x="106" y="180"/>
                      <a:pt x="106" y="180"/>
                      <a:pt x="106" y="180"/>
                    </a:cubicBezTo>
                    <a:cubicBezTo>
                      <a:pt x="108" y="180"/>
                      <a:pt x="110" y="178"/>
                      <a:pt x="110" y="175"/>
                    </a:cubicBezTo>
                    <a:moveTo>
                      <a:pt x="110" y="284"/>
                    </a:moveTo>
                    <a:cubicBezTo>
                      <a:pt x="110" y="261"/>
                      <a:pt x="110" y="261"/>
                      <a:pt x="110" y="261"/>
                    </a:cubicBezTo>
                    <a:cubicBezTo>
                      <a:pt x="110" y="258"/>
                      <a:pt x="109" y="257"/>
                      <a:pt x="106" y="257"/>
                    </a:cubicBezTo>
                    <a:cubicBezTo>
                      <a:pt x="103" y="257"/>
                      <a:pt x="101" y="258"/>
                      <a:pt x="101" y="261"/>
                    </a:cubicBezTo>
                    <a:cubicBezTo>
                      <a:pt x="101" y="279"/>
                      <a:pt x="101" y="279"/>
                      <a:pt x="101" y="279"/>
                    </a:cubicBezTo>
                    <a:cubicBezTo>
                      <a:pt x="93" y="279"/>
                      <a:pt x="93" y="279"/>
                      <a:pt x="93" y="279"/>
                    </a:cubicBezTo>
                    <a:cubicBezTo>
                      <a:pt x="93" y="218"/>
                      <a:pt x="93" y="218"/>
                      <a:pt x="93" y="218"/>
                    </a:cubicBezTo>
                    <a:cubicBezTo>
                      <a:pt x="70" y="218"/>
                      <a:pt x="70" y="218"/>
                      <a:pt x="70" y="218"/>
                    </a:cubicBezTo>
                    <a:cubicBezTo>
                      <a:pt x="68" y="218"/>
                      <a:pt x="66" y="219"/>
                      <a:pt x="66" y="222"/>
                    </a:cubicBezTo>
                    <a:cubicBezTo>
                      <a:pt x="66" y="226"/>
                      <a:pt x="68" y="227"/>
                      <a:pt x="70" y="227"/>
                    </a:cubicBezTo>
                    <a:cubicBezTo>
                      <a:pt x="83" y="227"/>
                      <a:pt x="83" y="227"/>
                      <a:pt x="83" y="227"/>
                    </a:cubicBezTo>
                    <a:cubicBezTo>
                      <a:pt x="83" y="279"/>
                      <a:pt x="83" y="279"/>
                      <a:pt x="83" y="279"/>
                    </a:cubicBezTo>
                    <a:cubicBezTo>
                      <a:pt x="70" y="279"/>
                      <a:pt x="70" y="279"/>
                      <a:pt x="70" y="279"/>
                    </a:cubicBezTo>
                    <a:cubicBezTo>
                      <a:pt x="68" y="279"/>
                      <a:pt x="66" y="281"/>
                      <a:pt x="66" y="284"/>
                    </a:cubicBezTo>
                    <a:cubicBezTo>
                      <a:pt x="66" y="287"/>
                      <a:pt x="68" y="288"/>
                      <a:pt x="70" y="288"/>
                    </a:cubicBezTo>
                    <a:cubicBezTo>
                      <a:pt x="106" y="288"/>
                      <a:pt x="106" y="288"/>
                      <a:pt x="106" y="288"/>
                    </a:cubicBezTo>
                    <a:cubicBezTo>
                      <a:pt x="108" y="288"/>
                      <a:pt x="110" y="287"/>
                      <a:pt x="110" y="284"/>
                    </a:cubicBezTo>
                    <a:moveTo>
                      <a:pt x="167" y="62"/>
                    </a:moveTo>
                    <a:cubicBezTo>
                      <a:pt x="140" y="62"/>
                      <a:pt x="140" y="62"/>
                      <a:pt x="140" y="62"/>
                    </a:cubicBezTo>
                    <a:cubicBezTo>
                      <a:pt x="140" y="10"/>
                      <a:pt x="140" y="10"/>
                      <a:pt x="140" y="10"/>
                    </a:cubicBezTo>
                    <a:cubicBezTo>
                      <a:pt x="167" y="10"/>
                      <a:pt x="167" y="10"/>
                      <a:pt x="167" y="10"/>
                    </a:cubicBezTo>
                    <a:lnTo>
                      <a:pt x="167" y="62"/>
                    </a:lnTo>
                    <a:close/>
                    <a:moveTo>
                      <a:pt x="176" y="62"/>
                    </a:moveTo>
                    <a:cubicBezTo>
                      <a:pt x="176" y="10"/>
                      <a:pt x="176" y="10"/>
                      <a:pt x="176" y="10"/>
                    </a:cubicBezTo>
                    <a:cubicBezTo>
                      <a:pt x="176" y="5"/>
                      <a:pt x="172" y="0"/>
                      <a:pt x="167" y="0"/>
                    </a:cubicBezTo>
                    <a:cubicBezTo>
                      <a:pt x="140" y="0"/>
                      <a:pt x="140" y="0"/>
                      <a:pt x="140" y="0"/>
                    </a:cubicBezTo>
                    <a:cubicBezTo>
                      <a:pt x="135" y="0"/>
                      <a:pt x="131" y="5"/>
                      <a:pt x="131" y="10"/>
                    </a:cubicBezTo>
                    <a:cubicBezTo>
                      <a:pt x="131" y="62"/>
                      <a:pt x="131" y="62"/>
                      <a:pt x="131" y="62"/>
                    </a:cubicBezTo>
                    <a:cubicBezTo>
                      <a:pt x="131" y="67"/>
                      <a:pt x="135" y="71"/>
                      <a:pt x="140" y="71"/>
                    </a:cubicBezTo>
                    <a:cubicBezTo>
                      <a:pt x="167" y="71"/>
                      <a:pt x="167" y="71"/>
                      <a:pt x="167" y="71"/>
                    </a:cubicBezTo>
                    <a:cubicBezTo>
                      <a:pt x="172" y="71"/>
                      <a:pt x="176" y="67"/>
                      <a:pt x="176" y="62"/>
                    </a:cubicBezTo>
                    <a:moveTo>
                      <a:pt x="176" y="175"/>
                    </a:moveTo>
                    <a:cubicBezTo>
                      <a:pt x="176" y="152"/>
                      <a:pt x="176" y="152"/>
                      <a:pt x="176" y="152"/>
                    </a:cubicBezTo>
                    <a:cubicBezTo>
                      <a:pt x="176" y="150"/>
                      <a:pt x="174" y="148"/>
                      <a:pt x="171" y="148"/>
                    </a:cubicBezTo>
                    <a:cubicBezTo>
                      <a:pt x="168" y="148"/>
                      <a:pt x="167" y="150"/>
                      <a:pt x="167" y="152"/>
                    </a:cubicBezTo>
                    <a:cubicBezTo>
                      <a:pt x="167" y="171"/>
                      <a:pt x="167" y="171"/>
                      <a:pt x="167" y="171"/>
                    </a:cubicBezTo>
                    <a:cubicBezTo>
                      <a:pt x="158" y="171"/>
                      <a:pt x="158" y="171"/>
                      <a:pt x="158" y="171"/>
                    </a:cubicBezTo>
                    <a:cubicBezTo>
                      <a:pt x="158" y="109"/>
                      <a:pt x="158" y="109"/>
                      <a:pt x="158" y="109"/>
                    </a:cubicBezTo>
                    <a:cubicBezTo>
                      <a:pt x="135" y="109"/>
                      <a:pt x="135" y="109"/>
                      <a:pt x="135" y="109"/>
                    </a:cubicBezTo>
                    <a:cubicBezTo>
                      <a:pt x="133" y="109"/>
                      <a:pt x="131" y="110"/>
                      <a:pt x="131" y="114"/>
                    </a:cubicBezTo>
                    <a:cubicBezTo>
                      <a:pt x="131" y="117"/>
                      <a:pt x="133" y="118"/>
                      <a:pt x="135" y="118"/>
                    </a:cubicBezTo>
                    <a:cubicBezTo>
                      <a:pt x="149" y="118"/>
                      <a:pt x="149" y="118"/>
                      <a:pt x="149" y="118"/>
                    </a:cubicBezTo>
                    <a:cubicBezTo>
                      <a:pt x="149" y="171"/>
                      <a:pt x="149" y="171"/>
                      <a:pt x="149" y="171"/>
                    </a:cubicBezTo>
                    <a:cubicBezTo>
                      <a:pt x="135" y="171"/>
                      <a:pt x="135" y="171"/>
                      <a:pt x="135" y="171"/>
                    </a:cubicBezTo>
                    <a:cubicBezTo>
                      <a:pt x="133" y="171"/>
                      <a:pt x="131" y="172"/>
                      <a:pt x="131" y="175"/>
                    </a:cubicBezTo>
                    <a:cubicBezTo>
                      <a:pt x="131" y="178"/>
                      <a:pt x="133" y="180"/>
                      <a:pt x="135" y="180"/>
                    </a:cubicBezTo>
                    <a:cubicBezTo>
                      <a:pt x="171" y="180"/>
                      <a:pt x="171" y="180"/>
                      <a:pt x="171" y="180"/>
                    </a:cubicBezTo>
                    <a:cubicBezTo>
                      <a:pt x="173" y="180"/>
                      <a:pt x="176" y="178"/>
                      <a:pt x="176" y="175"/>
                    </a:cubicBezTo>
                    <a:moveTo>
                      <a:pt x="167" y="279"/>
                    </a:moveTo>
                    <a:cubicBezTo>
                      <a:pt x="140" y="279"/>
                      <a:pt x="140" y="279"/>
                      <a:pt x="140" y="279"/>
                    </a:cubicBezTo>
                    <a:cubicBezTo>
                      <a:pt x="140" y="227"/>
                      <a:pt x="140" y="227"/>
                      <a:pt x="140" y="227"/>
                    </a:cubicBezTo>
                    <a:cubicBezTo>
                      <a:pt x="167" y="227"/>
                      <a:pt x="167" y="227"/>
                      <a:pt x="167" y="227"/>
                    </a:cubicBezTo>
                    <a:lnTo>
                      <a:pt x="167" y="279"/>
                    </a:lnTo>
                    <a:close/>
                    <a:moveTo>
                      <a:pt x="176" y="279"/>
                    </a:moveTo>
                    <a:cubicBezTo>
                      <a:pt x="176" y="227"/>
                      <a:pt x="176" y="227"/>
                      <a:pt x="176" y="227"/>
                    </a:cubicBezTo>
                    <a:cubicBezTo>
                      <a:pt x="176" y="222"/>
                      <a:pt x="172" y="218"/>
                      <a:pt x="167" y="218"/>
                    </a:cubicBezTo>
                    <a:cubicBezTo>
                      <a:pt x="140" y="218"/>
                      <a:pt x="140" y="218"/>
                      <a:pt x="140" y="218"/>
                    </a:cubicBezTo>
                    <a:cubicBezTo>
                      <a:pt x="135" y="218"/>
                      <a:pt x="131" y="222"/>
                      <a:pt x="131" y="227"/>
                    </a:cubicBezTo>
                    <a:cubicBezTo>
                      <a:pt x="131" y="279"/>
                      <a:pt x="131" y="279"/>
                      <a:pt x="131" y="279"/>
                    </a:cubicBezTo>
                    <a:cubicBezTo>
                      <a:pt x="131" y="284"/>
                      <a:pt x="135" y="288"/>
                      <a:pt x="140" y="288"/>
                    </a:cubicBezTo>
                    <a:cubicBezTo>
                      <a:pt x="167" y="288"/>
                      <a:pt x="167" y="288"/>
                      <a:pt x="167" y="288"/>
                    </a:cubicBezTo>
                    <a:cubicBezTo>
                      <a:pt x="172" y="288"/>
                      <a:pt x="176" y="284"/>
                      <a:pt x="176" y="279"/>
                    </a:cubicBezTo>
                    <a:moveTo>
                      <a:pt x="241" y="66"/>
                    </a:moveTo>
                    <a:cubicBezTo>
                      <a:pt x="241" y="44"/>
                      <a:pt x="241" y="44"/>
                      <a:pt x="241" y="44"/>
                    </a:cubicBezTo>
                    <a:cubicBezTo>
                      <a:pt x="241" y="41"/>
                      <a:pt x="240" y="39"/>
                      <a:pt x="236" y="39"/>
                    </a:cubicBezTo>
                    <a:cubicBezTo>
                      <a:pt x="233" y="39"/>
                      <a:pt x="232" y="41"/>
                      <a:pt x="232" y="44"/>
                    </a:cubicBezTo>
                    <a:cubicBezTo>
                      <a:pt x="232" y="62"/>
                      <a:pt x="232" y="62"/>
                      <a:pt x="232" y="62"/>
                    </a:cubicBezTo>
                    <a:cubicBezTo>
                      <a:pt x="223" y="62"/>
                      <a:pt x="223" y="62"/>
                      <a:pt x="223" y="62"/>
                    </a:cubicBezTo>
                    <a:cubicBezTo>
                      <a:pt x="223" y="0"/>
                      <a:pt x="223" y="0"/>
                      <a:pt x="223" y="0"/>
                    </a:cubicBezTo>
                    <a:cubicBezTo>
                      <a:pt x="201" y="0"/>
                      <a:pt x="201" y="0"/>
                      <a:pt x="201" y="0"/>
                    </a:cubicBezTo>
                    <a:cubicBezTo>
                      <a:pt x="198" y="0"/>
                      <a:pt x="196" y="2"/>
                      <a:pt x="196" y="5"/>
                    </a:cubicBezTo>
                    <a:cubicBezTo>
                      <a:pt x="196" y="8"/>
                      <a:pt x="198" y="10"/>
                      <a:pt x="201" y="10"/>
                    </a:cubicBezTo>
                    <a:cubicBezTo>
                      <a:pt x="214" y="10"/>
                      <a:pt x="214" y="10"/>
                      <a:pt x="214" y="10"/>
                    </a:cubicBezTo>
                    <a:cubicBezTo>
                      <a:pt x="214" y="62"/>
                      <a:pt x="214" y="62"/>
                      <a:pt x="214" y="62"/>
                    </a:cubicBezTo>
                    <a:cubicBezTo>
                      <a:pt x="201" y="62"/>
                      <a:pt x="201" y="62"/>
                      <a:pt x="201" y="62"/>
                    </a:cubicBezTo>
                    <a:cubicBezTo>
                      <a:pt x="198" y="62"/>
                      <a:pt x="196" y="63"/>
                      <a:pt x="196" y="66"/>
                    </a:cubicBezTo>
                    <a:cubicBezTo>
                      <a:pt x="196" y="70"/>
                      <a:pt x="198" y="71"/>
                      <a:pt x="201" y="71"/>
                    </a:cubicBezTo>
                    <a:cubicBezTo>
                      <a:pt x="236" y="71"/>
                      <a:pt x="236" y="71"/>
                      <a:pt x="236" y="71"/>
                    </a:cubicBezTo>
                    <a:cubicBezTo>
                      <a:pt x="239" y="71"/>
                      <a:pt x="241" y="70"/>
                      <a:pt x="241" y="66"/>
                    </a:cubicBezTo>
                    <a:moveTo>
                      <a:pt x="232" y="171"/>
                    </a:moveTo>
                    <a:cubicBezTo>
                      <a:pt x="205" y="171"/>
                      <a:pt x="205" y="171"/>
                      <a:pt x="205" y="171"/>
                    </a:cubicBezTo>
                    <a:cubicBezTo>
                      <a:pt x="205" y="118"/>
                      <a:pt x="205" y="118"/>
                      <a:pt x="205" y="118"/>
                    </a:cubicBezTo>
                    <a:cubicBezTo>
                      <a:pt x="232" y="118"/>
                      <a:pt x="232" y="118"/>
                      <a:pt x="232" y="118"/>
                    </a:cubicBezTo>
                    <a:lnTo>
                      <a:pt x="232" y="171"/>
                    </a:lnTo>
                    <a:close/>
                    <a:moveTo>
                      <a:pt x="241" y="171"/>
                    </a:moveTo>
                    <a:cubicBezTo>
                      <a:pt x="241" y="118"/>
                      <a:pt x="241" y="118"/>
                      <a:pt x="241" y="118"/>
                    </a:cubicBezTo>
                    <a:cubicBezTo>
                      <a:pt x="241" y="113"/>
                      <a:pt x="237" y="109"/>
                      <a:pt x="232" y="109"/>
                    </a:cubicBezTo>
                    <a:cubicBezTo>
                      <a:pt x="205" y="109"/>
                      <a:pt x="205" y="109"/>
                      <a:pt x="205" y="109"/>
                    </a:cubicBezTo>
                    <a:cubicBezTo>
                      <a:pt x="200" y="109"/>
                      <a:pt x="196" y="113"/>
                      <a:pt x="196" y="118"/>
                    </a:cubicBezTo>
                    <a:cubicBezTo>
                      <a:pt x="196" y="171"/>
                      <a:pt x="196" y="171"/>
                      <a:pt x="196" y="171"/>
                    </a:cubicBezTo>
                    <a:cubicBezTo>
                      <a:pt x="196" y="176"/>
                      <a:pt x="200" y="180"/>
                      <a:pt x="205" y="180"/>
                    </a:cubicBezTo>
                    <a:cubicBezTo>
                      <a:pt x="232" y="180"/>
                      <a:pt x="232" y="180"/>
                      <a:pt x="232" y="180"/>
                    </a:cubicBezTo>
                    <a:cubicBezTo>
                      <a:pt x="237" y="180"/>
                      <a:pt x="241" y="176"/>
                      <a:pt x="241" y="171"/>
                    </a:cubicBezTo>
                    <a:moveTo>
                      <a:pt x="232" y="279"/>
                    </a:moveTo>
                    <a:cubicBezTo>
                      <a:pt x="205" y="279"/>
                      <a:pt x="205" y="279"/>
                      <a:pt x="205" y="279"/>
                    </a:cubicBezTo>
                    <a:cubicBezTo>
                      <a:pt x="205" y="227"/>
                      <a:pt x="205" y="227"/>
                      <a:pt x="205" y="227"/>
                    </a:cubicBezTo>
                    <a:cubicBezTo>
                      <a:pt x="232" y="227"/>
                      <a:pt x="232" y="227"/>
                      <a:pt x="232" y="227"/>
                    </a:cubicBezTo>
                    <a:lnTo>
                      <a:pt x="232" y="279"/>
                    </a:lnTo>
                    <a:close/>
                    <a:moveTo>
                      <a:pt x="241" y="279"/>
                    </a:moveTo>
                    <a:cubicBezTo>
                      <a:pt x="241" y="227"/>
                      <a:pt x="241" y="227"/>
                      <a:pt x="241" y="227"/>
                    </a:cubicBezTo>
                    <a:cubicBezTo>
                      <a:pt x="241" y="222"/>
                      <a:pt x="237" y="218"/>
                      <a:pt x="232" y="218"/>
                    </a:cubicBezTo>
                    <a:cubicBezTo>
                      <a:pt x="205" y="218"/>
                      <a:pt x="205" y="218"/>
                      <a:pt x="205" y="218"/>
                    </a:cubicBezTo>
                    <a:cubicBezTo>
                      <a:pt x="200" y="218"/>
                      <a:pt x="196" y="222"/>
                      <a:pt x="196" y="227"/>
                    </a:cubicBezTo>
                    <a:cubicBezTo>
                      <a:pt x="196" y="279"/>
                      <a:pt x="196" y="279"/>
                      <a:pt x="196" y="279"/>
                    </a:cubicBezTo>
                    <a:cubicBezTo>
                      <a:pt x="196" y="284"/>
                      <a:pt x="200" y="288"/>
                      <a:pt x="205" y="288"/>
                    </a:cubicBezTo>
                    <a:cubicBezTo>
                      <a:pt x="232" y="288"/>
                      <a:pt x="232" y="288"/>
                      <a:pt x="232" y="288"/>
                    </a:cubicBezTo>
                    <a:cubicBezTo>
                      <a:pt x="237" y="288"/>
                      <a:pt x="241" y="284"/>
                      <a:pt x="241" y="279"/>
                    </a:cubicBezTo>
                    <a:moveTo>
                      <a:pt x="297" y="62"/>
                    </a:moveTo>
                    <a:cubicBezTo>
                      <a:pt x="270" y="62"/>
                      <a:pt x="270" y="62"/>
                      <a:pt x="270" y="62"/>
                    </a:cubicBezTo>
                    <a:cubicBezTo>
                      <a:pt x="270" y="10"/>
                      <a:pt x="270" y="10"/>
                      <a:pt x="270" y="10"/>
                    </a:cubicBezTo>
                    <a:cubicBezTo>
                      <a:pt x="297" y="10"/>
                      <a:pt x="297" y="10"/>
                      <a:pt x="297" y="10"/>
                    </a:cubicBezTo>
                    <a:lnTo>
                      <a:pt x="297" y="62"/>
                    </a:lnTo>
                    <a:close/>
                    <a:moveTo>
                      <a:pt x="306" y="62"/>
                    </a:moveTo>
                    <a:cubicBezTo>
                      <a:pt x="306" y="10"/>
                      <a:pt x="306" y="10"/>
                      <a:pt x="306" y="10"/>
                    </a:cubicBezTo>
                    <a:cubicBezTo>
                      <a:pt x="306" y="5"/>
                      <a:pt x="302" y="0"/>
                      <a:pt x="297" y="0"/>
                    </a:cubicBezTo>
                    <a:cubicBezTo>
                      <a:pt x="270" y="0"/>
                      <a:pt x="270" y="0"/>
                      <a:pt x="270" y="0"/>
                    </a:cubicBezTo>
                    <a:cubicBezTo>
                      <a:pt x="265" y="0"/>
                      <a:pt x="261" y="5"/>
                      <a:pt x="261" y="10"/>
                    </a:cubicBezTo>
                    <a:cubicBezTo>
                      <a:pt x="261" y="62"/>
                      <a:pt x="261" y="62"/>
                      <a:pt x="261" y="62"/>
                    </a:cubicBezTo>
                    <a:cubicBezTo>
                      <a:pt x="261" y="67"/>
                      <a:pt x="265" y="71"/>
                      <a:pt x="270" y="71"/>
                    </a:cubicBezTo>
                    <a:cubicBezTo>
                      <a:pt x="297" y="71"/>
                      <a:pt x="297" y="71"/>
                      <a:pt x="297" y="71"/>
                    </a:cubicBezTo>
                    <a:cubicBezTo>
                      <a:pt x="302" y="71"/>
                      <a:pt x="306" y="67"/>
                      <a:pt x="306" y="62"/>
                    </a:cubicBezTo>
                    <a:moveTo>
                      <a:pt x="306" y="175"/>
                    </a:moveTo>
                    <a:cubicBezTo>
                      <a:pt x="306" y="152"/>
                      <a:pt x="306" y="152"/>
                      <a:pt x="306" y="152"/>
                    </a:cubicBezTo>
                    <a:cubicBezTo>
                      <a:pt x="306" y="150"/>
                      <a:pt x="305" y="148"/>
                      <a:pt x="302" y="148"/>
                    </a:cubicBezTo>
                    <a:cubicBezTo>
                      <a:pt x="298" y="148"/>
                      <a:pt x="297" y="150"/>
                      <a:pt x="297" y="152"/>
                    </a:cubicBezTo>
                    <a:cubicBezTo>
                      <a:pt x="297" y="171"/>
                      <a:pt x="297" y="171"/>
                      <a:pt x="297" y="171"/>
                    </a:cubicBezTo>
                    <a:cubicBezTo>
                      <a:pt x="288" y="171"/>
                      <a:pt x="288" y="171"/>
                      <a:pt x="288" y="171"/>
                    </a:cubicBezTo>
                    <a:cubicBezTo>
                      <a:pt x="288" y="109"/>
                      <a:pt x="288" y="109"/>
                      <a:pt x="288" y="109"/>
                    </a:cubicBezTo>
                    <a:cubicBezTo>
                      <a:pt x="266" y="109"/>
                      <a:pt x="266" y="109"/>
                      <a:pt x="266" y="109"/>
                    </a:cubicBezTo>
                    <a:cubicBezTo>
                      <a:pt x="264" y="109"/>
                      <a:pt x="261" y="110"/>
                      <a:pt x="261" y="114"/>
                    </a:cubicBezTo>
                    <a:cubicBezTo>
                      <a:pt x="261" y="117"/>
                      <a:pt x="264" y="118"/>
                      <a:pt x="266" y="118"/>
                    </a:cubicBezTo>
                    <a:cubicBezTo>
                      <a:pt x="279" y="118"/>
                      <a:pt x="279" y="118"/>
                      <a:pt x="279" y="118"/>
                    </a:cubicBezTo>
                    <a:cubicBezTo>
                      <a:pt x="279" y="171"/>
                      <a:pt x="279" y="171"/>
                      <a:pt x="279" y="171"/>
                    </a:cubicBezTo>
                    <a:cubicBezTo>
                      <a:pt x="266" y="171"/>
                      <a:pt x="266" y="171"/>
                      <a:pt x="266" y="171"/>
                    </a:cubicBezTo>
                    <a:cubicBezTo>
                      <a:pt x="264" y="171"/>
                      <a:pt x="261" y="172"/>
                      <a:pt x="261" y="175"/>
                    </a:cubicBezTo>
                    <a:cubicBezTo>
                      <a:pt x="261" y="178"/>
                      <a:pt x="264" y="180"/>
                      <a:pt x="266" y="180"/>
                    </a:cubicBezTo>
                    <a:cubicBezTo>
                      <a:pt x="302" y="180"/>
                      <a:pt x="302" y="180"/>
                      <a:pt x="302" y="180"/>
                    </a:cubicBezTo>
                    <a:cubicBezTo>
                      <a:pt x="304" y="180"/>
                      <a:pt x="306" y="178"/>
                      <a:pt x="306" y="175"/>
                    </a:cubicBezTo>
                    <a:moveTo>
                      <a:pt x="297" y="279"/>
                    </a:moveTo>
                    <a:cubicBezTo>
                      <a:pt x="270" y="279"/>
                      <a:pt x="270" y="279"/>
                      <a:pt x="270" y="279"/>
                    </a:cubicBezTo>
                    <a:cubicBezTo>
                      <a:pt x="270" y="227"/>
                      <a:pt x="270" y="227"/>
                      <a:pt x="270" y="227"/>
                    </a:cubicBezTo>
                    <a:cubicBezTo>
                      <a:pt x="297" y="227"/>
                      <a:pt x="297" y="227"/>
                      <a:pt x="297" y="227"/>
                    </a:cubicBezTo>
                    <a:lnTo>
                      <a:pt x="297" y="279"/>
                    </a:lnTo>
                    <a:close/>
                    <a:moveTo>
                      <a:pt x="306" y="279"/>
                    </a:moveTo>
                    <a:cubicBezTo>
                      <a:pt x="306" y="227"/>
                      <a:pt x="306" y="227"/>
                      <a:pt x="306" y="227"/>
                    </a:cubicBezTo>
                    <a:cubicBezTo>
                      <a:pt x="306" y="222"/>
                      <a:pt x="302" y="218"/>
                      <a:pt x="297" y="218"/>
                    </a:cubicBezTo>
                    <a:cubicBezTo>
                      <a:pt x="270" y="218"/>
                      <a:pt x="270" y="218"/>
                      <a:pt x="270" y="218"/>
                    </a:cubicBezTo>
                    <a:cubicBezTo>
                      <a:pt x="265" y="218"/>
                      <a:pt x="261" y="222"/>
                      <a:pt x="261" y="227"/>
                    </a:cubicBezTo>
                    <a:cubicBezTo>
                      <a:pt x="261" y="279"/>
                      <a:pt x="261" y="279"/>
                      <a:pt x="261" y="279"/>
                    </a:cubicBezTo>
                    <a:cubicBezTo>
                      <a:pt x="261" y="284"/>
                      <a:pt x="265" y="288"/>
                      <a:pt x="270" y="288"/>
                    </a:cubicBezTo>
                    <a:cubicBezTo>
                      <a:pt x="297" y="288"/>
                      <a:pt x="297" y="288"/>
                      <a:pt x="297" y="288"/>
                    </a:cubicBezTo>
                    <a:cubicBezTo>
                      <a:pt x="302" y="288"/>
                      <a:pt x="306" y="284"/>
                      <a:pt x="306" y="279"/>
                    </a:cubicBezTo>
                    <a:moveTo>
                      <a:pt x="371" y="66"/>
                    </a:moveTo>
                    <a:cubicBezTo>
                      <a:pt x="371" y="44"/>
                      <a:pt x="371" y="44"/>
                      <a:pt x="371" y="44"/>
                    </a:cubicBezTo>
                    <a:cubicBezTo>
                      <a:pt x="371" y="41"/>
                      <a:pt x="370" y="39"/>
                      <a:pt x="367" y="39"/>
                    </a:cubicBezTo>
                    <a:cubicBezTo>
                      <a:pt x="363" y="39"/>
                      <a:pt x="362" y="41"/>
                      <a:pt x="362" y="44"/>
                    </a:cubicBezTo>
                    <a:cubicBezTo>
                      <a:pt x="362" y="62"/>
                      <a:pt x="362" y="62"/>
                      <a:pt x="362" y="62"/>
                    </a:cubicBezTo>
                    <a:cubicBezTo>
                      <a:pt x="354" y="62"/>
                      <a:pt x="354" y="62"/>
                      <a:pt x="354" y="62"/>
                    </a:cubicBezTo>
                    <a:cubicBezTo>
                      <a:pt x="354" y="0"/>
                      <a:pt x="354" y="0"/>
                      <a:pt x="354" y="0"/>
                    </a:cubicBezTo>
                    <a:cubicBezTo>
                      <a:pt x="331" y="0"/>
                      <a:pt x="331" y="0"/>
                      <a:pt x="331" y="0"/>
                    </a:cubicBezTo>
                    <a:cubicBezTo>
                      <a:pt x="329" y="0"/>
                      <a:pt x="327" y="2"/>
                      <a:pt x="327" y="5"/>
                    </a:cubicBezTo>
                    <a:cubicBezTo>
                      <a:pt x="327" y="8"/>
                      <a:pt x="329" y="10"/>
                      <a:pt x="331" y="10"/>
                    </a:cubicBezTo>
                    <a:cubicBezTo>
                      <a:pt x="344" y="10"/>
                      <a:pt x="344" y="10"/>
                      <a:pt x="344" y="10"/>
                    </a:cubicBezTo>
                    <a:cubicBezTo>
                      <a:pt x="344" y="62"/>
                      <a:pt x="344" y="62"/>
                      <a:pt x="344" y="62"/>
                    </a:cubicBezTo>
                    <a:cubicBezTo>
                      <a:pt x="331" y="62"/>
                      <a:pt x="331" y="62"/>
                      <a:pt x="331" y="62"/>
                    </a:cubicBezTo>
                    <a:cubicBezTo>
                      <a:pt x="329" y="62"/>
                      <a:pt x="327" y="63"/>
                      <a:pt x="327" y="66"/>
                    </a:cubicBezTo>
                    <a:cubicBezTo>
                      <a:pt x="327" y="70"/>
                      <a:pt x="329" y="71"/>
                      <a:pt x="331" y="71"/>
                    </a:cubicBezTo>
                    <a:cubicBezTo>
                      <a:pt x="367" y="71"/>
                      <a:pt x="367" y="71"/>
                      <a:pt x="367" y="71"/>
                    </a:cubicBezTo>
                    <a:cubicBezTo>
                      <a:pt x="369" y="71"/>
                      <a:pt x="371" y="70"/>
                      <a:pt x="371" y="66"/>
                    </a:cubicBezTo>
                    <a:moveTo>
                      <a:pt x="362" y="171"/>
                    </a:moveTo>
                    <a:cubicBezTo>
                      <a:pt x="336" y="171"/>
                      <a:pt x="336" y="171"/>
                      <a:pt x="336" y="171"/>
                    </a:cubicBezTo>
                    <a:cubicBezTo>
                      <a:pt x="336" y="118"/>
                      <a:pt x="336" y="118"/>
                      <a:pt x="336" y="118"/>
                    </a:cubicBezTo>
                    <a:cubicBezTo>
                      <a:pt x="362" y="118"/>
                      <a:pt x="362" y="118"/>
                      <a:pt x="362" y="118"/>
                    </a:cubicBezTo>
                    <a:lnTo>
                      <a:pt x="362" y="171"/>
                    </a:lnTo>
                    <a:close/>
                    <a:moveTo>
                      <a:pt x="371" y="171"/>
                    </a:moveTo>
                    <a:cubicBezTo>
                      <a:pt x="371" y="118"/>
                      <a:pt x="371" y="118"/>
                      <a:pt x="371" y="118"/>
                    </a:cubicBezTo>
                    <a:cubicBezTo>
                      <a:pt x="371" y="113"/>
                      <a:pt x="367" y="109"/>
                      <a:pt x="362" y="109"/>
                    </a:cubicBezTo>
                    <a:cubicBezTo>
                      <a:pt x="336" y="109"/>
                      <a:pt x="336" y="109"/>
                      <a:pt x="336" y="109"/>
                    </a:cubicBezTo>
                    <a:cubicBezTo>
                      <a:pt x="331" y="109"/>
                      <a:pt x="327" y="113"/>
                      <a:pt x="327" y="118"/>
                    </a:cubicBezTo>
                    <a:cubicBezTo>
                      <a:pt x="327" y="171"/>
                      <a:pt x="327" y="171"/>
                      <a:pt x="327" y="171"/>
                    </a:cubicBezTo>
                    <a:cubicBezTo>
                      <a:pt x="327" y="176"/>
                      <a:pt x="330" y="180"/>
                      <a:pt x="336" y="180"/>
                    </a:cubicBezTo>
                    <a:cubicBezTo>
                      <a:pt x="362" y="180"/>
                      <a:pt x="362" y="180"/>
                      <a:pt x="362" y="180"/>
                    </a:cubicBezTo>
                    <a:cubicBezTo>
                      <a:pt x="367" y="180"/>
                      <a:pt x="371" y="176"/>
                      <a:pt x="371" y="171"/>
                    </a:cubicBezTo>
                    <a:moveTo>
                      <a:pt x="371" y="284"/>
                    </a:moveTo>
                    <a:cubicBezTo>
                      <a:pt x="371" y="261"/>
                      <a:pt x="371" y="261"/>
                      <a:pt x="371" y="261"/>
                    </a:cubicBezTo>
                    <a:cubicBezTo>
                      <a:pt x="371" y="258"/>
                      <a:pt x="370" y="257"/>
                      <a:pt x="367" y="257"/>
                    </a:cubicBezTo>
                    <a:cubicBezTo>
                      <a:pt x="363" y="257"/>
                      <a:pt x="362" y="258"/>
                      <a:pt x="362" y="261"/>
                    </a:cubicBezTo>
                    <a:cubicBezTo>
                      <a:pt x="362" y="279"/>
                      <a:pt x="362" y="279"/>
                      <a:pt x="362" y="279"/>
                    </a:cubicBezTo>
                    <a:cubicBezTo>
                      <a:pt x="354" y="279"/>
                      <a:pt x="354" y="279"/>
                      <a:pt x="354" y="279"/>
                    </a:cubicBezTo>
                    <a:cubicBezTo>
                      <a:pt x="354" y="218"/>
                      <a:pt x="354" y="218"/>
                      <a:pt x="354" y="218"/>
                    </a:cubicBezTo>
                    <a:cubicBezTo>
                      <a:pt x="331" y="218"/>
                      <a:pt x="331" y="218"/>
                      <a:pt x="331" y="218"/>
                    </a:cubicBezTo>
                    <a:cubicBezTo>
                      <a:pt x="329" y="218"/>
                      <a:pt x="327" y="219"/>
                      <a:pt x="327" y="222"/>
                    </a:cubicBezTo>
                    <a:cubicBezTo>
                      <a:pt x="327" y="226"/>
                      <a:pt x="329" y="227"/>
                      <a:pt x="331" y="227"/>
                    </a:cubicBezTo>
                    <a:cubicBezTo>
                      <a:pt x="344" y="227"/>
                      <a:pt x="344" y="227"/>
                      <a:pt x="344" y="227"/>
                    </a:cubicBezTo>
                    <a:cubicBezTo>
                      <a:pt x="344" y="279"/>
                      <a:pt x="344" y="279"/>
                      <a:pt x="344" y="279"/>
                    </a:cubicBezTo>
                    <a:cubicBezTo>
                      <a:pt x="331" y="279"/>
                      <a:pt x="331" y="279"/>
                      <a:pt x="331" y="279"/>
                    </a:cubicBezTo>
                    <a:cubicBezTo>
                      <a:pt x="329" y="279"/>
                      <a:pt x="327" y="281"/>
                      <a:pt x="327" y="284"/>
                    </a:cubicBezTo>
                    <a:cubicBezTo>
                      <a:pt x="327" y="287"/>
                      <a:pt x="329" y="288"/>
                      <a:pt x="331" y="288"/>
                    </a:cubicBezTo>
                    <a:cubicBezTo>
                      <a:pt x="367" y="288"/>
                      <a:pt x="367" y="288"/>
                      <a:pt x="367" y="288"/>
                    </a:cubicBezTo>
                    <a:cubicBezTo>
                      <a:pt x="369" y="288"/>
                      <a:pt x="371" y="287"/>
                      <a:pt x="371" y="284"/>
                    </a:cubicBezTo>
                    <a:moveTo>
                      <a:pt x="428" y="62"/>
                    </a:moveTo>
                    <a:cubicBezTo>
                      <a:pt x="401" y="62"/>
                      <a:pt x="401" y="62"/>
                      <a:pt x="401" y="62"/>
                    </a:cubicBezTo>
                    <a:cubicBezTo>
                      <a:pt x="401" y="10"/>
                      <a:pt x="401" y="10"/>
                      <a:pt x="401" y="10"/>
                    </a:cubicBezTo>
                    <a:cubicBezTo>
                      <a:pt x="428" y="10"/>
                      <a:pt x="428" y="10"/>
                      <a:pt x="428" y="10"/>
                    </a:cubicBezTo>
                    <a:lnTo>
                      <a:pt x="428" y="62"/>
                    </a:lnTo>
                    <a:close/>
                    <a:moveTo>
                      <a:pt x="437" y="62"/>
                    </a:moveTo>
                    <a:cubicBezTo>
                      <a:pt x="437" y="10"/>
                      <a:pt x="437" y="10"/>
                      <a:pt x="437" y="10"/>
                    </a:cubicBezTo>
                    <a:cubicBezTo>
                      <a:pt x="437" y="5"/>
                      <a:pt x="433" y="0"/>
                      <a:pt x="428" y="0"/>
                    </a:cubicBezTo>
                    <a:cubicBezTo>
                      <a:pt x="401" y="0"/>
                      <a:pt x="401" y="0"/>
                      <a:pt x="401" y="0"/>
                    </a:cubicBezTo>
                    <a:cubicBezTo>
                      <a:pt x="396" y="0"/>
                      <a:pt x="392" y="5"/>
                      <a:pt x="392" y="10"/>
                    </a:cubicBezTo>
                    <a:cubicBezTo>
                      <a:pt x="392" y="62"/>
                      <a:pt x="392" y="62"/>
                      <a:pt x="392" y="62"/>
                    </a:cubicBezTo>
                    <a:cubicBezTo>
                      <a:pt x="392" y="67"/>
                      <a:pt x="396" y="71"/>
                      <a:pt x="401" y="71"/>
                    </a:cubicBezTo>
                    <a:cubicBezTo>
                      <a:pt x="428" y="71"/>
                      <a:pt x="428" y="71"/>
                      <a:pt x="428" y="71"/>
                    </a:cubicBezTo>
                    <a:cubicBezTo>
                      <a:pt x="433" y="71"/>
                      <a:pt x="437" y="67"/>
                      <a:pt x="437" y="62"/>
                    </a:cubicBezTo>
                    <a:moveTo>
                      <a:pt x="428" y="171"/>
                    </a:moveTo>
                    <a:cubicBezTo>
                      <a:pt x="401" y="171"/>
                      <a:pt x="401" y="171"/>
                      <a:pt x="401" y="171"/>
                    </a:cubicBezTo>
                    <a:cubicBezTo>
                      <a:pt x="401" y="118"/>
                      <a:pt x="401" y="118"/>
                      <a:pt x="401" y="118"/>
                    </a:cubicBezTo>
                    <a:cubicBezTo>
                      <a:pt x="428" y="118"/>
                      <a:pt x="428" y="118"/>
                      <a:pt x="428" y="118"/>
                    </a:cubicBezTo>
                    <a:lnTo>
                      <a:pt x="428" y="171"/>
                    </a:lnTo>
                    <a:close/>
                    <a:moveTo>
                      <a:pt x="437" y="171"/>
                    </a:moveTo>
                    <a:cubicBezTo>
                      <a:pt x="437" y="118"/>
                      <a:pt x="437" y="118"/>
                      <a:pt x="437" y="118"/>
                    </a:cubicBezTo>
                    <a:cubicBezTo>
                      <a:pt x="437" y="113"/>
                      <a:pt x="433" y="109"/>
                      <a:pt x="428" y="109"/>
                    </a:cubicBezTo>
                    <a:cubicBezTo>
                      <a:pt x="401" y="109"/>
                      <a:pt x="401" y="109"/>
                      <a:pt x="401" y="109"/>
                    </a:cubicBezTo>
                    <a:cubicBezTo>
                      <a:pt x="396" y="109"/>
                      <a:pt x="392" y="113"/>
                      <a:pt x="392" y="118"/>
                    </a:cubicBezTo>
                    <a:cubicBezTo>
                      <a:pt x="392" y="171"/>
                      <a:pt x="392" y="171"/>
                      <a:pt x="392" y="171"/>
                    </a:cubicBezTo>
                    <a:cubicBezTo>
                      <a:pt x="392" y="176"/>
                      <a:pt x="396" y="180"/>
                      <a:pt x="401" y="180"/>
                    </a:cubicBezTo>
                    <a:cubicBezTo>
                      <a:pt x="428" y="180"/>
                      <a:pt x="428" y="180"/>
                      <a:pt x="428" y="180"/>
                    </a:cubicBezTo>
                    <a:cubicBezTo>
                      <a:pt x="433" y="180"/>
                      <a:pt x="437" y="176"/>
                      <a:pt x="437" y="171"/>
                    </a:cubicBezTo>
                    <a:moveTo>
                      <a:pt x="437" y="284"/>
                    </a:moveTo>
                    <a:cubicBezTo>
                      <a:pt x="437" y="261"/>
                      <a:pt x="437" y="261"/>
                      <a:pt x="437" y="261"/>
                    </a:cubicBezTo>
                    <a:cubicBezTo>
                      <a:pt x="437" y="258"/>
                      <a:pt x="435" y="257"/>
                      <a:pt x="432" y="257"/>
                    </a:cubicBezTo>
                    <a:cubicBezTo>
                      <a:pt x="429" y="257"/>
                      <a:pt x="428" y="258"/>
                      <a:pt x="428" y="261"/>
                    </a:cubicBezTo>
                    <a:cubicBezTo>
                      <a:pt x="428" y="279"/>
                      <a:pt x="428" y="279"/>
                      <a:pt x="428" y="279"/>
                    </a:cubicBezTo>
                    <a:cubicBezTo>
                      <a:pt x="419" y="279"/>
                      <a:pt x="419" y="279"/>
                      <a:pt x="419" y="279"/>
                    </a:cubicBezTo>
                    <a:cubicBezTo>
                      <a:pt x="419" y="218"/>
                      <a:pt x="419" y="218"/>
                      <a:pt x="419" y="218"/>
                    </a:cubicBezTo>
                    <a:cubicBezTo>
                      <a:pt x="396" y="218"/>
                      <a:pt x="396" y="218"/>
                      <a:pt x="396" y="218"/>
                    </a:cubicBezTo>
                    <a:cubicBezTo>
                      <a:pt x="394" y="218"/>
                      <a:pt x="392" y="219"/>
                      <a:pt x="392" y="222"/>
                    </a:cubicBezTo>
                    <a:cubicBezTo>
                      <a:pt x="392" y="226"/>
                      <a:pt x="394" y="227"/>
                      <a:pt x="396" y="227"/>
                    </a:cubicBezTo>
                    <a:cubicBezTo>
                      <a:pt x="410" y="227"/>
                      <a:pt x="410" y="227"/>
                      <a:pt x="410" y="227"/>
                    </a:cubicBezTo>
                    <a:cubicBezTo>
                      <a:pt x="410" y="279"/>
                      <a:pt x="410" y="279"/>
                      <a:pt x="410" y="279"/>
                    </a:cubicBezTo>
                    <a:cubicBezTo>
                      <a:pt x="396" y="279"/>
                      <a:pt x="396" y="279"/>
                      <a:pt x="396" y="279"/>
                    </a:cubicBezTo>
                    <a:cubicBezTo>
                      <a:pt x="394" y="279"/>
                      <a:pt x="392" y="281"/>
                      <a:pt x="392" y="284"/>
                    </a:cubicBezTo>
                    <a:cubicBezTo>
                      <a:pt x="392" y="287"/>
                      <a:pt x="394" y="288"/>
                      <a:pt x="396" y="288"/>
                    </a:cubicBezTo>
                    <a:cubicBezTo>
                      <a:pt x="432" y="288"/>
                      <a:pt x="432" y="288"/>
                      <a:pt x="432" y="288"/>
                    </a:cubicBezTo>
                    <a:cubicBezTo>
                      <a:pt x="434" y="288"/>
                      <a:pt x="437" y="287"/>
                      <a:pt x="437" y="284"/>
                    </a:cubicBezTo>
                    <a:moveTo>
                      <a:pt x="502" y="66"/>
                    </a:moveTo>
                    <a:cubicBezTo>
                      <a:pt x="502" y="44"/>
                      <a:pt x="502" y="44"/>
                      <a:pt x="502" y="44"/>
                    </a:cubicBezTo>
                    <a:cubicBezTo>
                      <a:pt x="502" y="41"/>
                      <a:pt x="501" y="39"/>
                      <a:pt x="497" y="39"/>
                    </a:cubicBezTo>
                    <a:cubicBezTo>
                      <a:pt x="494" y="39"/>
                      <a:pt x="493" y="41"/>
                      <a:pt x="493" y="44"/>
                    </a:cubicBezTo>
                    <a:cubicBezTo>
                      <a:pt x="493" y="62"/>
                      <a:pt x="493" y="62"/>
                      <a:pt x="493" y="62"/>
                    </a:cubicBezTo>
                    <a:cubicBezTo>
                      <a:pt x="484" y="62"/>
                      <a:pt x="484" y="62"/>
                      <a:pt x="484" y="62"/>
                    </a:cubicBezTo>
                    <a:cubicBezTo>
                      <a:pt x="484" y="0"/>
                      <a:pt x="484" y="0"/>
                      <a:pt x="484" y="0"/>
                    </a:cubicBezTo>
                    <a:cubicBezTo>
                      <a:pt x="462" y="0"/>
                      <a:pt x="462" y="0"/>
                      <a:pt x="462" y="0"/>
                    </a:cubicBezTo>
                    <a:cubicBezTo>
                      <a:pt x="459" y="0"/>
                      <a:pt x="457" y="2"/>
                      <a:pt x="457" y="5"/>
                    </a:cubicBezTo>
                    <a:cubicBezTo>
                      <a:pt x="457" y="8"/>
                      <a:pt x="459" y="10"/>
                      <a:pt x="462" y="10"/>
                    </a:cubicBezTo>
                    <a:cubicBezTo>
                      <a:pt x="475" y="10"/>
                      <a:pt x="475" y="10"/>
                      <a:pt x="475" y="10"/>
                    </a:cubicBezTo>
                    <a:cubicBezTo>
                      <a:pt x="475" y="62"/>
                      <a:pt x="475" y="62"/>
                      <a:pt x="475" y="62"/>
                    </a:cubicBezTo>
                    <a:cubicBezTo>
                      <a:pt x="462" y="62"/>
                      <a:pt x="462" y="62"/>
                      <a:pt x="462" y="62"/>
                    </a:cubicBezTo>
                    <a:cubicBezTo>
                      <a:pt x="459" y="62"/>
                      <a:pt x="457" y="63"/>
                      <a:pt x="457" y="66"/>
                    </a:cubicBezTo>
                    <a:cubicBezTo>
                      <a:pt x="457" y="70"/>
                      <a:pt x="459" y="71"/>
                      <a:pt x="462" y="71"/>
                    </a:cubicBezTo>
                    <a:cubicBezTo>
                      <a:pt x="497" y="71"/>
                      <a:pt x="497" y="71"/>
                      <a:pt x="497" y="71"/>
                    </a:cubicBezTo>
                    <a:cubicBezTo>
                      <a:pt x="500" y="71"/>
                      <a:pt x="502" y="70"/>
                      <a:pt x="502" y="66"/>
                    </a:cubicBezTo>
                    <a:moveTo>
                      <a:pt x="502" y="175"/>
                    </a:moveTo>
                    <a:cubicBezTo>
                      <a:pt x="502" y="152"/>
                      <a:pt x="502" y="152"/>
                      <a:pt x="502" y="152"/>
                    </a:cubicBezTo>
                    <a:cubicBezTo>
                      <a:pt x="502" y="150"/>
                      <a:pt x="501" y="148"/>
                      <a:pt x="497" y="148"/>
                    </a:cubicBezTo>
                    <a:cubicBezTo>
                      <a:pt x="494" y="148"/>
                      <a:pt x="493" y="150"/>
                      <a:pt x="493" y="152"/>
                    </a:cubicBezTo>
                    <a:cubicBezTo>
                      <a:pt x="493" y="171"/>
                      <a:pt x="493" y="171"/>
                      <a:pt x="493" y="171"/>
                    </a:cubicBezTo>
                    <a:cubicBezTo>
                      <a:pt x="484" y="171"/>
                      <a:pt x="484" y="171"/>
                      <a:pt x="484" y="171"/>
                    </a:cubicBezTo>
                    <a:cubicBezTo>
                      <a:pt x="484" y="109"/>
                      <a:pt x="484" y="109"/>
                      <a:pt x="484" y="109"/>
                    </a:cubicBezTo>
                    <a:cubicBezTo>
                      <a:pt x="462" y="109"/>
                      <a:pt x="462" y="109"/>
                      <a:pt x="462" y="109"/>
                    </a:cubicBezTo>
                    <a:cubicBezTo>
                      <a:pt x="459" y="109"/>
                      <a:pt x="457" y="110"/>
                      <a:pt x="457" y="114"/>
                    </a:cubicBezTo>
                    <a:cubicBezTo>
                      <a:pt x="457" y="117"/>
                      <a:pt x="459" y="118"/>
                      <a:pt x="462" y="118"/>
                    </a:cubicBezTo>
                    <a:cubicBezTo>
                      <a:pt x="475" y="118"/>
                      <a:pt x="475" y="118"/>
                      <a:pt x="475" y="118"/>
                    </a:cubicBezTo>
                    <a:cubicBezTo>
                      <a:pt x="475" y="171"/>
                      <a:pt x="475" y="171"/>
                      <a:pt x="475" y="171"/>
                    </a:cubicBezTo>
                    <a:cubicBezTo>
                      <a:pt x="462" y="171"/>
                      <a:pt x="462" y="171"/>
                      <a:pt x="462" y="171"/>
                    </a:cubicBezTo>
                    <a:cubicBezTo>
                      <a:pt x="459" y="171"/>
                      <a:pt x="457" y="172"/>
                      <a:pt x="457" y="175"/>
                    </a:cubicBezTo>
                    <a:cubicBezTo>
                      <a:pt x="457" y="178"/>
                      <a:pt x="459" y="180"/>
                      <a:pt x="462" y="180"/>
                    </a:cubicBezTo>
                    <a:cubicBezTo>
                      <a:pt x="497" y="180"/>
                      <a:pt x="497" y="180"/>
                      <a:pt x="497" y="180"/>
                    </a:cubicBezTo>
                    <a:cubicBezTo>
                      <a:pt x="500" y="180"/>
                      <a:pt x="502" y="178"/>
                      <a:pt x="502" y="175"/>
                    </a:cubicBezTo>
                    <a:moveTo>
                      <a:pt x="493" y="279"/>
                    </a:moveTo>
                    <a:cubicBezTo>
                      <a:pt x="466" y="279"/>
                      <a:pt x="466" y="279"/>
                      <a:pt x="466" y="279"/>
                    </a:cubicBezTo>
                    <a:cubicBezTo>
                      <a:pt x="466" y="227"/>
                      <a:pt x="466" y="227"/>
                      <a:pt x="466" y="227"/>
                    </a:cubicBezTo>
                    <a:cubicBezTo>
                      <a:pt x="493" y="227"/>
                      <a:pt x="493" y="227"/>
                      <a:pt x="493" y="227"/>
                    </a:cubicBezTo>
                    <a:lnTo>
                      <a:pt x="493" y="279"/>
                    </a:lnTo>
                    <a:close/>
                    <a:moveTo>
                      <a:pt x="502" y="279"/>
                    </a:moveTo>
                    <a:cubicBezTo>
                      <a:pt x="502" y="227"/>
                      <a:pt x="502" y="227"/>
                      <a:pt x="502" y="227"/>
                    </a:cubicBezTo>
                    <a:cubicBezTo>
                      <a:pt x="502" y="222"/>
                      <a:pt x="498" y="218"/>
                      <a:pt x="493" y="218"/>
                    </a:cubicBezTo>
                    <a:cubicBezTo>
                      <a:pt x="466" y="218"/>
                      <a:pt x="466" y="218"/>
                      <a:pt x="466" y="218"/>
                    </a:cubicBezTo>
                    <a:cubicBezTo>
                      <a:pt x="461" y="218"/>
                      <a:pt x="457" y="222"/>
                      <a:pt x="457" y="227"/>
                    </a:cubicBezTo>
                    <a:cubicBezTo>
                      <a:pt x="457" y="279"/>
                      <a:pt x="457" y="279"/>
                      <a:pt x="457" y="279"/>
                    </a:cubicBezTo>
                    <a:cubicBezTo>
                      <a:pt x="457" y="284"/>
                      <a:pt x="461" y="288"/>
                      <a:pt x="466" y="288"/>
                    </a:cubicBezTo>
                    <a:cubicBezTo>
                      <a:pt x="493" y="288"/>
                      <a:pt x="493" y="288"/>
                      <a:pt x="493" y="288"/>
                    </a:cubicBezTo>
                    <a:cubicBezTo>
                      <a:pt x="498" y="288"/>
                      <a:pt x="502" y="284"/>
                      <a:pt x="502" y="279"/>
                    </a:cubicBezTo>
                    <a:moveTo>
                      <a:pt x="567" y="66"/>
                    </a:moveTo>
                    <a:cubicBezTo>
                      <a:pt x="567" y="44"/>
                      <a:pt x="567" y="44"/>
                      <a:pt x="567" y="44"/>
                    </a:cubicBezTo>
                    <a:cubicBezTo>
                      <a:pt x="567" y="41"/>
                      <a:pt x="566" y="39"/>
                      <a:pt x="563" y="39"/>
                    </a:cubicBezTo>
                    <a:cubicBezTo>
                      <a:pt x="559" y="39"/>
                      <a:pt x="558" y="41"/>
                      <a:pt x="558" y="44"/>
                    </a:cubicBezTo>
                    <a:cubicBezTo>
                      <a:pt x="558" y="62"/>
                      <a:pt x="558" y="62"/>
                      <a:pt x="558" y="62"/>
                    </a:cubicBezTo>
                    <a:cubicBezTo>
                      <a:pt x="549" y="62"/>
                      <a:pt x="549" y="62"/>
                      <a:pt x="549" y="62"/>
                    </a:cubicBezTo>
                    <a:cubicBezTo>
                      <a:pt x="549" y="0"/>
                      <a:pt x="549" y="0"/>
                      <a:pt x="549" y="0"/>
                    </a:cubicBezTo>
                    <a:cubicBezTo>
                      <a:pt x="527" y="0"/>
                      <a:pt x="527" y="0"/>
                      <a:pt x="527" y="0"/>
                    </a:cubicBezTo>
                    <a:cubicBezTo>
                      <a:pt x="524" y="0"/>
                      <a:pt x="522" y="2"/>
                      <a:pt x="522" y="5"/>
                    </a:cubicBezTo>
                    <a:cubicBezTo>
                      <a:pt x="522" y="8"/>
                      <a:pt x="524" y="10"/>
                      <a:pt x="527" y="10"/>
                    </a:cubicBezTo>
                    <a:cubicBezTo>
                      <a:pt x="540" y="10"/>
                      <a:pt x="540" y="10"/>
                      <a:pt x="540" y="10"/>
                    </a:cubicBezTo>
                    <a:cubicBezTo>
                      <a:pt x="540" y="62"/>
                      <a:pt x="540" y="62"/>
                      <a:pt x="540" y="62"/>
                    </a:cubicBezTo>
                    <a:cubicBezTo>
                      <a:pt x="527" y="62"/>
                      <a:pt x="527" y="62"/>
                      <a:pt x="527" y="62"/>
                    </a:cubicBezTo>
                    <a:cubicBezTo>
                      <a:pt x="524" y="62"/>
                      <a:pt x="522" y="63"/>
                      <a:pt x="522" y="66"/>
                    </a:cubicBezTo>
                    <a:cubicBezTo>
                      <a:pt x="522" y="70"/>
                      <a:pt x="524" y="71"/>
                      <a:pt x="527" y="71"/>
                    </a:cubicBezTo>
                    <a:cubicBezTo>
                      <a:pt x="563" y="71"/>
                      <a:pt x="563" y="71"/>
                      <a:pt x="563" y="71"/>
                    </a:cubicBezTo>
                    <a:cubicBezTo>
                      <a:pt x="565" y="71"/>
                      <a:pt x="567" y="70"/>
                      <a:pt x="567" y="66"/>
                    </a:cubicBezTo>
                    <a:moveTo>
                      <a:pt x="558" y="171"/>
                    </a:moveTo>
                    <a:cubicBezTo>
                      <a:pt x="531" y="171"/>
                      <a:pt x="531" y="171"/>
                      <a:pt x="531" y="171"/>
                    </a:cubicBezTo>
                    <a:cubicBezTo>
                      <a:pt x="531" y="118"/>
                      <a:pt x="531" y="118"/>
                      <a:pt x="531" y="118"/>
                    </a:cubicBezTo>
                    <a:cubicBezTo>
                      <a:pt x="558" y="118"/>
                      <a:pt x="558" y="118"/>
                      <a:pt x="558" y="118"/>
                    </a:cubicBezTo>
                    <a:lnTo>
                      <a:pt x="558" y="171"/>
                    </a:lnTo>
                    <a:close/>
                    <a:moveTo>
                      <a:pt x="567" y="171"/>
                    </a:moveTo>
                    <a:cubicBezTo>
                      <a:pt x="567" y="118"/>
                      <a:pt x="567" y="118"/>
                      <a:pt x="567" y="118"/>
                    </a:cubicBezTo>
                    <a:cubicBezTo>
                      <a:pt x="567" y="113"/>
                      <a:pt x="563" y="109"/>
                      <a:pt x="558" y="109"/>
                    </a:cubicBezTo>
                    <a:cubicBezTo>
                      <a:pt x="531" y="109"/>
                      <a:pt x="531" y="109"/>
                      <a:pt x="531" y="109"/>
                    </a:cubicBezTo>
                    <a:cubicBezTo>
                      <a:pt x="526" y="109"/>
                      <a:pt x="522" y="113"/>
                      <a:pt x="522" y="118"/>
                    </a:cubicBezTo>
                    <a:cubicBezTo>
                      <a:pt x="522" y="171"/>
                      <a:pt x="522" y="171"/>
                      <a:pt x="522" y="171"/>
                    </a:cubicBezTo>
                    <a:cubicBezTo>
                      <a:pt x="522" y="176"/>
                      <a:pt x="526" y="180"/>
                      <a:pt x="531" y="180"/>
                    </a:cubicBezTo>
                    <a:cubicBezTo>
                      <a:pt x="558" y="180"/>
                      <a:pt x="558" y="180"/>
                      <a:pt x="558" y="180"/>
                    </a:cubicBezTo>
                    <a:cubicBezTo>
                      <a:pt x="563" y="180"/>
                      <a:pt x="567" y="176"/>
                      <a:pt x="567" y="171"/>
                    </a:cubicBezTo>
                    <a:moveTo>
                      <a:pt x="567" y="284"/>
                    </a:moveTo>
                    <a:cubicBezTo>
                      <a:pt x="567" y="261"/>
                      <a:pt x="567" y="261"/>
                      <a:pt x="567" y="261"/>
                    </a:cubicBezTo>
                    <a:cubicBezTo>
                      <a:pt x="567" y="258"/>
                      <a:pt x="566" y="257"/>
                      <a:pt x="563" y="257"/>
                    </a:cubicBezTo>
                    <a:cubicBezTo>
                      <a:pt x="559" y="257"/>
                      <a:pt x="558" y="258"/>
                      <a:pt x="558" y="261"/>
                    </a:cubicBezTo>
                    <a:cubicBezTo>
                      <a:pt x="558" y="279"/>
                      <a:pt x="558" y="279"/>
                      <a:pt x="558" y="279"/>
                    </a:cubicBezTo>
                    <a:cubicBezTo>
                      <a:pt x="549" y="279"/>
                      <a:pt x="549" y="279"/>
                      <a:pt x="549" y="279"/>
                    </a:cubicBezTo>
                    <a:cubicBezTo>
                      <a:pt x="549" y="218"/>
                      <a:pt x="549" y="218"/>
                      <a:pt x="549" y="218"/>
                    </a:cubicBezTo>
                    <a:cubicBezTo>
                      <a:pt x="527" y="218"/>
                      <a:pt x="527" y="218"/>
                      <a:pt x="527" y="218"/>
                    </a:cubicBezTo>
                    <a:cubicBezTo>
                      <a:pt x="524" y="218"/>
                      <a:pt x="522" y="219"/>
                      <a:pt x="522" y="222"/>
                    </a:cubicBezTo>
                    <a:cubicBezTo>
                      <a:pt x="522" y="226"/>
                      <a:pt x="524" y="227"/>
                      <a:pt x="527" y="227"/>
                    </a:cubicBezTo>
                    <a:cubicBezTo>
                      <a:pt x="540" y="227"/>
                      <a:pt x="540" y="227"/>
                      <a:pt x="540" y="227"/>
                    </a:cubicBezTo>
                    <a:cubicBezTo>
                      <a:pt x="540" y="279"/>
                      <a:pt x="540" y="279"/>
                      <a:pt x="540" y="279"/>
                    </a:cubicBezTo>
                    <a:cubicBezTo>
                      <a:pt x="527" y="279"/>
                      <a:pt x="527" y="279"/>
                      <a:pt x="527" y="279"/>
                    </a:cubicBezTo>
                    <a:cubicBezTo>
                      <a:pt x="524" y="279"/>
                      <a:pt x="522" y="281"/>
                      <a:pt x="522" y="284"/>
                    </a:cubicBezTo>
                    <a:cubicBezTo>
                      <a:pt x="522" y="287"/>
                      <a:pt x="524" y="288"/>
                      <a:pt x="527" y="288"/>
                    </a:cubicBezTo>
                    <a:cubicBezTo>
                      <a:pt x="563" y="288"/>
                      <a:pt x="563" y="288"/>
                      <a:pt x="563" y="288"/>
                    </a:cubicBezTo>
                    <a:cubicBezTo>
                      <a:pt x="565" y="288"/>
                      <a:pt x="567" y="287"/>
                      <a:pt x="567" y="284"/>
                    </a:cubicBezTo>
                  </a:path>
                </a:pathLst>
              </a:custGeom>
              <a:solidFill>
                <a:schemeClr val="accent5"/>
              </a:solidFill>
              <a:ln>
                <a:noFill/>
              </a:ln>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grpSp>
      </p:grpSp>
      <p:sp>
        <p:nvSpPr>
          <p:cNvPr id="201" name="Rectangle 60"/>
          <p:cNvSpPr>
            <a:spLocks noChangeArrowheads="1"/>
          </p:cNvSpPr>
          <p:nvPr/>
        </p:nvSpPr>
        <p:spPr bwMode="auto">
          <a:xfrm>
            <a:off x="6812448" y="775551"/>
            <a:ext cx="1865207" cy="2412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grpSp>
        <p:nvGrpSpPr>
          <p:cNvPr id="711" name="Group 710"/>
          <p:cNvGrpSpPr/>
          <p:nvPr/>
        </p:nvGrpSpPr>
        <p:grpSpPr>
          <a:xfrm>
            <a:off x="9518751" y="4078274"/>
            <a:ext cx="2473206" cy="2385185"/>
            <a:chOff x="9332092" y="3998671"/>
            <a:chExt cx="2424932" cy="2338629"/>
          </a:xfrm>
        </p:grpSpPr>
        <p:sp>
          <p:nvSpPr>
            <p:cNvPr id="189" name="TextBox 188"/>
            <p:cNvSpPr txBox="1"/>
            <p:nvPr/>
          </p:nvSpPr>
          <p:spPr>
            <a:xfrm>
              <a:off x="9332092" y="5044638"/>
              <a:ext cx="2424932" cy="1292662"/>
            </a:xfrm>
            <a:prstGeom prst="rect">
              <a:avLst/>
            </a:prstGeom>
            <a:noFill/>
          </p:spPr>
          <p:txBody>
            <a:bodyPr wrap="square" lIns="93260" tIns="93260" rIns="93260" bIns="93260" rtlCol="0">
              <a:noAutofit/>
            </a:bodyPr>
            <a:lstStyle/>
            <a:p>
              <a:pPr algn="ctr" defTabSz="932597">
                <a:defRPr/>
              </a:pPr>
              <a:r>
                <a:rPr lang="en-US" sz="2040" kern="0" dirty="0">
                  <a:solidFill>
                    <a:srgbClr val="505050"/>
                  </a:solidFill>
                  <a:latin typeface="Segoe UI Semibold" panose="020B0702040204020203" pitchFamily="34" charset="0"/>
                </a:rPr>
                <a:t>Browse metadata catalog</a:t>
              </a:r>
            </a:p>
          </p:txBody>
        </p:sp>
        <p:grpSp>
          <p:nvGrpSpPr>
            <p:cNvPr id="315" name="Group 314"/>
            <p:cNvGrpSpPr/>
            <p:nvPr/>
          </p:nvGrpSpPr>
          <p:grpSpPr>
            <a:xfrm>
              <a:off x="10018318" y="3998671"/>
              <a:ext cx="1141413" cy="1117600"/>
              <a:chOff x="6973888" y="1462088"/>
              <a:chExt cx="1141413" cy="1117600"/>
            </a:xfrm>
          </p:grpSpPr>
          <p:sp>
            <p:nvSpPr>
              <p:cNvPr id="202" name="Freeform 61"/>
              <p:cNvSpPr>
                <a:spLocks/>
              </p:cNvSpPr>
              <p:nvPr/>
            </p:nvSpPr>
            <p:spPr bwMode="auto">
              <a:xfrm>
                <a:off x="7002463" y="2503488"/>
                <a:ext cx="1074738" cy="76200"/>
              </a:xfrm>
              <a:custGeom>
                <a:avLst/>
                <a:gdLst>
                  <a:gd name="T0" fmla="*/ 1394 w 1438"/>
                  <a:gd name="T1" fmla="*/ 0 h 103"/>
                  <a:gd name="T2" fmla="*/ 1388 w 1438"/>
                  <a:gd name="T3" fmla="*/ 0 h 103"/>
                  <a:gd name="T4" fmla="*/ 1344 w 1438"/>
                  <a:gd name="T5" fmla="*/ 0 h 103"/>
                  <a:gd name="T6" fmla="*/ 1344 w 1438"/>
                  <a:gd name="T7" fmla="*/ 36 h 103"/>
                  <a:gd name="T8" fmla="*/ 1249 w 1438"/>
                  <a:gd name="T9" fmla="*/ 36 h 103"/>
                  <a:gd name="T10" fmla="*/ 1249 w 1438"/>
                  <a:gd name="T11" fmla="*/ 63 h 103"/>
                  <a:gd name="T12" fmla="*/ 1180 w 1438"/>
                  <a:gd name="T13" fmla="*/ 63 h 103"/>
                  <a:gd name="T14" fmla="*/ 1180 w 1438"/>
                  <a:gd name="T15" fmla="*/ 36 h 103"/>
                  <a:gd name="T16" fmla="*/ 1023 w 1438"/>
                  <a:gd name="T17" fmla="*/ 36 h 103"/>
                  <a:gd name="T18" fmla="*/ 1023 w 1438"/>
                  <a:gd name="T19" fmla="*/ 0 h 103"/>
                  <a:gd name="T20" fmla="*/ 903 w 1438"/>
                  <a:gd name="T21" fmla="*/ 0 h 103"/>
                  <a:gd name="T22" fmla="*/ 903 w 1438"/>
                  <a:gd name="T23" fmla="*/ 63 h 103"/>
                  <a:gd name="T24" fmla="*/ 868 w 1438"/>
                  <a:gd name="T25" fmla="*/ 63 h 103"/>
                  <a:gd name="T26" fmla="*/ 834 w 1438"/>
                  <a:gd name="T27" fmla="*/ 63 h 103"/>
                  <a:gd name="T28" fmla="*/ 834 w 1438"/>
                  <a:gd name="T29" fmla="*/ 0 h 103"/>
                  <a:gd name="T30" fmla="*/ 738 w 1438"/>
                  <a:gd name="T31" fmla="*/ 0 h 103"/>
                  <a:gd name="T32" fmla="*/ 779 w 1438"/>
                  <a:gd name="T33" fmla="*/ 40 h 103"/>
                  <a:gd name="T34" fmla="*/ 779 w 1438"/>
                  <a:gd name="T35" fmla="*/ 63 h 103"/>
                  <a:gd name="T36" fmla="*/ 637 w 1438"/>
                  <a:gd name="T37" fmla="*/ 63 h 103"/>
                  <a:gd name="T38" fmla="*/ 637 w 1438"/>
                  <a:gd name="T39" fmla="*/ 63 h 103"/>
                  <a:gd name="T40" fmla="*/ 568 w 1438"/>
                  <a:gd name="T41" fmla="*/ 63 h 103"/>
                  <a:gd name="T42" fmla="*/ 478 w 1438"/>
                  <a:gd name="T43" fmla="*/ 63 h 103"/>
                  <a:gd name="T44" fmla="*/ 478 w 1438"/>
                  <a:gd name="T45" fmla="*/ 63 h 103"/>
                  <a:gd name="T46" fmla="*/ 478 w 1438"/>
                  <a:gd name="T47" fmla="*/ 0 h 103"/>
                  <a:gd name="T48" fmla="*/ 402 w 1438"/>
                  <a:gd name="T49" fmla="*/ 0 h 103"/>
                  <a:gd name="T50" fmla="*/ 402 w 1438"/>
                  <a:gd name="T51" fmla="*/ 66 h 103"/>
                  <a:gd name="T52" fmla="*/ 134 w 1438"/>
                  <a:gd name="T53" fmla="*/ 66 h 103"/>
                  <a:gd name="T54" fmla="*/ 134 w 1438"/>
                  <a:gd name="T55" fmla="*/ 66 h 103"/>
                  <a:gd name="T56" fmla="*/ 134 w 1438"/>
                  <a:gd name="T57" fmla="*/ 66 h 103"/>
                  <a:gd name="T58" fmla="*/ 0 w 1438"/>
                  <a:gd name="T59" fmla="*/ 66 h 103"/>
                  <a:gd name="T60" fmla="*/ 42 w 1438"/>
                  <a:gd name="T61" fmla="*/ 103 h 103"/>
                  <a:gd name="T62" fmla="*/ 1394 w 1438"/>
                  <a:gd name="T63" fmla="*/ 103 h 103"/>
                  <a:gd name="T64" fmla="*/ 1438 w 1438"/>
                  <a:gd name="T65" fmla="*/ 51 h 103"/>
                  <a:gd name="T66" fmla="*/ 1394 w 1438"/>
                  <a:gd name="T67"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38" h="103">
                    <a:moveTo>
                      <a:pt x="1394" y="0"/>
                    </a:moveTo>
                    <a:cubicBezTo>
                      <a:pt x="1392" y="0"/>
                      <a:pt x="1388" y="0"/>
                      <a:pt x="1388" y="0"/>
                    </a:cubicBezTo>
                    <a:cubicBezTo>
                      <a:pt x="1344" y="0"/>
                      <a:pt x="1344" y="0"/>
                      <a:pt x="1344" y="0"/>
                    </a:cubicBezTo>
                    <a:cubicBezTo>
                      <a:pt x="1344" y="36"/>
                      <a:pt x="1344" y="36"/>
                      <a:pt x="1344" y="36"/>
                    </a:cubicBezTo>
                    <a:cubicBezTo>
                      <a:pt x="1249" y="36"/>
                      <a:pt x="1249" y="36"/>
                      <a:pt x="1249" y="36"/>
                    </a:cubicBezTo>
                    <a:cubicBezTo>
                      <a:pt x="1249" y="63"/>
                      <a:pt x="1249" y="63"/>
                      <a:pt x="1249" y="63"/>
                    </a:cubicBezTo>
                    <a:cubicBezTo>
                      <a:pt x="1180" y="63"/>
                      <a:pt x="1180" y="63"/>
                      <a:pt x="1180" y="63"/>
                    </a:cubicBezTo>
                    <a:cubicBezTo>
                      <a:pt x="1180" y="36"/>
                      <a:pt x="1180" y="36"/>
                      <a:pt x="1180" y="36"/>
                    </a:cubicBezTo>
                    <a:cubicBezTo>
                      <a:pt x="1023" y="36"/>
                      <a:pt x="1023" y="36"/>
                      <a:pt x="1023" y="36"/>
                    </a:cubicBezTo>
                    <a:cubicBezTo>
                      <a:pt x="1023" y="0"/>
                      <a:pt x="1023" y="0"/>
                      <a:pt x="1023" y="0"/>
                    </a:cubicBezTo>
                    <a:cubicBezTo>
                      <a:pt x="903" y="0"/>
                      <a:pt x="903" y="0"/>
                      <a:pt x="903" y="0"/>
                    </a:cubicBezTo>
                    <a:cubicBezTo>
                      <a:pt x="903" y="63"/>
                      <a:pt x="903" y="63"/>
                      <a:pt x="903" y="63"/>
                    </a:cubicBezTo>
                    <a:cubicBezTo>
                      <a:pt x="868" y="63"/>
                      <a:pt x="868" y="63"/>
                      <a:pt x="868" y="63"/>
                    </a:cubicBezTo>
                    <a:cubicBezTo>
                      <a:pt x="834" y="63"/>
                      <a:pt x="834" y="63"/>
                      <a:pt x="834" y="63"/>
                    </a:cubicBezTo>
                    <a:cubicBezTo>
                      <a:pt x="834" y="0"/>
                      <a:pt x="834" y="0"/>
                      <a:pt x="834" y="0"/>
                    </a:cubicBezTo>
                    <a:cubicBezTo>
                      <a:pt x="738" y="0"/>
                      <a:pt x="738" y="0"/>
                      <a:pt x="738" y="0"/>
                    </a:cubicBezTo>
                    <a:cubicBezTo>
                      <a:pt x="779" y="40"/>
                      <a:pt x="779" y="40"/>
                      <a:pt x="779" y="40"/>
                    </a:cubicBezTo>
                    <a:cubicBezTo>
                      <a:pt x="779" y="63"/>
                      <a:pt x="779" y="63"/>
                      <a:pt x="779" y="63"/>
                    </a:cubicBezTo>
                    <a:cubicBezTo>
                      <a:pt x="637" y="63"/>
                      <a:pt x="637" y="63"/>
                      <a:pt x="637" y="63"/>
                    </a:cubicBezTo>
                    <a:cubicBezTo>
                      <a:pt x="637" y="63"/>
                      <a:pt x="637" y="63"/>
                      <a:pt x="637" y="63"/>
                    </a:cubicBezTo>
                    <a:cubicBezTo>
                      <a:pt x="568" y="63"/>
                      <a:pt x="568" y="63"/>
                      <a:pt x="568" y="63"/>
                    </a:cubicBezTo>
                    <a:cubicBezTo>
                      <a:pt x="478" y="63"/>
                      <a:pt x="478" y="63"/>
                      <a:pt x="478" y="63"/>
                    </a:cubicBezTo>
                    <a:cubicBezTo>
                      <a:pt x="478" y="63"/>
                      <a:pt x="478" y="63"/>
                      <a:pt x="478" y="63"/>
                    </a:cubicBezTo>
                    <a:cubicBezTo>
                      <a:pt x="478" y="0"/>
                      <a:pt x="478" y="0"/>
                      <a:pt x="478" y="0"/>
                    </a:cubicBezTo>
                    <a:cubicBezTo>
                      <a:pt x="402" y="0"/>
                      <a:pt x="402" y="0"/>
                      <a:pt x="402" y="0"/>
                    </a:cubicBezTo>
                    <a:cubicBezTo>
                      <a:pt x="402" y="66"/>
                      <a:pt x="402" y="66"/>
                      <a:pt x="402" y="66"/>
                    </a:cubicBezTo>
                    <a:cubicBezTo>
                      <a:pt x="134" y="66"/>
                      <a:pt x="134" y="66"/>
                      <a:pt x="134" y="66"/>
                    </a:cubicBezTo>
                    <a:cubicBezTo>
                      <a:pt x="134" y="66"/>
                      <a:pt x="134" y="66"/>
                      <a:pt x="134" y="66"/>
                    </a:cubicBezTo>
                    <a:cubicBezTo>
                      <a:pt x="134" y="66"/>
                      <a:pt x="134" y="66"/>
                      <a:pt x="134" y="66"/>
                    </a:cubicBezTo>
                    <a:cubicBezTo>
                      <a:pt x="0" y="66"/>
                      <a:pt x="0" y="66"/>
                      <a:pt x="0" y="66"/>
                    </a:cubicBezTo>
                    <a:cubicBezTo>
                      <a:pt x="5" y="87"/>
                      <a:pt x="22" y="103"/>
                      <a:pt x="42" y="103"/>
                    </a:cubicBezTo>
                    <a:cubicBezTo>
                      <a:pt x="45" y="103"/>
                      <a:pt x="1390" y="103"/>
                      <a:pt x="1394" y="103"/>
                    </a:cubicBezTo>
                    <a:cubicBezTo>
                      <a:pt x="1418" y="103"/>
                      <a:pt x="1438" y="80"/>
                      <a:pt x="1438" y="51"/>
                    </a:cubicBezTo>
                    <a:cubicBezTo>
                      <a:pt x="1438" y="23"/>
                      <a:pt x="1418" y="0"/>
                      <a:pt x="1394" y="0"/>
                    </a:cubicBezTo>
                  </a:path>
                </a:pathLst>
              </a:custGeom>
              <a:solidFill>
                <a:srgbClr val="00A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03" name="Freeform 62"/>
              <p:cNvSpPr>
                <a:spLocks/>
              </p:cNvSpPr>
              <p:nvPr/>
            </p:nvSpPr>
            <p:spPr bwMode="auto">
              <a:xfrm>
                <a:off x="7056438" y="1878013"/>
                <a:ext cx="354013" cy="674688"/>
              </a:xfrm>
              <a:custGeom>
                <a:avLst/>
                <a:gdLst>
                  <a:gd name="T0" fmla="*/ 455 w 475"/>
                  <a:gd name="T1" fmla="*/ 590 h 903"/>
                  <a:gd name="T2" fmla="*/ 475 w 475"/>
                  <a:gd name="T3" fmla="*/ 570 h 903"/>
                  <a:gd name="T4" fmla="*/ 475 w 475"/>
                  <a:gd name="T5" fmla="*/ 497 h 903"/>
                  <a:gd name="T6" fmla="*/ 455 w 475"/>
                  <a:gd name="T7" fmla="*/ 477 h 903"/>
                  <a:gd name="T8" fmla="*/ 230 w 475"/>
                  <a:gd name="T9" fmla="*/ 477 h 903"/>
                  <a:gd name="T10" fmla="*/ 230 w 475"/>
                  <a:gd name="T11" fmla="*/ 322 h 903"/>
                  <a:gd name="T12" fmla="*/ 382 w 475"/>
                  <a:gd name="T13" fmla="*/ 322 h 903"/>
                  <a:gd name="T14" fmla="*/ 402 w 475"/>
                  <a:gd name="T15" fmla="*/ 302 h 903"/>
                  <a:gd name="T16" fmla="*/ 402 w 475"/>
                  <a:gd name="T17" fmla="*/ 20 h 903"/>
                  <a:gd name="T18" fmla="*/ 382 w 475"/>
                  <a:gd name="T19" fmla="*/ 0 h 903"/>
                  <a:gd name="T20" fmla="*/ 67 w 475"/>
                  <a:gd name="T21" fmla="*/ 0 h 903"/>
                  <a:gd name="T22" fmla="*/ 20 w 475"/>
                  <a:gd name="T23" fmla="*/ 0 h 903"/>
                  <a:gd name="T24" fmla="*/ 0 w 475"/>
                  <a:gd name="T25" fmla="*/ 20 h 903"/>
                  <a:gd name="T26" fmla="*/ 0 w 475"/>
                  <a:gd name="T27" fmla="*/ 302 h 903"/>
                  <a:gd name="T28" fmla="*/ 20 w 475"/>
                  <a:gd name="T29" fmla="*/ 322 h 903"/>
                  <a:gd name="T30" fmla="*/ 67 w 475"/>
                  <a:gd name="T31" fmla="*/ 322 h 903"/>
                  <a:gd name="T32" fmla="*/ 115 w 475"/>
                  <a:gd name="T33" fmla="*/ 322 h 903"/>
                  <a:gd name="T34" fmla="*/ 115 w 475"/>
                  <a:gd name="T35" fmla="*/ 477 h 903"/>
                  <a:gd name="T36" fmla="*/ 20 w 475"/>
                  <a:gd name="T37" fmla="*/ 477 h 903"/>
                  <a:gd name="T38" fmla="*/ 0 w 475"/>
                  <a:gd name="T39" fmla="*/ 497 h 903"/>
                  <a:gd name="T40" fmla="*/ 0 w 475"/>
                  <a:gd name="T41" fmla="*/ 570 h 903"/>
                  <a:gd name="T42" fmla="*/ 20 w 475"/>
                  <a:gd name="T43" fmla="*/ 590 h 903"/>
                  <a:gd name="T44" fmla="*/ 131 w 475"/>
                  <a:gd name="T45" fmla="*/ 590 h 903"/>
                  <a:gd name="T46" fmla="*/ 232 w 475"/>
                  <a:gd name="T47" fmla="*/ 590 h 903"/>
                  <a:gd name="T48" fmla="*/ 232 w 475"/>
                  <a:gd name="T49" fmla="*/ 714 h 903"/>
                  <a:gd name="T50" fmla="*/ 211 w 475"/>
                  <a:gd name="T51" fmla="*/ 714 h 903"/>
                  <a:gd name="T52" fmla="*/ 211 w 475"/>
                  <a:gd name="T53" fmla="*/ 778 h 903"/>
                  <a:gd name="T54" fmla="*/ 20 w 475"/>
                  <a:gd name="T55" fmla="*/ 778 h 903"/>
                  <a:gd name="T56" fmla="*/ 0 w 475"/>
                  <a:gd name="T57" fmla="*/ 798 h 903"/>
                  <a:gd name="T58" fmla="*/ 0 w 475"/>
                  <a:gd name="T59" fmla="*/ 815 h 903"/>
                  <a:gd name="T60" fmla="*/ 20 w 475"/>
                  <a:gd name="T61" fmla="*/ 836 h 903"/>
                  <a:gd name="T62" fmla="*/ 63 w 475"/>
                  <a:gd name="T63" fmla="*/ 836 h 903"/>
                  <a:gd name="T64" fmla="*/ 65 w 475"/>
                  <a:gd name="T65" fmla="*/ 836 h 903"/>
                  <a:gd name="T66" fmla="*/ 65 w 475"/>
                  <a:gd name="T67" fmla="*/ 836 h 903"/>
                  <a:gd name="T68" fmla="*/ 63 w 475"/>
                  <a:gd name="T69" fmla="*/ 836 h 903"/>
                  <a:gd name="T70" fmla="*/ 29 w 475"/>
                  <a:gd name="T71" fmla="*/ 869 h 903"/>
                  <a:gd name="T72" fmla="*/ 63 w 475"/>
                  <a:gd name="T73" fmla="*/ 903 h 903"/>
                  <a:gd name="T74" fmla="*/ 97 w 475"/>
                  <a:gd name="T75" fmla="*/ 869 h 903"/>
                  <a:gd name="T76" fmla="*/ 66 w 475"/>
                  <a:gd name="T77" fmla="*/ 836 h 903"/>
                  <a:gd name="T78" fmla="*/ 423 w 475"/>
                  <a:gd name="T79" fmla="*/ 836 h 903"/>
                  <a:gd name="T80" fmla="*/ 423 w 475"/>
                  <a:gd name="T81" fmla="*/ 836 h 903"/>
                  <a:gd name="T82" fmla="*/ 455 w 475"/>
                  <a:gd name="T83" fmla="*/ 836 h 903"/>
                  <a:gd name="T84" fmla="*/ 475 w 475"/>
                  <a:gd name="T85" fmla="*/ 815 h 903"/>
                  <a:gd name="T86" fmla="*/ 475 w 475"/>
                  <a:gd name="T87" fmla="*/ 798 h 903"/>
                  <a:gd name="T88" fmla="*/ 455 w 475"/>
                  <a:gd name="T89" fmla="*/ 778 h 903"/>
                  <a:gd name="T90" fmla="*/ 299 w 475"/>
                  <a:gd name="T91" fmla="*/ 778 h 903"/>
                  <a:gd name="T92" fmla="*/ 299 w 475"/>
                  <a:gd name="T93" fmla="*/ 714 h 903"/>
                  <a:gd name="T94" fmla="*/ 278 w 475"/>
                  <a:gd name="T95" fmla="*/ 714 h 903"/>
                  <a:gd name="T96" fmla="*/ 278 w 475"/>
                  <a:gd name="T97" fmla="*/ 590 h 903"/>
                  <a:gd name="T98" fmla="*/ 455 w 475"/>
                  <a:gd name="T99" fmla="*/ 59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75" h="903">
                    <a:moveTo>
                      <a:pt x="455" y="590"/>
                    </a:moveTo>
                    <a:cubicBezTo>
                      <a:pt x="475" y="590"/>
                      <a:pt x="475" y="570"/>
                      <a:pt x="475" y="570"/>
                    </a:cubicBezTo>
                    <a:cubicBezTo>
                      <a:pt x="475" y="497"/>
                      <a:pt x="475" y="497"/>
                      <a:pt x="475" y="497"/>
                    </a:cubicBezTo>
                    <a:cubicBezTo>
                      <a:pt x="475" y="477"/>
                      <a:pt x="455" y="477"/>
                      <a:pt x="455" y="477"/>
                    </a:cubicBezTo>
                    <a:cubicBezTo>
                      <a:pt x="230" y="477"/>
                      <a:pt x="230" y="477"/>
                      <a:pt x="230" y="477"/>
                    </a:cubicBezTo>
                    <a:cubicBezTo>
                      <a:pt x="230" y="322"/>
                      <a:pt x="230" y="322"/>
                      <a:pt x="230" y="322"/>
                    </a:cubicBezTo>
                    <a:cubicBezTo>
                      <a:pt x="382" y="322"/>
                      <a:pt x="382" y="322"/>
                      <a:pt x="382" y="322"/>
                    </a:cubicBezTo>
                    <a:cubicBezTo>
                      <a:pt x="402" y="322"/>
                      <a:pt x="402" y="302"/>
                      <a:pt x="402" y="302"/>
                    </a:cubicBezTo>
                    <a:cubicBezTo>
                      <a:pt x="402" y="20"/>
                      <a:pt x="402" y="20"/>
                      <a:pt x="402" y="20"/>
                    </a:cubicBezTo>
                    <a:cubicBezTo>
                      <a:pt x="402" y="0"/>
                      <a:pt x="382" y="0"/>
                      <a:pt x="382" y="0"/>
                    </a:cubicBezTo>
                    <a:cubicBezTo>
                      <a:pt x="67" y="0"/>
                      <a:pt x="67" y="0"/>
                      <a:pt x="67" y="0"/>
                    </a:cubicBezTo>
                    <a:cubicBezTo>
                      <a:pt x="20" y="0"/>
                      <a:pt x="20" y="0"/>
                      <a:pt x="20" y="0"/>
                    </a:cubicBezTo>
                    <a:cubicBezTo>
                      <a:pt x="0" y="0"/>
                      <a:pt x="0" y="20"/>
                      <a:pt x="0" y="20"/>
                    </a:cubicBezTo>
                    <a:cubicBezTo>
                      <a:pt x="0" y="302"/>
                      <a:pt x="0" y="302"/>
                      <a:pt x="0" y="302"/>
                    </a:cubicBezTo>
                    <a:cubicBezTo>
                      <a:pt x="0" y="322"/>
                      <a:pt x="20" y="322"/>
                      <a:pt x="20" y="322"/>
                    </a:cubicBezTo>
                    <a:cubicBezTo>
                      <a:pt x="67" y="322"/>
                      <a:pt x="67" y="322"/>
                      <a:pt x="67" y="322"/>
                    </a:cubicBezTo>
                    <a:cubicBezTo>
                      <a:pt x="115" y="322"/>
                      <a:pt x="115" y="322"/>
                      <a:pt x="115" y="322"/>
                    </a:cubicBezTo>
                    <a:cubicBezTo>
                      <a:pt x="115" y="477"/>
                      <a:pt x="115" y="477"/>
                      <a:pt x="115" y="477"/>
                    </a:cubicBezTo>
                    <a:cubicBezTo>
                      <a:pt x="20" y="477"/>
                      <a:pt x="20" y="477"/>
                      <a:pt x="20" y="477"/>
                    </a:cubicBezTo>
                    <a:cubicBezTo>
                      <a:pt x="0" y="477"/>
                      <a:pt x="0" y="497"/>
                      <a:pt x="0" y="497"/>
                    </a:cubicBezTo>
                    <a:cubicBezTo>
                      <a:pt x="0" y="570"/>
                      <a:pt x="0" y="570"/>
                      <a:pt x="0" y="570"/>
                    </a:cubicBezTo>
                    <a:cubicBezTo>
                      <a:pt x="0" y="590"/>
                      <a:pt x="20" y="590"/>
                      <a:pt x="20" y="590"/>
                    </a:cubicBezTo>
                    <a:cubicBezTo>
                      <a:pt x="131" y="590"/>
                      <a:pt x="131" y="590"/>
                      <a:pt x="131" y="590"/>
                    </a:cubicBezTo>
                    <a:cubicBezTo>
                      <a:pt x="232" y="590"/>
                      <a:pt x="232" y="590"/>
                      <a:pt x="232" y="590"/>
                    </a:cubicBezTo>
                    <a:cubicBezTo>
                      <a:pt x="232" y="714"/>
                      <a:pt x="232" y="714"/>
                      <a:pt x="232" y="714"/>
                    </a:cubicBezTo>
                    <a:cubicBezTo>
                      <a:pt x="211" y="714"/>
                      <a:pt x="211" y="714"/>
                      <a:pt x="211" y="714"/>
                    </a:cubicBezTo>
                    <a:cubicBezTo>
                      <a:pt x="211" y="778"/>
                      <a:pt x="211" y="778"/>
                      <a:pt x="211" y="778"/>
                    </a:cubicBezTo>
                    <a:cubicBezTo>
                      <a:pt x="20" y="778"/>
                      <a:pt x="20" y="778"/>
                      <a:pt x="20" y="778"/>
                    </a:cubicBezTo>
                    <a:cubicBezTo>
                      <a:pt x="20" y="778"/>
                      <a:pt x="0" y="778"/>
                      <a:pt x="0" y="798"/>
                    </a:cubicBezTo>
                    <a:cubicBezTo>
                      <a:pt x="0" y="815"/>
                      <a:pt x="0" y="815"/>
                      <a:pt x="0" y="815"/>
                    </a:cubicBezTo>
                    <a:cubicBezTo>
                      <a:pt x="0" y="815"/>
                      <a:pt x="0" y="836"/>
                      <a:pt x="20" y="836"/>
                    </a:cubicBezTo>
                    <a:cubicBezTo>
                      <a:pt x="63" y="836"/>
                      <a:pt x="63" y="836"/>
                      <a:pt x="63" y="836"/>
                    </a:cubicBezTo>
                    <a:cubicBezTo>
                      <a:pt x="65" y="836"/>
                      <a:pt x="65" y="836"/>
                      <a:pt x="65" y="836"/>
                    </a:cubicBezTo>
                    <a:cubicBezTo>
                      <a:pt x="65" y="836"/>
                      <a:pt x="65" y="836"/>
                      <a:pt x="65" y="836"/>
                    </a:cubicBezTo>
                    <a:cubicBezTo>
                      <a:pt x="64" y="836"/>
                      <a:pt x="63" y="836"/>
                      <a:pt x="63" y="836"/>
                    </a:cubicBezTo>
                    <a:cubicBezTo>
                      <a:pt x="44" y="836"/>
                      <a:pt x="29" y="851"/>
                      <a:pt x="29" y="869"/>
                    </a:cubicBezTo>
                    <a:cubicBezTo>
                      <a:pt x="29" y="888"/>
                      <a:pt x="44" y="903"/>
                      <a:pt x="63" y="903"/>
                    </a:cubicBezTo>
                    <a:cubicBezTo>
                      <a:pt x="82" y="903"/>
                      <a:pt x="97" y="888"/>
                      <a:pt x="97" y="869"/>
                    </a:cubicBezTo>
                    <a:cubicBezTo>
                      <a:pt x="97" y="852"/>
                      <a:pt x="83" y="837"/>
                      <a:pt x="66" y="836"/>
                    </a:cubicBezTo>
                    <a:cubicBezTo>
                      <a:pt x="423" y="836"/>
                      <a:pt x="423" y="836"/>
                      <a:pt x="423" y="836"/>
                    </a:cubicBezTo>
                    <a:cubicBezTo>
                      <a:pt x="423" y="836"/>
                      <a:pt x="423" y="836"/>
                      <a:pt x="423" y="836"/>
                    </a:cubicBezTo>
                    <a:cubicBezTo>
                      <a:pt x="455" y="836"/>
                      <a:pt x="455" y="836"/>
                      <a:pt x="455" y="836"/>
                    </a:cubicBezTo>
                    <a:cubicBezTo>
                      <a:pt x="455" y="836"/>
                      <a:pt x="475" y="836"/>
                      <a:pt x="475" y="815"/>
                    </a:cubicBezTo>
                    <a:cubicBezTo>
                      <a:pt x="475" y="798"/>
                      <a:pt x="475" y="798"/>
                      <a:pt x="475" y="798"/>
                    </a:cubicBezTo>
                    <a:cubicBezTo>
                      <a:pt x="475" y="798"/>
                      <a:pt x="475" y="778"/>
                      <a:pt x="455" y="778"/>
                    </a:cubicBezTo>
                    <a:cubicBezTo>
                      <a:pt x="299" y="778"/>
                      <a:pt x="299" y="778"/>
                      <a:pt x="299" y="778"/>
                    </a:cubicBezTo>
                    <a:cubicBezTo>
                      <a:pt x="299" y="714"/>
                      <a:pt x="299" y="714"/>
                      <a:pt x="299" y="714"/>
                    </a:cubicBezTo>
                    <a:cubicBezTo>
                      <a:pt x="278" y="714"/>
                      <a:pt x="278" y="714"/>
                      <a:pt x="278" y="714"/>
                    </a:cubicBezTo>
                    <a:cubicBezTo>
                      <a:pt x="278" y="590"/>
                      <a:pt x="278" y="590"/>
                      <a:pt x="278" y="590"/>
                    </a:cubicBezTo>
                    <a:cubicBezTo>
                      <a:pt x="455" y="590"/>
                      <a:pt x="455" y="590"/>
                      <a:pt x="455" y="59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05" name="Freeform 64"/>
              <p:cNvSpPr>
                <a:spLocks noEditPoints="1"/>
              </p:cNvSpPr>
              <p:nvPr/>
            </p:nvSpPr>
            <p:spPr bwMode="auto">
              <a:xfrm>
                <a:off x="7999413" y="1803401"/>
                <a:ext cx="115888" cy="77788"/>
              </a:xfrm>
              <a:custGeom>
                <a:avLst/>
                <a:gdLst>
                  <a:gd name="T0" fmla="*/ 73 w 73"/>
                  <a:gd name="T1" fmla="*/ 49 h 49"/>
                  <a:gd name="T2" fmla="*/ 0 w 73"/>
                  <a:gd name="T3" fmla="*/ 49 h 49"/>
                  <a:gd name="T4" fmla="*/ 0 w 73"/>
                  <a:gd name="T5" fmla="*/ 0 h 49"/>
                  <a:gd name="T6" fmla="*/ 73 w 73"/>
                  <a:gd name="T7" fmla="*/ 0 h 49"/>
                  <a:gd name="T8" fmla="*/ 73 w 73"/>
                  <a:gd name="T9" fmla="*/ 49 h 49"/>
                  <a:gd name="T10" fmla="*/ 1 w 73"/>
                  <a:gd name="T11" fmla="*/ 48 h 49"/>
                  <a:gd name="T12" fmla="*/ 71 w 73"/>
                  <a:gd name="T13" fmla="*/ 48 h 49"/>
                  <a:gd name="T14" fmla="*/ 71 w 73"/>
                  <a:gd name="T15" fmla="*/ 2 h 49"/>
                  <a:gd name="T16" fmla="*/ 1 w 73"/>
                  <a:gd name="T17" fmla="*/ 2 h 49"/>
                  <a:gd name="T18" fmla="*/ 1 w 73"/>
                  <a:gd name="T19" fmla="*/ 4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49">
                    <a:moveTo>
                      <a:pt x="73" y="49"/>
                    </a:moveTo>
                    <a:lnTo>
                      <a:pt x="0" y="49"/>
                    </a:lnTo>
                    <a:lnTo>
                      <a:pt x="0" y="0"/>
                    </a:lnTo>
                    <a:lnTo>
                      <a:pt x="73" y="0"/>
                    </a:lnTo>
                    <a:lnTo>
                      <a:pt x="73" y="49"/>
                    </a:lnTo>
                    <a:close/>
                    <a:moveTo>
                      <a:pt x="1" y="48"/>
                    </a:moveTo>
                    <a:lnTo>
                      <a:pt x="71" y="48"/>
                    </a:lnTo>
                    <a:lnTo>
                      <a:pt x="71" y="2"/>
                    </a:lnTo>
                    <a:lnTo>
                      <a:pt x="1" y="2"/>
                    </a:lnTo>
                    <a:lnTo>
                      <a:pt x="1" y="4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06" name="Freeform 65"/>
              <p:cNvSpPr>
                <a:spLocks noEditPoints="1"/>
              </p:cNvSpPr>
              <p:nvPr/>
            </p:nvSpPr>
            <p:spPr bwMode="auto">
              <a:xfrm>
                <a:off x="7999413" y="1803401"/>
                <a:ext cx="115888" cy="77788"/>
              </a:xfrm>
              <a:custGeom>
                <a:avLst/>
                <a:gdLst>
                  <a:gd name="T0" fmla="*/ 73 w 73"/>
                  <a:gd name="T1" fmla="*/ 49 h 49"/>
                  <a:gd name="T2" fmla="*/ 0 w 73"/>
                  <a:gd name="T3" fmla="*/ 49 h 49"/>
                  <a:gd name="T4" fmla="*/ 0 w 73"/>
                  <a:gd name="T5" fmla="*/ 0 h 49"/>
                  <a:gd name="T6" fmla="*/ 73 w 73"/>
                  <a:gd name="T7" fmla="*/ 0 h 49"/>
                  <a:gd name="T8" fmla="*/ 73 w 73"/>
                  <a:gd name="T9" fmla="*/ 49 h 49"/>
                  <a:gd name="T10" fmla="*/ 1 w 73"/>
                  <a:gd name="T11" fmla="*/ 48 h 49"/>
                  <a:gd name="T12" fmla="*/ 71 w 73"/>
                  <a:gd name="T13" fmla="*/ 48 h 49"/>
                  <a:gd name="T14" fmla="*/ 71 w 73"/>
                  <a:gd name="T15" fmla="*/ 2 h 49"/>
                  <a:gd name="T16" fmla="*/ 1 w 73"/>
                  <a:gd name="T17" fmla="*/ 2 h 49"/>
                  <a:gd name="T18" fmla="*/ 1 w 73"/>
                  <a:gd name="T19" fmla="*/ 4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49">
                    <a:moveTo>
                      <a:pt x="73" y="49"/>
                    </a:moveTo>
                    <a:lnTo>
                      <a:pt x="0" y="49"/>
                    </a:lnTo>
                    <a:lnTo>
                      <a:pt x="0" y="0"/>
                    </a:lnTo>
                    <a:lnTo>
                      <a:pt x="73" y="0"/>
                    </a:lnTo>
                    <a:lnTo>
                      <a:pt x="73" y="49"/>
                    </a:lnTo>
                    <a:moveTo>
                      <a:pt x="1" y="48"/>
                    </a:moveTo>
                    <a:lnTo>
                      <a:pt x="71" y="48"/>
                    </a:lnTo>
                    <a:lnTo>
                      <a:pt x="71" y="2"/>
                    </a:lnTo>
                    <a:lnTo>
                      <a:pt x="1" y="2"/>
                    </a:lnTo>
                    <a:lnTo>
                      <a:pt x="1" y="4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08" name="Freeform 67"/>
              <p:cNvSpPr>
                <a:spLocks/>
              </p:cNvSpPr>
              <p:nvPr/>
            </p:nvSpPr>
            <p:spPr bwMode="auto">
              <a:xfrm>
                <a:off x="7999413" y="1803401"/>
                <a:ext cx="115888" cy="77788"/>
              </a:xfrm>
              <a:custGeom>
                <a:avLst/>
                <a:gdLst>
                  <a:gd name="T0" fmla="*/ 156 w 156"/>
                  <a:gd name="T1" fmla="*/ 0 h 105"/>
                  <a:gd name="T2" fmla="*/ 0 w 156"/>
                  <a:gd name="T3" fmla="*/ 0 h 105"/>
                  <a:gd name="T4" fmla="*/ 0 w 156"/>
                  <a:gd name="T5" fmla="*/ 105 h 105"/>
                  <a:gd name="T6" fmla="*/ 95 w 156"/>
                  <a:gd name="T7" fmla="*/ 105 h 105"/>
                  <a:gd name="T8" fmla="*/ 92 w 156"/>
                  <a:gd name="T9" fmla="*/ 101 h 105"/>
                  <a:gd name="T10" fmla="*/ 4 w 156"/>
                  <a:gd name="T11" fmla="*/ 101 h 105"/>
                  <a:gd name="T12" fmla="*/ 4 w 156"/>
                  <a:gd name="T13" fmla="*/ 4 h 105"/>
                  <a:gd name="T14" fmla="*/ 152 w 156"/>
                  <a:gd name="T15" fmla="*/ 4 h 105"/>
                  <a:gd name="T16" fmla="*/ 152 w 156"/>
                  <a:gd name="T17" fmla="*/ 101 h 105"/>
                  <a:gd name="T18" fmla="*/ 102 w 156"/>
                  <a:gd name="T19" fmla="*/ 101 h 105"/>
                  <a:gd name="T20" fmla="*/ 104 w 156"/>
                  <a:gd name="T21" fmla="*/ 105 h 105"/>
                  <a:gd name="T22" fmla="*/ 156 w 156"/>
                  <a:gd name="T23" fmla="*/ 105 h 105"/>
                  <a:gd name="T24" fmla="*/ 156 w 156"/>
                  <a:gd name="T2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6" h="105">
                    <a:moveTo>
                      <a:pt x="156" y="0"/>
                    </a:moveTo>
                    <a:cubicBezTo>
                      <a:pt x="0" y="0"/>
                      <a:pt x="0" y="0"/>
                      <a:pt x="0" y="0"/>
                    </a:cubicBezTo>
                    <a:cubicBezTo>
                      <a:pt x="0" y="105"/>
                      <a:pt x="0" y="105"/>
                      <a:pt x="0" y="105"/>
                    </a:cubicBezTo>
                    <a:cubicBezTo>
                      <a:pt x="95" y="105"/>
                      <a:pt x="95" y="105"/>
                      <a:pt x="95" y="105"/>
                    </a:cubicBezTo>
                    <a:cubicBezTo>
                      <a:pt x="94" y="104"/>
                      <a:pt x="93" y="102"/>
                      <a:pt x="92" y="101"/>
                    </a:cubicBezTo>
                    <a:cubicBezTo>
                      <a:pt x="4" y="101"/>
                      <a:pt x="4" y="101"/>
                      <a:pt x="4" y="101"/>
                    </a:cubicBezTo>
                    <a:cubicBezTo>
                      <a:pt x="4" y="4"/>
                      <a:pt x="4" y="4"/>
                      <a:pt x="4" y="4"/>
                    </a:cubicBezTo>
                    <a:cubicBezTo>
                      <a:pt x="152" y="4"/>
                      <a:pt x="152" y="4"/>
                      <a:pt x="152" y="4"/>
                    </a:cubicBezTo>
                    <a:cubicBezTo>
                      <a:pt x="152" y="101"/>
                      <a:pt x="152" y="101"/>
                      <a:pt x="152" y="101"/>
                    </a:cubicBezTo>
                    <a:cubicBezTo>
                      <a:pt x="102" y="101"/>
                      <a:pt x="102" y="101"/>
                      <a:pt x="102" y="101"/>
                    </a:cubicBezTo>
                    <a:cubicBezTo>
                      <a:pt x="103" y="102"/>
                      <a:pt x="103" y="104"/>
                      <a:pt x="104" y="105"/>
                    </a:cubicBezTo>
                    <a:cubicBezTo>
                      <a:pt x="156" y="105"/>
                      <a:pt x="156" y="105"/>
                      <a:pt x="156" y="105"/>
                    </a:cubicBezTo>
                    <a:cubicBezTo>
                      <a:pt x="156" y="0"/>
                      <a:pt x="156" y="0"/>
                      <a:pt x="156" y="0"/>
                    </a:cubicBezTo>
                  </a:path>
                </a:pathLst>
              </a:custGeom>
              <a:solidFill>
                <a:srgbClr val="001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09" name="Freeform 68"/>
              <p:cNvSpPr>
                <a:spLocks/>
              </p:cNvSpPr>
              <p:nvPr/>
            </p:nvSpPr>
            <p:spPr bwMode="auto">
              <a:xfrm>
                <a:off x="7820026" y="2443163"/>
                <a:ext cx="39688" cy="46038"/>
              </a:xfrm>
              <a:custGeom>
                <a:avLst/>
                <a:gdLst>
                  <a:gd name="T0" fmla="*/ 27 w 54"/>
                  <a:gd name="T1" fmla="*/ 0 h 62"/>
                  <a:gd name="T2" fmla="*/ 0 w 54"/>
                  <a:gd name="T3" fmla="*/ 27 h 62"/>
                  <a:gd name="T4" fmla="*/ 0 w 54"/>
                  <a:gd name="T5" fmla="*/ 62 h 62"/>
                  <a:gd name="T6" fmla="*/ 54 w 54"/>
                  <a:gd name="T7" fmla="*/ 62 h 62"/>
                  <a:gd name="T8" fmla="*/ 54 w 54"/>
                  <a:gd name="T9" fmla="*/ 27 h 62"/>
                  <a:gd name="T10" fmla="*/ 27 w 54"/>
                  <a:gd name="T11" fmla="*/ 0 h 62"/>
                </a:gdLst>
                <a:ahLst/>
                <a:cxnLst>
                  <a:cxn ang="0">
                    <a:pos x="T0" y="T1"/>
                  </a:cxn>
                  <a:cxn ang="0">
                    <a:pos x="T2" y="T3"/>
                  </a:cxn>
                  <a:cxn ang="0">
                    <a:pos x="T4" y="T5"/>
                  </a:cxn>
                  <a:cxn ang="0">
                    <a:pos x="T6" y="T7"/>
                  </a:cxn>
                  <a:cxn ang="0">
                    <a:pos x="T8" y="T9"/>
                  </a:cxn>
                  <a:cxn ang="0">
                    <a:pos x="T10" y="T11"/>
                  </a:cxn>
                </a:cxnLst>
                <a:rect l="0" t="0" r="r" b="b"/>
                <a:pathLst>
                  <a:path w="54" h="62">
                    <a:moveTo>
                      <a:pt x="27" y="0"/>
                    </a:moveTo>
                    <a:cubicBezTo>
                      <a:pt x="13" y="0"/>
                      <a:pt x="0" y="12"/>
                      <a:pt x="0" y="27"/>
                    </a:cubicBezTo>
                    <a:cubicBezTo>
                      <a:pt x="0" y="62"/>
                      <a:pt x="0" y="62"/>
                      <a:pt x="0" y="62"/>
                    </a:cubicBezTo>
                    <a:cubicBezTo>
                      <a:pt x="54" y="62"/>
                      <a:pt x="54" y="62"/>
                      <a:pt x="54" y="62"/>
                    </a:cubicBezTo>
                    <a:cubicBezTo>
                      <a:pt x="54" y="27"/>
                      <a:pt x="54" y="27"/>
                      <a:pt x="54" y="27"/>
                    </a:cubicBezTo>
                    <a:cubicBezTo>
                      <a:pt x="54" y="12"/>
                      <a:pt x="42" y="0"/>
                      <a:pt x="27" y="0"/>
                    </a:cubicBezTo>
                    <a:close/>
                  </a:path>
                </a:pathLst>
              </a:custGeom>
              <a:solidFill>
                <a:srgbClr val="1527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10" name="Freeform 69"/>
              <p:cNvSpPr>
                <a:spLocks/>
              </p:cNvSpPr>
              <p:nvPr/>
            </p:nvSpPr>
            <p:spPr bwMode="auto">
              <a:xfrm>
                <a:off x="7869238" y="2443163"/>
                <a:ext cx="41275" cy="46038"/>
              </a:xfrm>
              <a:custGeom>
                <a:avLst/>
                <a:gdLst>
                  <a:gd name="T0" fmla="*/ 27 w 54"/>
                  <a:gd name="T1" fmla="*/ 0 h 62"/>
                  <a:gd name="T2" fmla="*/ 0 w 54"/>
                  <a:gd name="T3" fmla="*/ 27 h 62"/>
                  <a:gd name="T4" fmla="*/ 0 w 54"/>
                  <a:gd name="T5" fmla="*/ 62 h 62"/>
                  <a:gd name="T6" fmla="*/ 54 w 54"/>
                  <a:gd name="T7" fmla="*/ 62 h 62"/>
                  <a:gd name="T8" fmla="*/ 54 w 54"/>
                  <a:gd name="T9" fmla="*/ 27 h 62"/>
                  <a:gd name="T10" fmla="*/ 27 w 54"/>
                  <a:gd name="T11" fmla="*/ 0 h 62"/>
                </a:gdLst>
                <a:ahLst/>
                <a:cxnLst>
                  <a:cxn ang="0">
                    <a:pos x="T0" y="T1"/>
                  </a:cxn>
                  <a:cxn ang="0">
                    <a:pos x="T2" y="T3"/>
                  </a:cxn>
                  <a:cxn ang="0">
                    <a:pos x="T4" y="T5"/>
                  </a:cxn>
                  <a:cxn ang="0">
                    <a:pos x="T6" y="T7"/>
                  </a:cxn>
                  <a:cxn ang="0">
                    <a:pos x="T8" y="T9"/>
                  </a:cxn>
                  <a:cxn ang="0">
                    <a:pos x="T10" y="T11"/>
                  </a:cxn>
                </a:cxnLst>
                <a:rect l="0" t="0" r="r" b="b"/>
                <a:pathLst>
                  <a:path w="54" h="62">
                    <a:moveTo>
                      <a:pt x="27" y="0"/>
                    </a:moveTo>
                    <a:cubicBezTo>
                      <a:pt x="12" y="0"/>
                      <a:pt x="0" y="12"/>
                      <a:pt x="0" y="27"/>
                    </a:cubicBezTo>
                    <a:cubicBezTo>
                      <a:pt x="0" y="62"/>
                      <a:pt x="0" y="62"/>
                      <a:pt x="0" y="62"/>
                    </a:cubicBezTo>
                    <a:cubicBezTo>
                      <a:pt x="54" y="62"/>
                      <a:pt x="54" y="62"/>
                      <a:pt x="54" y="62"/>
                    </a:cubicBezTo>
                    <a:cubicBezTo>
                      <a:pt x="54" y="27"/>
                      <a:pt x="54" y="27"/>
                      <a:pt x="54" y="27"/>
                    </a:cubicBezTo>
                    <a:cubicBezTo>
                      <a:pt x="54" y="12"/>
                      <a:pt x="42" y="0"/>
                      <a:pt x="27" y="0"/>
                    </a:cubicBezTo>
                  </a:path>
                </a:pathLst>
              </a:custGeom>
              <a:solidFill>
                <a:srgbClr val="1527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11" name="Freeform 70"/>
              <p:cNvSpPr>
                <a:spLocks/>
              </p:cNvSpPr>
              <p:nvPr/>
            </p:nvSpPr>
            <p:spPr bwMode="auto">
              <a:xfrm>
                <a:off x="7883526" y="1841501"/>
                <a:ext cx="222250" cy="615950"/>
              </a:xfrm>
              <a:custGeom>
                <a:avLst/>
                <a:gdLst>
                  <a:gd name="T0" fmla="*/ 34 w 298"/>
                  <a:gd name="T1" fmla="*/ 825 h 825"/>
                  <a:gd name="T2" fmla="*/ 30 w 298"/>
                  <a:gd name="T3" fmla="*/ 822 h 825"/>
                  <a:gd name="T4" fmla="*/ 145 w 298"/>
                  <a:gd name="T5" fmla="*/ 450 h 825"/>
                  <a:gd name="T6" fmla="*/ 261 w 298"/>
                  <a:gd name="T7" fmla="*/ 217 h 825"/>
                  <a:gd name="T8" fmla="*/ 201 w 298"/>
                  <a:gd name="T9" fmla="*/ 8 h 825"/>
                  <a:gd name="T10" fmla="*/ 200 w 298"/>
                  <a:gd name="T11" fmla="*/ 3 h 825"/>
                  <a:gd name="T12" fmla="*/ 205 w 298"/>
                  <a:gd name="T13" fmla="*/ 1 h 825"/>
                  <a:gd name="T14" fmla="*/ 269 w 298"/>
                  <a:gd name="T15" fmla="*/ 218 h 825"/>
                  <a:gd name="T16" fmla="*/ 152 w 298"/>
                  <a:gd name="T17" fmla="*/ 455 h 825"/>
                  <a:gd name="T18" fmla="*/ 38 w 298"/>
                  <a:gd name="T19" fmla="*/ 820 h 825"/>
                  <a:gd name="T20" fmla="*/ 35 w 298"/>
                  <a:gd name="T21" fmla="*/ 825 h 825"/>
                  <a:gd name="T22" fmla="*/ 34 w 298"/>
                  <a:gd name="T23" fmla="*/ 825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8" h="825">
                    <a:moveTo>
                      <a:pt x="34" y="825"/>
                    </a:moveTo>
                    <a:cubicBezTo>
                      <a:pt x="32" y="825"/>
                      <a:pt x="31" y="823"/>
                      <a:pt x="30" y="822"/>
                    </a:cubicBezTo>
                    <a:cubicBezTo>
                      <a:pt x="0" y="676"/>
                      <a:pt x="74" y="561"/>
                      <a:pt x="145" y="450"/>
                    </a:cubicBezTo>
                    <a:cubicBezTo>
                      <a:pt x="192" y="377"/>
                      <a:pt x="241" y="302"/>
                      <a:pt x="261" y="217"/>
                    </a:cubicBezTo>
                    <a:cubicBezTo>
                      <a:pt x="273" y="170"/>
                      <a:pt x="289" y="57"/>
                      <a:pt x="201" y="8"/>
                    </a:cubicBezTo>
                    <a:cubicBezTo>
                      <a:pt x="200" y="7"/>
                      <a:pt x="199" y="5"/>
                      <a:pt x="200" y="3"/>
                    </a:cubicBezTo>
                    <a:cubicBezTo>
                      <a:pt x="201" y="1"/>
                      <a:pt x="203" y="0"/>
                      <a:pt x="205" y="1"/>
                    </a:cubicBezTo>
                    <a:cubicBezTo>
                      <a:pt x="298" y="53"/>
                      <a:pt x="281" y="170"/>
                      <a:pt x="269" y="218"/>
                    </a:cubicBezTo>
                    <a:cubicBezTo>
                      <a:pt x="248" y="305"/>
                      <a:pt x="199" y="381"/>
                      <a:pt x="152" y="455"/>
                    </a:cubicBezTo>
                    <a:cubicBezTo>
                      <a:pt x="78" y="569"/>
                      <a:pt x="9" y="677"/>
                      <a:pt x="38" y="820"/>
                    </a:cubicBezTo>
                    <a:cubicBezTo>
                      <a:pt x="39" y="822"/>
                      <a:pt x="37" y="824"/>
                      <a:pt x="35" y="825"/>
                    </a:cubicBezTo>
                    <a:cubicBezTo>
                      <a:pt x="34" y="825"/>
                      <a:pt x="34" y="825"/>
                      <a:pt x="34" y="825"/>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12" name="Freeform 71"/>
              <p:cNvSpPr>
                <a:spLocks/>
              </p:cNvSpPr>
              <p:nvPr/>
            </p:nvSpPr>
            <p:spPr bwMode="auto">
              <a:xfrm>
                <a:off x="7318376" y="1792288"/>
                <a:ext cx="215900" cy="155575"/>
              </a:xfrm>
              <a:custGeom>
                <a:avLst/>
                <a:gdLst>
                  <a:gd name="T0" fmla="*/ 0 w 289"/>
                  <a:gd name="T1" fmla="*/ 37 h 208"/>
                  <a:gd name="T2" fmla="*/ 286 w 289"/>
                  <a:gd name="T3" fmla="*/ 208 h 208"/>
                  <a:gd name="T4" fmla="*/ 289 w 289"/>
                  <a:gd name="T5" fmla="*/ 208 h 208"/>
                  <a:gd name="T6" fmla="*/ 289 w 289"/>
                  <a:gd name="T7" fmla="*/ 129 h 208"/>
                  <a:gd name="T8" fmla="*/ 70 w 289"/>
                  <a:gd name="T9" fmla="*/ 0 h 208"/>
                  <a:gd name="T10" fmla="*/ 0 w 289"/>
                  <a:gd name="T11" fmla="*/ 37 h 208"/>
                </a:gdLst>
                <a:ahLst/>
                <a:cxnLst>
                  <a:cxn ang="0">
                    <a:pos x="T0" y="T1"/>
                  </a:cxn>
                  <a:cxn ang="0">
                    <a:pos x="T2" y="T3"/>
                  </a:cxn>
                  <a:cxn ang="0">
                    <a:pos x="T4" y="T5"/>
                  </a:cxn>
                  <a:cxn ang="0">
                    <a:pos x="T6" y="T7"/>
                  </a:cxn>
                  <a:cxn ang="0">
                    <a:pos x="T8" y="T9"/>
                  </a:cxn>
                  <a:cxn ang="0">
                    <a:pos x="T10" y="T11"/>
                  </a:cxn>
                </a:cxnLst>
                <a:rect l="0" t="0" r="r" b="b"/>
                <a:pathLst>
                  <a:path w="289" h="208">
                    <a:moveTo>
                      <a:pt x="0" y="37"/>
                    </a:moveTo>
                    <a:cubicBezTo>
                      <a:pt x="42" y="120"/>
                      <a:pt x="133" y="208"/>
                      <a:pt x="286" y="208"/>
                    </a:cubicBezTo>
                    <a:cubicBezTo>
                      <a:pt x="287" y="208"/>
                      <a:pt x="288" y="208"/>
                      <a:pt x="289" y="208"/>
                    </a:cubicBezTo>
                    <a:cubicBezTo>
                      <a:pt x="289" y="129"/>
                      <a:pt x="289" y="129"/>
                      <a:pt x="289" y="129"/>
                    </a:cubicBezTo>
                    <a:cubicBezTo>
                      <a:pt x="164" y="128"/>
                      <a:pt x="106" y="67"/>
                      <a:pt x="70" y="0"/>
                    </a:cubicBezTo>
                    <a:cubicBezTo>
                      <a:pt x="42" y="11"/>
                      <a:pt x="0" y="37"/>
                      <a:pt x="0" y="37"/>
                    </a:cubicBezTo>
                  </a:path>
                </a:pathLst>
              </a:custGeom>
              <a:solidFill>
                <a:srgbClr val="672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13" name="Rectangle 72"/>
              <p:cNvSpPr>
                <a:spLocks noChangeArrowheads="1"/>
              </p:cNvSpPr>
              <p:nvPr/>
            </p:nvSpPr>
            <p:spPr bwMode="auto">
              <a:xfrm>
                <a:off x="7767638" y="2487613"/>
                <a:ext cx="239713" cy="42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14" name="Rectangle 73"/>
              <p:cNvSpPr>
                <a:spLocks noChangeArrowheads="1"/>
              </p:cNvSpPr>
              <p:nvPr/>
            </p:nvSpPr>
            <p:spPr bwMode="auto">
              <a:xfrm>
                <a:off x="7767638" y="2487613"/>
                <a:ext cx="239713" cy="42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15" name="Freeform 74"/>
              <p:cNvSpPr>
                <a:spLocks/>
              </p:cNvSpPr>
              <p:nvPr/>
            </p:nvSpPr>
            <p:spPr bwMode="auto">
              <a:xfrm>
                <a:off x="7454901" y="2478088"/>
                <a:ext cx="130175" cy="71438"/>
              </a:xfrm>
              <a:custGeom>
                <a:avLst/>
                <a:gdLst>
                  <a:gd name="T0" fmla="*/ 82 w 82"/>
                  <a:gd name="T1" fmla="*/ 35 h 45"/>
                  <a:gd name="T2" fmla="*/ 47 w 82"/>
                  <a:gd name="T3" fmla="*/ 0 h 45"/>
                  <a:gd name="T4" fmla="*/ 0 w 82"/>
                  <a:gd name="T5" fmla="*/ 0 h 45"/>
                  <a:gd name="T6" fmla="*/ 0 w 82"/>
                  <a:gd name="T7" fmla="*/ 45 h 45"/>
                  <a:gd name="T8" fmla="*/ 82 w 82"/>
                  <a:gd name="T9" fmla="*/ 45 h 45"/>
                  <a:gd name="T10" fmla="*/ 82 w 82"/>
                  <a:gd name="T11" fmla="*/ 35 h 45"/>
                </a:gdLst>
                <a:ahLst/>
                <a:cxnLst>
                  <a:cxn ang="0">
                    <a:pos x="T0" y="T1"/>
                  </a:cxn>
                  <a:cxn ang="0">
                    <a:pos x="T2" y="T3"/>
                  </a:cxn>
                  <a:cxn ang="0">
                    <a:pos x="T4" y="T5"/>
                  </a:cxn>
                  <a:cxn ang="0">
                    <a:pos x="T6" y="T7"/>
                  </a:cxn>
                  <a:cxn ang="0">
                    <a:pos x="T8" y="T9"/>
                  </a:cxn>
                  <a:cxn ang="0">
                    <a:pos x="T10" y="T11"/>
                  </a:cxn>
                </a:cxnLst>
                <a:rect l="0" t="0" r="r" b="b"/>
                <a:pathLst>
                  <a:path w="82" h="45">
                    <a:moveTo>
                      <a:pt x="82" y="35"/>
                    </a:moveTo>
                    <a:lnTo>
                      <a:pt x="47" y="0"/>
                    </a:lnTo>
                    <a:lnTo>
                      <a:pt x="0" y="0"/>
                    </a:lnTo>
                    <a:lnTo>
                      <a:pt x="0" y="45"/>
                    </a:lnTo>
                    <a:lnTo>
                      <a:pt x="82" y="45"/>
                    </a:lnTo>
                    <a:lnTo>
                      <a:pt x="82" y="35"/>
                    </a:lnTo>
                    <a:close/>
                  </a:path>
                </a:pathLst>
              </a:custGeom>
              <a:solidFill>
                <a:srgbClr val="1527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16" name="Freeform 75"/>
              <p:cNvSpPr>
                <a:spLocks/>
              </p:cNvSpPr>
              <p:nvPr/>
            </p:nvSpPr>
            <p:spPr bwMode="auto">
              <a:xfrm>
                <a:off x="7454901" y="2478088"/>
                <a:ext cx="130175" cy="71438"/>
              </a:xfrm>
              <a:custGeom>
                <a:avLst/>
                <a:gdLst>
                  <a:gd name="T0" fmla="*/ 82 w 82"/>
                  <a:gd name="T1" fmla="*/ 35 h 45"/>
                  <a:gd name="T2" fmla="*/ 47 w 82"/>
                  <a:gd name="T3" fmla="*/ 0 h 45"/>
                  <a:gd name="T4" fmla="*/ 0 w 82"/>
                  <a:gd name="T5" fmla="*/ 0 h 45"/>
                  <a:gd name="T6" fmla="*/ 0 w 82"/>
                  <a:gd name="T7" fmla="*/ 45 h 45"/>
                  <a:gd name="T8" fmla="*/ 82 w 82"/>
                  <a:gd name="T9" fmla="*/ 45 h 45"/>
                  <a:gd name="T10" fmla="*/ 82 w 82"/>
                  <a:gd name="T11" fmla="*/ 35 h 45"/>
                </a:gdLst>
                <a:ahLst/>
                <a:cxnLst>
                  <a:cxn ang="0">
                    <a:pos x="T0" y="T1"/>
                  </a:cxn>
                  <a:cxn ang="0">
                    <a:pos x="T2" y="T3"/>
                  </a:cxn>
                  <a:cxn ang="0">
                    <a:pos x="T4" y="T5"/>
                  </a:cxn>
                  <a:cxn ang="0">
                    <a:pos x="T6" y="T7"/>
                  </a:cxn>
                  <a:cxn ang="0">
                    <a:pos x="T8" y="T9"/>
                  </a:cxn>
                  <a:cxn ang="0">
                    <a:pos x="T10" y="T11"/>
                  </a:cxn>
                </a:cxnLst>
                <a:rect l="0" t="0" r="r" b="b"/>
                <a:pathLst>
                  <a:path w="82" h="45">
                    <a:moveTo>
                      <a:pt x="82" y="35"/>
                    </a:moveTo>
                    <a:lnTo>
                      <a:pt x="47" y="0"/>
                    </a:lnTo>
                    <a:lnTo>
                      <a:pt x="0" y="0"/>
                    </a:lnTo>
                    <a:lnTo>
                      <a:pt x="0" y="45"/>
                    </a:lnTo>
                    <a:lnTo>
                      <a:pt x="82" y="45"/>
                    </a:lnTo>
                    <a:lnTo>
                      <a:pt x="82"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17" name="Freeform 76"/>
              <p:cNvSpPr>
                <a:spLocks/>
              </p:cNvSpPr>
              <p:nvPr/>
            </p:nvSpPr>
            <p:spPr bwMode="auto">
              <a:xfrm>
                <a:off x="7100888" y="2162176"/>
                <a:ext cx="428625" cy="315913"/>
              </a:xfrm>
              <a:custGeom>
                <a:avLst/>
                <a:gdLst>
                  <a:gd name="T0" fmla="*/ 0 w 270"/>
                  <a:gd name="T1" fmla="*/ 0 h 199"/>
                  <a:gd name="T2" fmla="*/ 0 w 270"/>
                  <a:gd name="T3" fmla="*/ 45 h 199"/>
                  <a:gd name="T4" fmla="*/ 224 w 270"/>
                  <a:gd name="T5" fmla="*/ 45 h 199"/>
                  <a:gd name="T6" fmla="*/ 224 w 270"/>
                  <a:gd name="T7" fmla="*/ 199 h 199"/>
                  <a:gd name="T8" fmla="*/ 270 w 270"/>
                  <a:gd name="T9" fmla="*/ 199 h 199"/>
                  <a:gd name="T10" fmla="*/ 270 w 270"/>
                  <a:gd name="T11" fmla="*/ 0 h 199"/>
                  <a:gd name="T12" fmla="*/ 0 w 270"/>
                  <a:gd name="T13" fmla="*/ 0 h 199"/>
                </a:gdLst>
                <a:ahLst/>
                <a:cxnLst>
                  <a:cxn ang="0">
                    <a:pos x="T0" y="T1"/>
                  </a:cxn>
                  <a:cxn ang="0">
                    <a:pos x="T2" y="T3"/>
                  </a:cxn>
                  <a:cxn ang="0">
                    <a:pos x="T4" y="T5"/>
                  </a:cxn>
                  <a:cxn ang="0">
                    <a:pos x="T6" y="T7"/>
                  </a:cxn>
                  <a:cxn ang="0">
                    <a:pos x="T8" y="T9"/>
                  </a:cxn>
                  <a:cxn ang="0">
                    <a:pos x="T10" y="T11"/>
                  </a:cxn>
                  <a:cxn ang="0">
                    <a:pos x="T12" y="T13"/>
                  </a:cxn>
                </a:cxnLst>
                <a:rect l="0" t="0" r="r" b="b"/>
                <a:pathLst>
                  <a:path w="270" h="199">
                    <a:moveTo>
                      <a:pt x="0" y="0"/>
                    </a:moveTo>
                    <a:lnTo>
                      <a:pt x="0" y="45"/>
                    </a:lnTo>
                    <a:lnTo>
                      <a:pt x="224" y="45"/>
                    </a:lnTo>
                    <a:lnTo>
                      <a:pt x="224" y="199"/>
                    </a:lnTo>
                    <a:lnTo>
                      <a:pt x="270" y="199"/>
                    </a:lnTo>
                    <a:lnTo>
                      <a:pt x="270"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18" name="Freeform 77"/>
              <p:cNvSpPr>
                <a:spLocks/>
              </p:cNvSpPr>
              <p:nvPr/>
            </p:nvSpPr>
            <p:spPr bwMode="auto">
              <a:xfrm>
                <a:off x="7100888" y="2162176"/>
                <a:ext cx="428625" cy="315913"/>
              </a:xfrm>
              <a:custGeom>
                <a:avLst/>
                <a:gdLst>
                  <a:gd name="T0" fmla="*/ 0 w 270"/>
                  <a:gd name="T1" fmla="*/ 0 h 199"/>
                  <a:gd name="T2" fmla="*/ 0 w 270"/>
                  <a:gd name="T3" fmla="*/ 45 h 199"/>
                  <a:gd name="T4" fmla="*/ 224 w 270"/>
                  <a:gd name="T5" fmla="*/ 45 h 199"/>
                  <a:gd name="T6" fmla="*/ 224 w 270"/>
                  <a:gd name="T7" fmla="*/ 199 h 199"/>
                  <a:gd name="T8" fmla="*/ 270 w 270"/>
                  <a:gd name="T9" fmla="*/ 199 h 199"/>
                  <a:gd name="T10" fmla="*/ 270 w 270"/>
                  <a:gd name="T11" fmla="*/ 0 h 199"/>
                  <a:gd name="T12" fmla="*/ 0 w 270"/>
                  <a:gd name="T13" fmla="*/ 0 h 199"/>
                </a:gdLst>
                <a:ahLst/>
                <a:cxnLst>
                  <a:cxn ang="0">
                    <a:pos x="T0" y="T1"/>
                  </a:cxn>
                  <a:cxn ang="0">
                    <a:pos x="T2" y="T3"/>
                  </a:cxn>
                  <a:cxn ang="0">
                    <a:pos x="T4" y="T5"/>
                  </a:cxn>
                  <a:cxn ang="0">
                    <a:pos x="T6" y="T7"/>
                  </a:cxn>
                  <a:cxn ang="0">
                    <a:pos x="T8" y="T9"/>
                  </a:cxn>
                  <a:cxn ang="0">
                    <a:pos x="T10" y="T11"/>
                  </a:cxn>
                  <a:cxn ang="0">
                    <a:pos x="T12" y="T13"/>
                  </a:cxn>
                </a:cxnLst>
                <a:rect l="0" t="0" r="r" b="b"/>
                <a:pathLst>
                  <a:path w="270" h="199">
                    <a:moveTo>
                      <a:pt x="0" y="0"/>
                    </a:moveTo>
                    <a:lnTo>
                      <a:pt x="0" y="45"/>
                    </a:lnTo>
                    <a:lnTo>
                      <a:pt x="224" y="45"/>
                    </a:lnTo>
                    <a:lnTo>
                      <a:pt x="224" y="199"/>
                    </a:lnTo>
                    <a:lnTo>
                      <a:pt x="270" y="199"/>
                    </a:lnTo>
                    <a:lnTo>
                      <a:pt x="27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19" name="Rectangle 78"/>
              <p:cNvSpPr>
                <a:spLocks noChangeArrowheads="1"/>
              </p:cNvSpPr>
              <p:nvPr/>
            </p:nvSpPr>
            <p:spPr bwMode="auto">
              <a:xfrm>
                <a:off x="7359651" y="2171701"/>
                <a:ext cx="73025" cy="306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20" name="Rectangle 79"/>
              <p:cNvSpPr>
                <a:spLocks noChangeArrowheads="1"/>
              </p:cNvSpPr>
              <p:nvPr/>
            </p:nvSpPr>
            <p:spPr bwMode="auto">
              <a:xfrm>
                <a:off x="7359651" y="2171701"/>
                <a:ext cx="73025"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21" name="Freeform 80"/>
              <p:cNvSpPr>
                <a:spLocks/>
              </p:cNvSpPr>
              <p:nvPr/>
            </p:nvSpPr>
            <p:spPr bwMode="auto">
              <a:xfrm>
                <a:off x="7100888" y="1685926"/>
                <a:ext cx="298450" cy="476250"/>
              </a:xfrm>
              <a:custGeom>
                <a:avLst/>
                <a:gdLst>
                  <a:gd name="T0" fmla="*/ 321 w 399"/>
                  <a:gd name="T1" fmla="*/ 13 h 639"/>
                  <a:gd name="T2" fmla="*/ 101 w 399"/>
                  <a:gd name="T3" fmla="*/ 13 h 639"/>
                  <a:gd name="T4" fmla="*/ 0 w 399"/>
                  <a:gd name="T5" fmla="*/ 142 h 639"/>
                  <a:gd name="T6" fmla="*/ 0 w 399"/>
                  <a:gd name="T7" fmla="*/ 639 h 639"/>
                  <a:gd name="T8" fmla="*/ 399 w 399"/>
                  <a:gd name="T9" fmla="*/ 639 h 639"/>
                  <a:gd name="T10" fmla="*/ 399 w 399"/>
                  <a:gd name="T11" fmla="*/ 148 h 639"/>
                  <a:gd name="T12" fmla="*/ 321 w 399"/>
                  <a:gd name="T13" fmla="*/ 13 h 639"/>
                </a:gdLst>
                <a:ahLst/>
                <a:cxnLst>
                  <a:cxn ang="0">
                    <a:pos x="T0" y="T1"/>
                  </a:cxn>
                  <a:cxn ang="0">
                    <a:pos x="T2" y="T3"/>
                  </a:cxn>
                  <a:cxn ang="0">
                    <a:pos x="T4" y="T5"/>
                  </a:cxn>
                  <a:cxn ang="0">
                    <a:pos x="T6" y="T7"/>
                  </a:cxn>
                  <a:cxn ang="0">
                    <a:pos x="T8" y="T9"/>
                  </a:cxn>
                  <a:cxn ang="0">
                    <a:pos x="T10" y="T11"/>
                  </a:cxn>
                  <a:cxn ang="0">
                    <a:pos x="T12" y="T13"/>
                  </a:cxn>
                </a:cxnLst>
                <a:rect l="0" t="0" r="r" b="b"/>
                <a:pathLst>
                  <a:path w="399" h="639">
                    <a:moveTo>
                      <a:pt x="321" y="13"/>
                    </a:moveTo>
                    <a:cubicBezTo>
                      <a:pt x="101" y="13"/>
                      <a:pt x="101" y="13"/>
                      <a:pt x="101" y="13"/>
                    </a:cubicBezTo>
                    <a:cubicBezTo>
                      <a:pt x="101" y="13"/>
                      <a:pt x="0" y="0"/>
                      <a:pt x="0" y="142"/>
                    </a:cubicBezTo>
                    <a:cubicBezTo>
                      <a:pt x="0" y="639"/>
                      <a:pt x="0" y="639"/>
                      <a:pt x="0" y="639"/>
                    </a:cubicBezTo>
                    <a:cubicBezTo>
                      <a:pt x="399" y="639"/>
                      <a:pt x="399" y="639"/>
                      <a:pt x="399" y="639"/>
                    </a:cubicBezTo>
                    <a:cubicBezTo>
                      <a:pt x="399" y="148"/>
                      <a:pt x="399" y="148"/>
                      <a:pt x="399" y="148"/>
                    </a:cubicBezTo>
                    <a:cubicBezTo>
                      <a:pt x="399" y="34"/>
                      <a:pt x="341" y="16"/>
                      <a:pt x="321" y="13"/>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22" name="Rectangle 81"/>
              <p:cNvSpPr>
                <a:spLocks noChangeArrowheads="1"/>
              </p:cNvSpPr>
              <p:nvPr/>
            </p:nvSpPr>
            <p:spPr bwMode="auto">
              <a:xfrm>
                <a:off x="7478713" y="2478088"/>
                <a:ext cx="22225" cy="71438"/>
              </a:xfrm>
              <a:prstGeom prst="rect">
                <a:avLst/>
              </a:prstGeom>
              <a:solidFill>
                <a:srgbClr val="1221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23" name="Rectangle 82"/>
              <p:cNvSpPr>
                <a:spLocks noChangeArrowheads="1"/>
              </p:cNvSpPr>
              <p:nvPr/>
            </p:nvSpPr>
            <p:spPr bwMode="auto">
              <a:xfrm>
                <a:off x="7478713" y="2478088"/>
                <a:ext cx="22225"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24" name="Rectangle 83"/>
              <p:cNvSpPr>
                <a:spLocks noChangeArrowheads="1"/>
              </p:cNvSpPr>
              <p:nvPr/>
            </p:nvSpPr>
            <p:spPr bwMode="auto">
              <a:xfrm>
                <a:off x="7478713" y="2201863"/>
                <a:ext cx="22225" cy="276225"/>
              </a:xfrm>
              <a:prstGeom prst="rect">
                <a:avLst/>
              </a:prstGeom>
              <a:solidFill>
                <a:srgbClr val="591C6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25" name="Rectangle 84"/>
              <p:cNvSpPr>
                <a:spLocks noChangeArrowheads="1"/>
              </p:cNvSpPr>
              <p:nvPr/>
            </p:nvSpPr>
            <p:spPr bwMode="auto">
              <a:xfrm>
                <a:off x="7478713" y="2201863"/>
                <a:ext cx="222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26" name="Freeform 85"/>
              <p:cNvSpPr>
                <a:spLocks/>
              </p:cNvSpPr>
              <p:nvPr/>
            </p:nvSpPr>
            <p:spPr bwMode="auto">
              <a:xfrm>
                <a:off x="7359651" y="2478088"/>
                <a:ext cx="109538" cy="71438"/>
              </a:xfrm>
              <a:custGeom>
                <a:avLst/>
                <a:gdLst>
                  <a:gd name="T0" fmla="*/ 69 w 69"/>
                  <a:gd name="T1" fmla="*/ 35 h 45"/>
                  <a:gd name="T2" fmla="*/ 47 w 69"/>
                  <a:gd name="T3" fmla="*/ 0 h 45"/>
                  <a:gd name="T4" fmla="*/ 0 w 69"/>
                  <a:gd name="T5" fmla="*/ 0 h 45"/>
                  <a:gd name="T6" fmla="*/ 0 w 69"/>
                  <a:gd name="T7" fmla="*/ 45 h 45"/>
                  <a:gd name="T8" fmla="*/ 69 w 69"/>
                  <a:gd name="T9" fmla="*/ 45 h 45"/>
                  <a:gd name="T10" fmla="*/ 69 w 69"/>
                  <a:gd name="T11" fmla="*/ 35 h 45"/>
                </a:gdLst>
                <a:ahLst/>
                <a:cxnLst>
                  <a:cxn ang="0">
                    <a:pos x="T0" y="T1"/>
                  </a:cxn>
                  <a:cxn ang="0">
                    <a:pos x="T2" y="T3"/>
                  </a:cxn>
                  <a:cxn ang="0">
                    <a:pos x="T4" y="T5"/>
                  </a:cxn>
                  <a:cxn ang="0">
                    <a:pos x="T6" y="T7"/>
                  </a:cxn>
                  <a:cxn ang="0">
                    <a:pos x="T8" y="T9"/>
                  </a:cxn>
                  <a:cxn ang="0">
                    <a:pos x="T10" y="T11"/>
                  </a:cxn>
                </a:cxnLst>
                <a:rect l="0" t="0" r="r" b="b"/>
                <a:pathLst>
                  <a:path w="69" h="45">
                    <a:moveTo>
                      <a:pt x="69" y="35"/>
                    </a:moveTo>
                    <a:lnTo>
                      <a:pt x="47" y="0"/>
                    </a:lnTo>
                    <a:lnTo>
                      <a:pt x="0" y="0"/>
                    </a:lnTo>
                    <a:lnTo>
                      <a:pt x="0" y="45"/>
                    </a:lnTo>
                    <a:lnTo>
                      <a:pt x="69" y="45"/>
                    </a:lnTo>
                    <a:lnTo>
                      <a:pt x="69" y="35"/>
                    </a:lnTo>
                    <a:close/>
                  </a:path>
                </a:pathLst>
              </a:custGeom>
              <a:solidFill>
                <a:srgbClr val="1527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27" name="Freeform 86"/>
              <p:cNvSpPr>
                <a:spLocks/>
              </p:cNvSpPr>
              <p:nvPr/>
            </p:nvSpPr>
            <p:spPr bwMode="auto">
              <a:xfrm>
                <a:off x="7359651" y="2478088"/>
                <a:ext cx="109538" cy="71438"/>
              </a:xfrm>
              <a:custGeom>
                <a:avLst/>
                <a:gdLst>
                  <a:gd name="T0" fmla="*/ 69 w 69"/>
                  <a:gd name="T1" fmla="*/ 35 h 45"/>
                  <a:gd name="T2" fmla="*/ 47 w 69"/>
                  <a:gd name="T3" fmla="*/ 0 h 45"/>
                  <a:gd name="T4" fmla="*/ 0 w 69"/>
                  <a:gd name="T5" fmla="*/ 0 h 45"/>
                  <a:gd name="T6" fmla="*/ 0 w 69"/>
                  <a:gd name="T7" fmla="*/ 45 h 45"/>
                  <a:gd name="T8" fmla="*/ 69 w 69"/>
                  <a:gd name="T9" fmla="*/ 45 h 45"/>
                  <a:gd name="T10" fmla="*/ 69 w 69"/>
                  <a:gd name="T11" fmla="*/ 35 h 45"/>
                </a:gdLst>
                <a:ahLst/>
                <a:cxnLst>
                  <a:cxn ang="0">
                    <a:pos x="T0" y="T1"/>
                  </a:cxn>
                  <a:cxn ang="0">
                    <a:pos x="T2" y="T3"/>
                  </a:cxn>
                  <a:cxn ang="0">
                    <a:pos x="T4" y="T5"/>
                  </a:cxn>
                  <a:cxn ang="0">
                    <a:pos x="T6" y="T7"/>
                  </a:cxn>
                  <a:cxn ang="0">
                    <a:pos x="T8" y="T9"/>
                  </a:cxn>
                  <a:cxn ang="0">
                    <a:pos x="T10" y="T11"/>
                  </a:cxn>
                </a:cxnLst>
                <a:rect l="0" t="0" r="r" b="b"/>
                <a:pathLst>
                  <a:path w="69" h="45">
                    <a:moveTo>
                      <a:pt x="69" y="35"/>
                    </a:moveTo>
                    <a:lnTo>
                      <a:pt x="47" y="0"/>
                    </a:lnTo>
                    <a:lnTo>
                      <a:pt x="0" y="0"/>
                    </a:lnTo>
                    <a:lnTo>
                      <a:pt x="0" y="45"/>
                    </a:lnTo>
                    <a:lnTo>
                      <a:pt x="69" y="45"/>
                    </a:lnTo>
                    <a:lnTo>
                      <a:pt x="69"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28" name="Freeform 87"/>
              <p:cNvSpPr>
                <a:spLocks noEditPoints="1"/>
              </p:cNvSpPr>
              <p:nvPr/>
            </p:nvSpPr>
            <p:spPr bwMode="auto">
              <a:xfrm>
                <a:off x="7359651" y="2319338"/>
                <a:ext cx="0" cy="184150"/>
              </a:xfrm>
              <a:custGeom>
                <a:avLst/>
                <a:gdLst>
                  <a:gd name="T0" fmla="*/ 115 h 116"/>
                  <a:gd name="T1" fmla="*/ 115 h 116"/>
                  <a:gd name="T2" fmla="*/ 116 h 116"/>
                  <a:gd name="T3" fmla="*/ 116 h 116"/>
                  <a:gd name="T4" fmla="*/ 115 h 116"/>
                  <a:gd name="T5" fmla="*/ 0 h 116"/>
                  <a:gd name="T6" fmla="*/ 0 h 116"/>
                  <a:gd name="T7" fmla="*/ 88 h 116"/>
                  <a:gd name="T8" fmla="*/ 88 h 116"/>
                  <a:gd name="T9" fmla="*/ 0 h 11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116">
                    <a:moveTo>
                      <a:pt x="0" y="115"/>
                    </a:moveTo>
                    <a:lnTo>
                      <a:pt x="0" y="115"/>
                    </a:lnTo>
                    <a:lnTo>
                      <a:pt x="0" y="116"/>
                    </a:lnTo>
                    <a:lnTo>
                      <a:pt x="0" y="116"/>
                    </a:lnTo>
                    <a:lnTo>
                      <a:pt x="0" y="115"/>
                    </a:lnTo>
                    <a:close/>
                    <a:moveTo>
                      <a:pt x="0" y="0"/>
                    </a:moveTo>
                    <a:lnTo>
                      <a:pt x="0" y="0"/>
                    </a:lnTo>
                    <a:lnTo>
                      <a:pt x="0" y="88"/>
                    </a:lnTo>
                    <a:lnTo>
                      <a:pt x="0" y="88"/>
                    </a:lnTo>
                    <a:lnTo>
                      <a:pt x="0" y="0"/>
                    </a:lnTo>
                    <a:close/>
                  </a:path>
                </a:pathLst>
              </a:custGeom>
              <a:solidFill>
                <a:srgbClr val="00A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29" name="Freeform 88"/>
              <p:cNvSpPr>
                <a:spLocks noEditPoints="1"/>
              </p:cNvSpPr>
              <p:nvPr/>
            </p:nvSpPr>
            <p:spPr bwMode="auto">
              <a:xfrm>
                <a:off x="7359651" y="2319338"/>
                <a:ext cx="0" cy="184150"/>
              </a:xfrm>
              <a:custGeom>
                <a:avLst/>
                <a:gdLst>
                  <a:gd name="T0" fmla="*/ 115 h 116"/>
                  <a:gd name="T1" fmla="*/ 115 h 116"/>
                  <a:gd name="T2" fmla="*/ 116 h 116"/>
                  <a:gd name="T3" fmla="*/ 116 h 116"/>
                  <a:gd name="T4" fmla="*/ 115 h 116"/>
                  <a:gd name="T5" fmla="*/ 0 h 116"/>
                  <a:gd name="T6" fmla="*/ 0 h 116"/>
                  <a:gd name="T7" fmla="*/ 88 h 116"/>
                  <a:gd name="T8" fmla="*/ 88 h 116"/>
                  <a:gd name="T9" fmla="*/ 0 h 11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116">
                    <a:moveTo>
                      <a:pt x="0" y="115"/>
                    </a:moveTo>
                    <a:lnTo>
                      <a:pt x="0" y="115"/>
                    </a:lnTo>
                    <a:lnTo>
                      <a:pt x="0" y="116"/>
                    </a:lnTo>
                    <a:lnTo>
                      <a:pt x="0" y="116"/>
                    </a:lnTo>
                    <a:lnTo>
                      <a:pt x="0" y="115"/>
                    </a:lnTo>
                    <a:moveTo>
                      <a:pt x="0" y="0"/>
                    </a:moveTo>
                    <a:lnTo>
                      <a:pt x="0" y="0"/>
                    </a:lnTo>
                    <a:lnTo>
                      <a:pt x="0" y="88"/>
                    </a:lnTo>
                    <a:lnTo>
                      <a:pt x="0" y="8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30" name="Rectangle 89"/>
              <p:cNvSpPr>
                <a:spLocks noChangeArrowheads="1"/>
              </p:cNvSpPr>
              <p:nvPr/>
            </p:nvSpPr>
            <p:spPr bwMode="auto">
              <a:xfrm>
                <a:off x="7359651" y="2503488"/>
                <a:ext cx="1588" cy="46038"/>
              </a:xfrm>
              <a:prstGeom prst="rect">
                <a:avLst/>
              </a:prstGeom>
              <a:solidFill>
                <a:srgbClr val="0090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31" name="Rectangle 90"/>
              <p:cNvSpPr>
                <a:spLocks noChangeArrowheads="1"/>
              </p:cNvSpPr>
              <p:nvPr/>
            </p:nvSpPr>
            <p:spPr bwMode="auto">
              <a:xfrm>
                <a:off x="7359651" y="2503488"/>
                <a:ext cx="1588" cy="46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32" name="Freeform 91"/>
              <p:cNvSpPr>
                <a:spLocks noEditPoints="1"/>
              </p:cNvSpPr>
              <p:nvPr/>
            </p:nvSpPr>
            <p:spPr bwMode="auto">
              <a:xfrm>
                <a:off x="7100888" y="2233613"/>
                <a:ext cx="258763" cy="268288"/>
              </a:xfrm>
              <a:custGeom>
                <a:avLst/>
                <a:gdLst>
                  <a:gd name="T0" fmla="*/ 163 w 163"/>
                  <a:gd name="T1" fmla="*/ 142 h 169"/>
                  <a:gd name="T2" fmla="*/ 163 w 163"/>
                  <a:gd name="T3" fmla="*/ 142 h 169"/>
                  <a:gd name="T4" fmla="*/ 163 w 163"/>
                  <a:gd name="T5" fmla="*/ 169 h 169"/>
                  <a:gd name="T6" fmla="*/ 163 w 163"/>
                  <a:gd name="T7" fmla="*/ 169 h 169"/>
                  <a:gd name="T8" fmla="*/ 163 w 163"/>
                  <a:gd name="T9" fmla="*/ 154 h 169"/>
                  <a:gd name="T10" fmla="*/ 163 w 163"/>
                  <a:gd name="T11" fmla="*/ 142 h 169"/>
                  <a:gd name="T12" fmla="*/ 42 w 163"/>
                  <a:gd name="T13" fmla="*/ 0 h 169"/>
                  <a:gd name="T14" fmla="*/ 26 w 163"/>
                  <a:gd name="T15" fmla="*/ 0 h 169"/>
                  <a:gd name="T16" fmla="*/ 0 w 163"/>
                  <a:gd name="T17" fmla="*/ 0 h 169"/>
                  <a:gd name="T18" fmla="*/ 0 w 163"/>
                  <a:gd name="T19" fmla="*/ 1 h 169"/>
                  <a:gd name="T20" fmla="*/ 42 w 163"/>
                  <a:gd name="T21" fmla="*/ 1 h 169"/>
                  <a:gd name="T22" fmla="*/ 42 w 163"/>
                  <a:gd name="T23" fmla="*/ 0 h 169"/>
                  <a:gd name="T24" fmla="*/ 163 w 163"/>
                  <a:gd name="T25" fmla="*/ 0 h 169"/>
                  <a:gd name="T26" fmla="*/ 80 w 163"/>
                  <a:gd name="T27" fmla="*/ 0 h 169"/>
                  <a:gd name="T28" fmla="*/ 74 w 163"/>
                  <a:gd name="T29" fmla="*/ 0 h 169"/>
                  <a:gd name="T30" fmla="*/ 74 w 163"/>
                  <a:gd name="T31" fmla="*/ 1 h 169"/>
                  <a:gd name="T32" fmla="*/ 163 w 163"/>
                  <a:gd name="T33" fmla="*/ 1 h 169"/>
                  <a:gd name="T34" fmla="*/ 163 w 163"/>
                  <a:gd name="T35" fmla="*/ 54 h 169"/>
                  <a:gd name="T36" fmla="*/ 163 w 163"/>
                  <a:gd name="T37" fmla="*/ 54 h 169"/>
                  <a:gd name="T38" fmla="*/ 163 w 163"/>
                  <a:gd name="T39"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3" h="169">
                    <a:moveTo>
                      <a:pt x="163" y="142"/>
                    </a:moveTo>
                    <a:lnTo>
                      <a:pt x="163" y="142"/>
                    </a:lnTo>
                    <a:lnTo>
                      <a:pt x="163" y="169"/>
                    </a:lnTo>
                    <a:lnTo>
                      <a:pt x="163" y="169"/>
                    </a:lnTo>
                    <a:lnTo>
                      <a:pt x="163" y="154"/>
                    </a:lnTo>
                    <a:lnTo>
                      <a:pt x="163" y="142"/>
                    </a:lnTo>
                    <a:close/>
                    <a:moveTo>
                      <a:pt x="42" y="0"/>
                    </a:moveTo>
                    <a:lnTo>
                      <a:pt x="26" y="0"/>
                    </a:lnTo>
                    <a:lnTo>
                      <a:pt x="0" y="0"/>
                    </a:lnTo>
                    <a:lnTo>
                      <a:pt x="0" y="1"/>
                    </a:lnTo>
                    <a:lnTo>
                      <a:pt x="42" y="1"/>
                    </a:lnTo>
                    <a:lnTo>
                      <a:pt x="42" y="0"/>
                    </a:lnTo>
                    <a:close/>
                    <a:moveTo>
                      <a:pt x="163" y="0"/>
                    </a:moveTo>
                    <a:lnTo>
                      <a:pt x="80" y="0"/>
                    </a:lnTo>
                    <a:lnTo>
                      <a:pt x="74" y="0"/>
                    </a:lnTo>
                    <a:lnTo>
                      <a:pt x="74" y="1"/>
                    </a:lnTo>
                    <a:lnTo>
                      <a:pt x="163" y="1"/>
                    </a:lnTo>
                    <a:lnTo>
                      <a:pt x="163" y="54"/>
                    </a:lnTo>
                    <a:lnTo>
                      <a:pt x="163" y="54"/>
                    </a:lnTo>
                    <a:lnTo>
                      <a:pt x="163" y="0"/>
                    </a:lnTo>
                    <a:close/>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33" name="Freeform 92"/>
              <p:cNvSpPr>
                <a:spLocks noEditPoints="1"/>
              </p:cNvSpPr>
              <p:nvPr/>
            </p:nvSpPr>
            <p:spPr bwMode="auto">
              <a:xfrm>
                <a:off x="7100888" y="2233613"/>
                <a:ext cx="258763" cy="268288"/>
              </a:xfrm>
              <a:custGeom>
                <a:avLst/>
                <a:gdLst>
                  <a:gd name="T0" fmla="*/ 163 w 163"/>
                  <a:gd name="T1" fmla="*/ 142 h 169"/>
                  <a:gd name="T2" fmla="*/ 163 w 163"/>
                  <a:gd name="T3" fmla="*/ 142 h 169"/>
                  <a:gd name="T4" fmla="*/ 163 w 163"/>
                  <a:gd name="T5" fmla="*/ 169 h 169"/>
                  <a:gd name="T6" fmla="*/ 163 w 163"/>
                  <a:gd name="T7" fmla="*/ 169 h 169"/>
                  <a:gd name="T8" fmla="*/ 163 w 163"/>
                  <a:gd name="T9" fmla="*/ 154 h 169"/>
                  <a:gd name="T10" fmla="*/ 163 w 163"/>
                  <a:gd name="T11" fmla="*/ 142 h 169"/>
                  <a:gd name="T12" fmla="*/ 42 w 163"/>
                  <a:gd name="T13" fmla="*/ 0 h 169"/>
                  <a:gd name="T14" fmla="*/ 26 w 163"/>
                  <a:gd name="T15" fmla="*/ 0 h 169"/>
                  <a:gd name="T16" fmla="*/ 0 w 163"/>
                  <a:gd name="T17" fmla="*/ 0 h 169"/>
                  <a:gd name="T18" fmla="*/ 0 w 163"/>
                  <a:gd name="T19" fmla="*/ 1 h 169"/>
                  <a:gd name="T20" fmla="*/ 42 w 163"/>
                  <a:gd name="T21" fmla="*/ 1 h 169"/>
                  <a:gd name="T22" fmla="*/ 42 w 163"/>
                  <a:gd name="T23" fmla="*/ 0 h 169"/>
                  <a:gd name="T24" fmla="*/ 163 w 163"/>
                  <a:gd name="T25" fmla="*/ 0 h 169"/>
                  <a:gd name="T26" fmla="*/ 80 w 163"/>
                  <a:gd name="T27" fmla="*/ 0 h 169"/>
                  <a:gd name="T28" fmla="*/ 74 w 163"/>
                  <a:gd name="T29" fmla="*/ 0 h 169"/>
                  <a:gd name="T30" fmla="*/ 74 w 163"/>
                  <a:gd name="T31" fmla="*/ 1 h 169"/>
                  <a:gd name="T32" fmla="*/ 163 w 163"/>
                  <a:gd name="T33" fmla="*/ 1 h 169"/>
                  <a:gd name="T34" fmla="*/ 163 w 163"/>
                  <a:gd name="T35" fmla="*/ 54 h 169"/>
                  <a:gd name="T36" fmla="*/ 163 w 163"/>
                  <a:gd name="T37" fmla="*/ 54 h 169"/>
                  <a:gd name="T38" fmla="*/ 163 w 163"/>
                  <a:gd name="T39"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3" h="169">
                    <a:moveTo>
                      <a:pt x="163" y="142"/>
                    </a:moveTo>
                    <a:lnTo>
                      <a:pt x="163" y="142"/>
                    </a:lnTo>
                    <a:lnTo>
                      <a:pt x="163" y="169"/>
                    </a:lnTo>
                    <a:lnTo>
                      <a:pt x="163" y="169"/>
                    </a:lnTo>
                    <a:lnTo>
                      <a:pt x="163" y="154"/>
                    </a:lnTo>
                    <a:lnTo>
                      <a:pt x="163" y="142"/>
                    </a:lnTo>
                    <a:moveTo>
                      <a:pt x="42" y="0"/>
                    </a:moveTo>
                    <a:lnTo>
                      <a:pt x="26" y="0"/>
                    </a:lnTo>
                    <a:lnTo>
                      <a:pt x="0" y="0"/>
                    </a:lnTo>
                    <a:lnTo>
                      <a:pt x="0" y="1"/>
                    </a:lnTo>
                    <a:lnTo>
                      <a:pt x="42" y="1"/>
                    </a:lnTo>
                    <a:lnTo>
                      <a:pt x="42" y="0"/>
                    </a:lnTo>
                    <a:moveTo>
                      <a:pt x="163" y="0"/>
                    </a:moveTo>
                    <a:lnTo>
                      <a:pt x="80" y="0"/>
                    </a:lnTo>
                    <a:lnTo>
                      <a:pt x="74" y="0"/>
                    </a:lnTo>
                    <a:lnTo>
                      <a:pt x="74" y="1"/>
                    </a:lnTo>
                    <a:lnTo>
                      <a:pt x="163" y="1"/>
                    </a:lnTo>
                    <a:lnTo>
                      <a:pt x="163" y="54"/>
                    </a:lnTo>
                    <a:lnTo>
                      <a:pt x="163" y="54"/>
                    </a:lnTo>
                    <a:lnTo>
                      <a:pt x="16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34" name="Freeform 93"/>
              <p:cNvSpPr>
                <a:spLocks noEditPoints="1"/>
              </p:cNvSpPr>
              <p:nvPr/>
            </p:nvSpPr>
            <p:spPr bwMode="auto">
              <a:xfrm>
                <a:off x="7100888" y="2201863"/>
                <a:ext cx="258763" cy="31750"/>
              </a:xfrm>
              <a:custGeom>
                <a:avLst/>
                <a:gdLst>
                  <a:gd name="T0" fmla="*/ 42 w 163"/>
                  <a:gd name="T1" fmla="*/ 0 h 20"/>
                  <a:gd name="T2" fmla="*/ 0 w 163"/>
                  <a:gd name="T3" fmla="*/ 0 h 20"/>
                  <a:gd name="T4" fmla="*/ 0 w 163"/>
                  <a:gd name="T5" fmla="*/ 20 h 20"/>
                  <a:gd name="T6" fmla="*/ 26 w 163"/>
                  <a:gd name="T7" fmla="*/ 20 h 20"/>
                  <a:gd name="T8" fmla="*/ 42 w 163"/>
                  <a:gd name="T9" fmla="*/ 20 h 20"/>
                  <a:gd name="T10" fmla="*/ 42 w 163"/>
                  <a:gd name="T11" fmla="*/ 0 h 20"/>
                  <a:gd name="T12" fmla="*/ 163 w 163"/>
                  <a:gd name="T13" fmla="*/ 0 h 20"/>
                  <a:gd name="T14" fmla="*/ 74 w 163"/>
                  <a:gd name="T15" fmla="*/ 0 h 20"/>
                  <a:gd name="T16" fmla="*/ 74 w 163"/>
                  <a:gd name="T17" fmla="*/ 20 h 20"/>
                  <a:gd name="T18" fmla="*/ 80 w 163"/>
                  <a:gd name="T19" fmla="*/ 20 h 20"/>
                  <a:gd name="T20" fmla="*/ 163 w 163"/>
                  <a:gd name="T21" fmla="*/ 20 h 20"/>
                  <a:gd name="T22" fmla="*/ 163 w 163"/>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3" h="20">
                    <a:moveTo>
                      <a:pt x="42" y="0"/>
                    </a:moveTo>
                    <a:lnTo>
                      <a:pt x="0" y="0"/>
                    </a:lnTo>
                    <a:lnTo>
                      <a:pt x="0" y="20"/>
                    </a:lnTo>
                    <a:lnTo>
                      <a:pt x="26" y="20"/>
                    </a:lnTo>
                    <a:lnTo>
                      <a:pt x="42" y="20"/>
                    </a:lnTo>
                    <a:lnTo>
                      <a:pt x="42" y="0"/>
                    </a:lnTo>
                    <a:close/>
                    <a:moveTo>
                      <a:pt x="163" y="0"/>
                    </a:moveTo>
                    <a:lnTo>
                      <a:pt x="74" y="0"/>
                    </a:lnTo>
                    <a:lnTo>
                      <a:pt x="74" y="20"/>
                    </a:lnTo>
                    <a:lnTo>
                      <a:pt x="80" y="20"/>
                    </a:lnTo>
                    <a:lnTo>
                      <a:pt x="163" y="20"/>
                    </a:lnTo>
                    <a:lnTo>
                      <a:pt x="163"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35" name="Freeform 94"/>
              <p:cNvSpPr>
                <a:spLocks noEditPoints="1"/>
              </p:cNvSpPr>
              <p:nvPr/>
            </p:nvSpPr>
            <p:spPr bwMode="auto">
              <a:xfrm>
                <a:off x="7100888" y="2201863"/>
                <a:ext cx="258763" cy="31750"/>
              </a:xfrm>
              <a:custGeom>
                <a:avLst/>
                <a:gdLst>
                  <a:gd name="T0" fmla="*/ 42 w 163"/>
                  <a:gd name="T1" fmla="*/ 0 h 20"/>
                  <a:gd name="T2" fmla="*/ 0 w 163"/>
                  <a:gd name="T3" fmla="*/ 0 h 20"/>
                  <a:gd name="T4" fmla="*/ 0 w 163"/>
                  <a:gd name="T5" fmla="*/ 20 h 20"/>
                  <a:gd name="T6" fmla="*/ 26 w 163"/>
                  <a:gd name="T7" fmla="*/ 20 h 20"/>
                  <a:gd name="T8" fmla="*/ 42 w 163"/>
                  <a:gd name="T9" fmla="*/ 20 h 20"/>
                  <a:gd name="T10" fmla="*/ 42 w 163"/>
                  <a:gd name="T11" fmla="*/ 0 h 20"/>
                  <a:gd name="T12" fmla="*/ 163 w 163"/>
                  <a:gd name="T13" fmla="*/ 0 h 20"/>
                  <a:gd name="T14" fmla="*/ 74 w 163"/>
                  <a:gd name="T15" fmla="*/ 0 h 20"/>
                  <a:gd name="T16" fmla="*/ 74 w 163"/>
                  <a:gd name="T17" fmla="*/ 20 h 20"/>
                  <a:gd name="T18" fmla="*/ 80 w 163"/>
                  <a:gd name="T19" fmla="*/ 20 h 20"/>
                  <a:gd name="T20" fmla="*/ 163 w 163"/>
                  <a:gd name="T21" fmla="*/ 20 h 20"/>
                  <a:gd name="T22" fmla="*/ 163 w 163"/>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3" h="20">
                    <a:moveTo>
                      <a:pt x="42" y="0"/>
                    </a:moveTo>
                    <a:lnTo>
                      <a:pt x="0" y="0"/>
                    </a:lnTo>
                    <a:lnTo>
                      <a:pt x="0" y="20"/>
                    </a:lnTo>
                    <a:lnTo>
                      <a:pt x="26" y="20"/>
                    </a:lnTo>
                    <a:lnTo>
                      <a:pt x="42" y="20"/>
                    </a:lnTo>
                    <a:lnTo>
                      <a:pt x="42" y="0"/>
                    </a:lnTo>
                    <a:moveTo>
                      <a:pt x="163" y="0"/>
                    </a:moveTo>
                    <a:lnTo>
                      <a:pt x="74" y="0"/>
                    </a:lnTo>
                    <a:lnTo>
                      <a:pt x="74" y="20"/>
                    </a:lnTo>
                    <a:lnTo>
                      <a:pt x="80" y="20"/>
                    </a:lnTo>
                    <a:lnTo>
                      <a:pt x="163" y="20"/>
                    </a:lnTo>
                    <a:lnTo>
                      <a:pt x="16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36" name="Freeform 95"/>
              <p:cNvSpPr>
                <a:spLocks/>
              </p:cNvSpPr>
              <p:nvPr/>
            </p:nvSpPr>
            <p:spPr bwMode="auto">
              <a:xfrm>
                <a:off x="7359651" y="2201863"/>
                <a:ext cx="34925" cy="276225"/>
              </a:xfrm>
              <a:custGeom>
                <a:avLst/>
                <a:gdLst>
                  <a:gd name="T0" fmla="*/ 22 w 22"/>
                  <a:gd name="T1" fmla="*/ 0 h 174"/>
                  <a:gd name="T2" fmla="*/ 0 w 22"/>
                  <a:gd name="T3" fmla="*/ 0 h 174"/>
                  <a:gd name="T4" fmla="*/ 0 w 22"/>
                  <a:gd name="T5" fmla="*/ 20 h 174"/>
                  <a:gd name="T6" fmla="*/ 0 w 22"/>
                  <a:gd name="T7" fmla="*/ 74 h 174"/>
                  <a:gd name="T8" fmla="*/ 0 w 22"/>
                  <a:gd name="T9" fmla="*/ 162 h 174"/>
                  <a:gd name="T10" fmla="*/ 0 w 22"/>
                  <a:gd name="T11" fmla="*/ 174 h 174"/>
                  <a:gd name="T12" fmla="*/ 22 w 22"/>
                  <a:gd name="T13" fmla="*/ 174 h 174"/>
                  <a:gd name="T14" fmla="*/ 22 w 22"/>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74">
                    <a:moveTo>
                      <a:pt x="22" y="0"/>
                    </a:moveTo>
                    <a:lnTo>
                      <a:pt x="0" y="0"/>
                    </a:lnTo>
                    <a:lnTo>
                      <a:pt x="0" y="20"/>
                    </a:lnTo>
                    <a:lnTo>
                      <a:pt x="0" y="74"/>
                    </a:lnTo>
                    <a:lnTo>
                      <a:pt x="0" y="162"/>
                    </a:lnTo>
                    <a:lnTo>
                      <a:pt x="0" y="174"/>
                    </a:lnTo>
                    <a:lnTo>
                      <a:pt x="22" y="174"/>
                    </a:lnTo>
                    <a:lnTo>
                      <a:pt x="22"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37" name="Freeform 96"/>
              <p:cNvSpPr>
                <a:spLocks/>
              </p:cNvSpPr>
              <p:nvPr/>
            </p:nvSpPr>
            <p:spPr bwMode="auto">
              <a:xfrm>
                <a:off x="7359651" y="2201863"/>
                <a:ext cx="34925" cy="276225"/>
              </a:xfrm>
              <a:custGeom>
                <a:avLst/>
                <a:gdLst>
                  <a:gd name="T0" fmla="*/ 22 w 22"/>
                  <a:gd name="T1" fmla="*/ 0 h 174"/>
                  <a:gd name="T2" fmla="*/ 0 w 22"/>
                  <a:gd name="T3" fmla="*/ 0 h 174"/>
                  <a:gd name="T4" fmla="*/ 0 w 22"/>
                  <a:gd name="T5" fmla="*/ 20 h 174"/>
                  <a:gd name="T6" fmla="*/ 0 w 22"/>
                  <a:gd name="T7" fmla="*/ 74 h 174"/>
                  <a:gd name="T8" fmla="*/ 0 w 22"/>
                  <a:gd name="T9" fmla="*/ 162 h 174"/>
                  <a:gd name="T10" fmla="*/ 0 w 22"/>
                  <a:gd name="T11" fmla="*/ 174 h 174"/>
                  <a:gd name="T12" fmla="*/ 22 w 22"/>
                  <a:gd name="T13" fmla="*/ 174 h 174"/>
                  <a:gd name="T14" fmla="*/ 22 w 22"/>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74">
                    <a:moveTo>
                      <a:pt x="22" y="0"/>
                    </a:moveTo>
                    <a:lnTo>
                      <a:pt x="0" y="0"/>
                    </a:lnTo>
                    <a:lnTo>
                      <a:pt x="0" y="20"/>
                    </a:lnTo>
                    <a:lnTo>
                      <a:pt x="0" y="74"/>
                    </a:lnTo>
                    <a:lnTo>
                      <a:pt x="0" y="162"/>
                    </a:lnTo>
                    <a:lnTo>
                      <a:pt x="0" y="174"/>
                    </a:lnTo>
                    <a:lnTo>
                      <a:pt x="22" y="174"/>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38" name="Freeform 97"/>
              <p:cNvSpPr>
                <a:spLocks/>
              </p:cNvSpPr>
              <p:nvPr/>
            </p:nvSpPr>
            <p:spPr bwMode="auto">
              <a:xfrm>
                <a:off x="7359651" y="2478088"/>
                <a:ext cx="34925" cy="71438"/>
              </a:xfrm>
              <a:custGeom>
                <a:avLst/>
                <a:gdLst>
                  <a:gd name="T0" fmla="*/ 22 w 22"/>
                  <a:gd name="T1" fmla="*/ 0 h 45"/>
                  <a:gd name="T2" fmla="*/ 0 w 22"/>
                  <a:gd name="T3" fmla="*/ 0 h 45"/>
                  <a:gd name="T4" fmla="*/ 0 w 22"/>
                  <a:gd name="T5" fmla="*/ 15 h 45"/>
                  <a:gd name="T6" fmla="*/ 0 w 22"/>
                  <a:gd name="T7" fmla="*/ 16 h 45"/>
                  <a:gd name="T8" fmla="*/ 0 w 22"/>
                  <a:gd name="T9" fmla="*/ 45 h 45"/>
                  <a:gd name="T10" fmla="*/ 22 w 22"/>
                  <a:gd name="T11" fmla="*/ 45 h 45"/>
                  <a:gd name="T12" fmla="*/ 22 w 22"/>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22" h="45">
                    <a:moveTo>
                      <a:pt x="22" y="0"/>
                    </a:moveTo>
                    <a:lnTo>
                      <a:pt x="0" y="0"/>
                    </a:lnTo>
                    <a:lnTo>
                      <a:pt x="0" y="15"/>
                    </a:lnTo>
                    <a:lnTo>
                      <a:pt x="0" y="16"/>
                    </a:lnTo>
                    <a:lnTo>
                      <a:pt x="0" y="45"/>
                    </a:lnTo>
                    <a:lnTo>
                      <a:pt x="22" y="45"/>
                    </a:lnTo>
                    <a:lnTo>
                      <a:pt x="22" y="0"/>
                    </a:lnTo>
                    <a:close/>
                  </a:path>
                </a:pathLst>
              </a:custGeom>
              <a:solidFill>
                <a:srgbClr val="1221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39" name="Freeform 98"/>
              <p:cNvSpPr>
                <a:spLocks/>
              </p:cNvSpPr>
              <p:nvPr/>
            </p:nvSpPr>
            <p:spPr bwMode="auto">
              <a:xfrm>
                <a:off x="7359651" y="2478088"/>
                <a:ext cx="34925" cy="71438"/>
              </a:xfrm>
              <a:custGeom>
                <a:avLst/>
                <a:gdLst>
                  <a:gd name="T0" fmla="*/ 22 w 22"/>
                  <a:gd name="T1" fmla="*/ 0 h 45"/>
                  <a:gd name="T2" fmla="*/ 0 w 22"/>
                  <a:gd name="T3" fmla="*/ 0 h 45"/>
                  <a:gd name="T4" fmla="*/ 0 w 22"/>
                  <a:gd name="T5" fmla="*/ 15 h 45"/>
                  <a:gd name="T6" fmla="*/ 0 w 22"/>
                  <a:gd name="T7" fmla="*/ 16 h 45"/>
                  <a:gd name="T8" fmla="*/ 0 w 22"/>
                  <a:gd name="T9" fmla="*/ 45 h 45"/>
                  <a:gd name="T10" fmla="*/ 22 w 22"/>
                  <a:gd name="T11" fmla="*/ 45 h 45"/>
                  <a:gd name="T12" fmla="*/ 22 w 22"/>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22" h="45">
                    <a:moveTo>
                      <a:pt x="22" y="0"/>
                    </a:moveTo>
                    <a:lnTo>
                      <a:pt x="0" y="0"/>
                    </a:lnTo>
                    <a:lnTo>
                      <a:pt x="0" y="15"/>
                    </a:lnTo>
                    <a:lnTo>
                      <a:pt x="0" y="16"/>
                    </a:lnTo>
                    <a:lnTo>
                      <a:pt x="0" y="45"/>
                    </a:lnTo>
                    <a:lnTo>
                      <a:pt x="22" y="45"/>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40" name="Rectangle 99"/>
              <p:cNvSpPr>
                <a:spLocks noChangeArrowheads="1"/>
              </p:cNvSpPr>
              <p:nvPr/>
            </p:nvSpPr>
            <p:spPr bwMode="auto">
              <a:xfrm>
                <a:off x="7427913" y="1979613"/>
                <a:ext cx="50800" cy="5699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41" name="Rectangle 100"/>
              <p:cNvSpPr>
                <a:spLocks noChangeArrowheads="1"/>
              </p:cNvSpPr>
              <p:nvPr/>
            </p:nvSpPr>
            <p:spPr bwMode="auto">
              <a:xfrm>
                <a:off x="7427913" y="1979613"/>
                <a:ext cx="50800"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42" name="Freeform 101"/>
              <p:cNvSpPr>
                <a:spLocks/>
              </p:cNvSpPr>
              <p:nvPr/>
            </p:nvSpPr>
            <p:spPr bwMode="auto">
              <a:xfrm>
                <a:off x="7883526" y="1979613"/>
                <a:ext cx="52388" cy="569913"/>
              </a:xfrm>
              <a:custGeom>
                <a:avLst/>
                <a:gdLst>
                  <a:gd name="T0" fmla="*/ 33 w 33"/>
                  <a:gd name="T1" fmla="*/ 359 h 359"/>
                  <a:gd name="T2" fmla="*/ 1 w 33"/>
                  <a:gd name="T3" fmla="*/ 359 h 359"/>
                  <a:gd name="T4" fmla="*/ 0 w 33"/>
                  <a:gd name="T5" fmla="*/ 0 h 359"/>
                  <a:gd name="T6" fmla="*/ 33 w 33"/>
                  <a:gd name="T7" fmla="*/ 0 h 359"/>
                  <a:gd name="T8" fmla="*/ 33 w 33"/>
                  <a:gd name="T9" fmla="*/ 359 h 359"/>
                </a:gdLst>
                <a:ahLst/>
                <a:cxnLst>
                  <a:cxn ang="0">
                    <a:pos x="T0" y="T1"/>
                  </a:cxn>
                  <a:cxn ang="0">
                    <a:pos x="T2" y="T3"/>
                  </a:cxn>
                  <a:cxn ang="0">
                    <a:pos x="T4" y="T5"/>
                  </a:cxn>
                  <a:cxn ang="0">
                    <a:pos x="T6" y="T7"/>
                  </a:cxn>
                  <a:cxn ang="0">
                    <a:pos x="T8" y="T9"/>
                  </a:cxn>
                </a:cxnLst>
                <a:rect l="0" t="0" r="r" b="b"/>
                <a:pathLst>
                  <a:path w="33" h="359">
                    <a:moveTo>
                      <a:pt x="33" y="359"/>
                    </a:moveTo>
                    <a:lnTo>
                      <a:pt x="1" y="359"/>
                    </a:lnTo>
                    <a:lnTo>
                      <a:pt x="0" y="0"/>
                    </a:lnTo>
                    <a:lnTo>
                      <a:pt x="33" y="0"/>
                    </a:lnTo>
                    <a:lnTo>
                      <a:pt x="33" y="35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43" name="Freeform 102"/>
              <p:cNvSpPr>
                <a:spLocks/>
              </p:cNvSpPr>
              <p:nvPr/>
            </p:nvSpPr>
            <p:spPr bwMode="auto">
              <a:xfrm>
                <a:off x="7883526" y="1979613"/>
                <a:ext cx="52388" cy="569913"/>
              </a:xfrm>
              <a:custGeom>
                <a:avLst/>
                <a:gdLst>
                  <a:gd name="T0" fmla="*/ 33 w 33"/>
                  <a:gd name="T1" fmla="*/ 359 h 359"/>
                  <a:gd name="T2" fmla="*/ 1 w 33"/>
                  <a:gd name="T3" fmla="*/ 359 h 359"/>
                  <a:gd name="T4" fmla="*/ 0 w 33"/>
                  <a:gd name="T5" fmla="*/ 0 h 359"/>
                  <a:gd name="T6" fmla="*/ 33 w 33"/>
                  <a:gd name="T7" fmla="*/ 0 h 359"/>
                  <a:gd name="T8" fmla="*/ 33 w 33"/>
                  <a:gd name="T9" fmla="*/ 359 h 359"/>
                </a:gdLst>
                <a:ahLst/>
                <a:cxnLst>
                  <a:cxn ang="0">
                    <a:pos x="T0" y="T1"/>
                  </a:cxn>
                  <a:cxn ang="0">
                    <a:pos x="T2" y="T3"/>
                  </a:cxn>
                  <a:cxn ang="0">
                    <a:pos x="T4" y="T5"/>
                  </a:cxn>
                  <a:cxn ang="0">
                    <a:pos x="T6" y="T7"/>
                  </a:cxn>
                  <a:cxn ang="0">
                    <a:pos x="T8" y="T9"/>
                  </a:cxn>
                </a:cxnLst>
                <a:rect l="0" t="0" r="r" b="b"/>
                <a:pathLst>
                  <a:path w="33" h="359">
                    <a:moveTo>
                      <a:pt x="33" y="359"/>
                    </a:moveTo>
                    <a:lnTo>
                      <a:pt x="1" y="359"/>
                    </a:lnTo>
                    <a:lnTo>
                      <a:pt x="0" y="0"/>
                    </a:lnTo>
                    <a:lnTo>
                      <a:pt x="33" y="0"/>
                    </a:lnTo>
                    <a:lnTo>
                      <a:pt x="33" y="35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44" name="Freeform 103"/>
              <p:cNvSpPr>
                <a:spLocks/>
              </p:cNvSpPr>
              <p:nvPr/>
            </p:nvSpPr>
            <p:spPr bwMode="auto">
              <a:xfrm>
                <a:off x="7453313" y="1993901"/>
                <a:ext cx="25400" cy="555625"/>
              </a:xfrm>
              <a:custGeom>
                <a:avLst/>
                <a:gdLst>
                  <a:gd name="T0" fmla="*/ 16 w 16"/>
                  <a:gd name="T1" fmla="*/ 0 h 350"/>
                  <a:gd name="T2" fmla="*/ 0 w 16"/>
                  <a:gd name="T3" fmla="*/ 0 h 350"/>
                  <a:gd name="T4" fmla="*/ 0 w 16"/>
                  <a:gd name="T5" fmla="*/ 350 h 350"/>
                  <a:gd name="T6" fmla="*/ 16 w 16"/>
                  <a:gd name="T7" fmla="*/ 350 h 350"/>
                  <a:gd name="T8" fmla="*/ 16 w 16"/>
                  <a:gd name="T9" fmla="*/ 305 h 350"/>
                  <a:gd name="T10" fmla="*/ 16 w 16"/>
                  <a:gd name="T11" fmla="*/ 131 h 350"/>
                  <a:gd name="T12" fmla="*/ 16 w 16"/>
                  <a:gd name="T13" fmla="*/ 106 h 350"/>
                  <a:gd name="T14" fmla="*/ 16 w 16"/>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350">
                    <a:moveTo>
                      <a:pt x="16" y="0"/>
                    </a:moveTo>
                    <a:lnTo>
                      <a:pt x="0" y="0"/>
                    </a:lnTo>
                    <a:lnTo>
                      <a:pt x="0" y="350"/>
                    </a:lnTo>
                    <a:lnTo>
                      <a:pt x="16" y="350"/>
                    </a:lnTo>
                    <a:lnTo>
                      <a:pt x="16" y="305"/>
                    </a:lnTo>
                    <a:lnTo>
                      <a:pt x="16" y="131"/>
                    </a:lnTo>
                    <a:lnTo>
                      <a:pt x="16" y="106"/>
                    </a:lnTo>
                    <a:lnTo>
                      <a:pt x="16" y="0"/>
                    </a:lnTo>
                    <a:close/>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45" name="Freeform 104"/>
              <p:cNvSpPr>
                <a:spLocks/>
              </p:cNvSpPr>
              <p:nvPr/>
            </p:nvSpPr>
            <p:spPr bwMode="auto">
              <a:xfrm>
                <a:off x="7453313" y="1993901"/>
                <a:ext cx="25400" cy="555625"/>
              </a:xfrm>
              <a:custGeom>
                <a:avLst/>
                <a:gdLst>
                  <a:gd name="T0" fmla="*/ 16 w 16"/>
                  <a:gd name="T1" fmla="*/ 0 h 350"/>
                  <a:gd name="T2" fmla="*/ 0 w 16"/>
                  <a:gd name="T3" fmla="*/ 0 h 350"/>
                  <a:gd name="T4" fmla="*/ 0 w 16"/>
                  <a:gd name="T5" fmla="*/ 350 h 350"/>
                  <a:gd name="T6" fmla="*/ 16 w 16"/>
                  <a:gd name="T7" fmla="*/ 350 h 350"/>
                  <a:gd name="T8" fmla="*/ 16 w 16"/>
                  <a:gd name="T9" fmla="*/ 305 h 350"/>
                  <a:gd name="T10" fmla="*/ 16 w 16"/>
                  <a:gd name="T11" fmla="*/ 131 h 350"/>
                  <a:gd name="T12" fmla="*/ 16 w 16"/>
                  <a:gd name="T13" fmla="*/ 106 h 350"/>
                  <a:gd name="T14" fmla="*/ 16 w 16"/>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350">
                    <a:moveTo>
                      <a:pt x="16" y="0"/>
                    </a:moveTo>
                    <a:lnTo>
                      <a:pt x="0" y="0"/>
                    </a:lnTo>
                    <a:lnTo>
                      <a:pt x="0" y="350"/>
                    </a:lnTo>
                    <a:lnTo>
                      <a:pt x="16" y="350"/>
                    </a:lnTo>
                    <a:lnTo>
                      <a:pt x="16" y="305"/>
                    </a:lnTo>
                    <a:lnTo>
                      <a:pt x="16" y="131"/>
                    </a:lnTo>
                    <a:lnTo>
                      <a:pt x="16" y="106"/>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46" name="Freeform 105"/>
              <p:cNvSpPr>
                <a:spLocks noEditPoints="1"/>
              </p:cNvSpPr>
              <p:nvPr/>
            </p:nvSpPr>
            <p:spPr bwMode="auto">
              <a:xfrm>
                <a:off x="7935913" y="1993901"/>
                <a:ext cx="0" cy="493713"/>
              </a:xfrm>
              <a:custGeom>
                <a:avLst/>
                <a:gdLst>
                  <a:gd name="T0" fmla="*/ 390 h 661"/>
                  <a:gd name="T1" fmla="*/ 391 h 661"/>
                  <a:gd name="T2" fmla="*/ 661 h 661"/>
                  <a:gd name="T3" fmla="*/ 661 h 661"/>
                  <a:gd name="T4" fmla="*/ 390 h 661"/>
                  <a:gd name="T5" fmla="*/ 0 h 661"/>
                  <a:gd name="T6" fmla="*/ 0 h 661"/>
                  <a:gd name="T7" fmla="*/ 373 h 661"/>
                  <a:gd name="T8" fmla="*/ 373 h 661"/>
                  <a:gd name="T9" fmla="*/ 0 h 66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661">
                    <a:moveTo>
                      <a:pt x="0" y="390"/>
                    </a:moveTo>
                    <a:cubicBezTo>
                      <a:pt x="0" y="390"/>
                      <a:pt x="0" y="391"/>
                      <a:pt x="0" y="391"/>
                    </a:cubicBezTo>
                    <a:cubicBezTo>
                      <a:pt x="0" y="661"/>
                      <a:pt x="0" y="661"/>
                      <a:pt x="0" y="661"/>
                    </a:cubicBezTo>
                    <a:cubicBezTo>
                      <a:pt x="0" y="661"/>
                      <a:pt x="0" y="661"/>
                      <a:pt x="0" y="661"/>
                    </a:cubicBezTo>
                    <a:cubicBezTo>
                      <a:pt x="0" y="390"/>
                      <a:pt x="0" y="390"/>
                      <a:pt x="0" y="390"/>
                    </a:cubicBezTo>
                    <a:moveTo>
                      <a:pt x="0" y="0"/>
                    </a:moveTo>
                    <a:cubicBezTo>
                      <a:pt x="0" y="0"/>
                      <a:pt x="0" y="0"/>
                      <a:pt x="0" y="0"/>
                    </a:cubicBezTo>
                    <a:cubicBezTo>
                      <a:pt x="0" y="373"/>
                      <a:pt x="0" y="373"/>
                      <a:pt x="0" y="373"/>
                    </a:cubicBezTo>
                    <a:cubicBezTo>
                      <a:pt x="0" y="373"/>
                      <a:pt x="0" y="373"/>
                      <a:pt x="0" y="373"/>
                    </a:cubicBezTo>
                    <a:cubicBezTo>
                      <a:pt x="0" y="0"/>
                      <a:pt x="0" y="0"/>
                      <a:pt x="0" y="0"/>
                    </a:cubicBezTo>
                  </a:path>
                </a:pathLst>
              </a:custGeom>
              <a:solidFill>
                <a:srgbClr val="00A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47" name="Freeform 106"/>
              <p:cNvSpPr>
                <a:spLocks/>
              </p:cNvSpPr>
              <p:nvPr/>
            </p:nvSpPr>
            <p:spPr bwMode="auto">
              <a:xfrm>
                <a:off x="7935913" y="2530476"/>
                <a:ext cx="0" cy="19050"/>
              </a:xfrm>
              <a:custGeom>
                <a:avLst/>
                <a:gdLst>
                  <a:gd name="T0" fmla="*/ 0 h 12"/>
                  <a:gd name="T1" fmla="*/ 0 h 12"/>
                  <a:gd name="T2" fmla="*/ 12 h 12"/>
                  <a:gd name="T3" fmla="*/ 0 h 12"/>
                </a:gdLst>
                <a:ahLst/>
                <a:cxnLst>
                  <a:cxn ang="0">
                    <a:pos x="0" y="T0"/>
                  </a:cxn>
                  <a:cxn ang="0">
                    <a:pos x="0" y="T1"/>
                  </a:cxn>
                  <a:cxn ang="0">
                    <a:pos x="0" y="T2"/>
                  </a:cxn>
                  <a:cxn ang="0">
                    <a:pos x="0" y="T3"/>
                  </a:cxn>
                </a:cxnLst>
                <a:rect l="0" t="0" r="r" b="b"/>
                <a:pathLst>
                  <a:path h="12">
                    <a:moveTo>
                      <a:pt x="0" y="0"/>
                    </a:moveTo>
                    <a:lnTo>
                      <a:pt x="0" y="0"/>
                    </a:lnTo>
                    <a:lnTo>
                      <a:pt x="0" y="12"/>
                    </a:lnTo>
                    <a:lnTo>
                      <a:pt x="0" y="0"/>
                    </a:lnTo>
                    <a:close/>
                  </a:path>
                </a:pathLst>
              </a:custGeom>
              <a:solidFill>
                <a:srgbClr val="0098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48" name="Freeform 107"/>
              <p:cNvSpPr>
                <a:spLocks/>
              </p:cNvSpPr>
              <p:nvPr/>
            </p:nvSpPr>
            <p:spPr bwMode="auto">
              <a:xfrm>
                <a:off x="7935913" y="2530476"/>
                <a:ext cx="0" cy="19050"/>
              </a:xfrm>
              <a:custGeom>
                <a:avLst/>
                <a:gdLst>
                  <a:gd name="T0" fmla="*/ 0 h 12"/>
                  <a:gd name="T1" fmla="*/ 0 h 12"/>
                  <a:gd name="T2" fmla="*/ 12 h 12"/>
                  <a:gd name="T3" fmla="*/ 0 h 12"/>
                </a:gdLst>
                <a:ahLst/>
                <a:cxnLst>
                  <a:cxn ang="0">
                    <a:pos x="0" y="T0"/>
                  </a:cxn>
                  <a:cxn ang="0">
                    <a:pos x="0" y="T1"/>
                  </a:cxn>
                  <a:cxn ang="0">
                    <a:pos x="0" y="T2"/>
                  </a:cxn>
                  <a:cxn ang="0">
                    <a:pos x="0" y="T3"/>
                  </a:cxn>
                </a:cxnLst>
                <a:rect l="0" t="0" r="r" b="b"/>
                <a:pathLst>
                  <a:path h="12">
                    <a:moveTo>
                      <a:pt x="0" y="0"/>
                    </a:moveTo>
                    <a:lnTo>
                      <a:pt x="0" y="0"/>
                    </a:lnTo>
                    <a:lnTo>
                      <a:pt x="0" y="1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49" name="Freeform 108"/>
              <p:cNvSpPr>
                <a:spLocks/>
              </p:cNvSpPr>
              <p:nvPr/>
            </p:nvSpPr>
            <p:spPr bwMode="auto">
              <a:xfrm>
                <a:off x="7935913" y="2273301"/>
                <a:ext cx="0" cy="12700"/>
              </a:xfrm>
              <a:custGeom>
                <a:avLst/>
                <a:gdLst>
                  <a:gd name="T0" fmla="*/ 0 h 18"/>
                  <a:gd name="T1" fmla="*/ 0 h 18"/>
                  <a:gd name="T2" fmla="*/ 18 h 18"/>
                  <a:gd name="T3" fmla="*/ 17 h 18"/>
                  <a:gd name="T4" fmla="*/ 0 h 18"/>
                </a:gdLst>
                <a:ahLst/>
                <a:cxnLst>
                  <a:cxn ang="0">
                    <a:pos x="0" y="T0"/>
                  </a:cxn>
                  <a:cxn ang="0">
                    <a:pos x="0" y="T1"/>
                  </a:cxn>
                  <a:cxn ang="0">
                    <a:pos x="0" y="T2"/>
                  </a:cxn>
                  <a:cxn ang="0">
                    <a:pos x="0" y="T3"/>
                  </a:cxn>
                  <a:cxn ang="0">
                    <a:pos x="0" y="T4"/>
                  </a:cxn>
                </a:cxnLst>
                <a:rect l="0" t="0" r="r" b="b"/>
                <a:pathLst>
                  <a:path h="18">
                    <a:moveTo>
                      <a:pt x="0" y="0"/>
                    </a:moveTo>
                    <a:cubicBezTo>
                      <a:pt x="0" y="0"/>
                      <a:pt x="0" y="0"/>
                      <a:pt x="0" y="0"/>
                    </a:cubicBezTo>
                    <a:cubicBezTo>
                      <a:pt x="0" y="18"/>
                      <a:pt x="0" y="18"/>
                      <a:pt x="0" y="18"/>
                    </a:cubicBezTo>
                    <a:cubicBezTo>
                      <a:pt x="0" y="18"/>
                      <a:pt x="0" y="17"/>
                      <a:pt x="0" y="17"/>
                    </a:cubicBezTo>
                    <a:cubicBezTo>
                      <a:pt x="0" y="0"/>
                      <a:pt x="0" y="0"/>
                      <a:pt x="0" y="0"/>
                    </a:cubicBezTo>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50" name="Rectangle 109"/>
              <p:cNvSpPr>
                <a:spLocks noChangeArrowheads="1"/>
              </p:cNvSpPr>
              <p:nvPr/>
            </p:nvSpPr>
            <p:spPr bwMode="auto">
              <a:xfrm>
                <a:off x="7935913" y="2487613"/>
                <a:ext cx="1588" cy="42863"/>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51" name="Rectangle 110"/>
              <p:cNvSpPr>
                <a:spLocks noChangeArrowheads="1"/>
              </p:cNvSpPr>
              <p:nvPr/>
            </p:nvSpPr>
            <p:spPr bwMode="auto">
              <a:xfrm>
                <a:off x="7935913" y="2487613"/>
                <a:ext cx="1588" cy="42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52" name="Freeform 111"/>
              <p:cNvSpPr>
                <a:spLocks/>
              </p:cNvSpPr>
              <p:nvPr/>
            </p:nvSpPr>
            <p:spPr bwMode="auto">
              <a:xfrm>
                <a:off x="7910513" y="1993901"/>
                <a:ext cx="25400" cy="555625"/>
              </a:xfrm>
              <a:custGeom>
                <a:avLst/>
                <a:gdLst>
                  <a:gd name="T0" fmla="*/ 16 w 16"/>
                  <a:gd name="T1" fmla="*/ 0 h 350"/>
                  <a:gd name="T2" fmla="*/ 0 w 16"/>
                  <a:gd name="T3" fmla="*/ 0 h 350"/>
                  <a:gd name="T4" fmla="*/ 0 w 16"/>
                  <a:gd name="T5" fmla="*/ 350 h 350"/>
                  <a:gd name="T6" fmla="*/ 16 w 16"/>
                  <a:gd name="T7" fmla="*/ 350 h 350"/>
                  <a:gd name="T8" fmla="*/ 16 w 16"/>
                  <a:gd name="T9" fmla="*/ 338 h 350"/>
                  <a:gd name="T10" fmla="*/ 16 w 16"/>
                  <a:gd name="T11" fmla="*/ 311 h 350"/>
                  <a:gd name="T12" fmla="*/ 16 w 16"/>
                  <a:gd name="T13" fmla="*/ 184 h 350"/>
                  <a:gd name="T14" fmla="*/ 16 w 16"/>
                  <a:gd name="T15" fmla="*/ 176 h 350"/>
                  <a:gd name="T16" fmla="*/ 16 w 16"/>
                  <a:gd name="T17"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350">
                    <a:moveTo>
                      <a:pt x="16" y="0"/>
                    </a:moveTo>
                    <a:lnTo>
                      <a:pt x="0" y="0"/>
                    </a:lnTo>
                    <a:lnTo>
                      <a:pt x="0" y="350"/>
                    </a:lnTo>
                    <a:lnTo>
                      <a:pt x="16" y="350"/>
                    </a:lnTo>
                    <a:lnTo>
                      <a:pt x="16" y="338"/>
                    </a:lnTo>
                    <a:lnTo>
                      <a:pt x="16" y="311"/>
                    </a:lnTo>
                    <a:lnTo>
                      <a:pt x="16" y="184"/>
                    </a:lnTo>
                    <a:lnTo>
                      <a:pt x="16" y="176"/>
                    </a:lnTo>
                    <a:lnTo>
                      <a:pt x="16" y="0"/>
                    </a:lnTo>
                    <a:close/>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53" name="Freeform 112"/>
              <p:cNvSpPr>
                <a:spLocks/>
              </p:cNvSpPr>
              <p:nvPr/>
            </p:nvSpPr>
            <p:spPr bwMode="auto">
              <a:xfrm>
                <a:off x="7910513" y="1993901"/>
                <a:ext cx="25400" cy="555625"/>
              </a:xfrm>
              <a:custGeom>
                <a:avLst/>
                <a:gdLst>
                  <a:gd name="T0" fmla="*/ 16 w 16"/>
                  <a:gd name="T1" fmla="*/ 0 h 350"/>
                  <a:gd name="T2" fmla="*/ 0 w 16"/>
                  <a:gd name="T3" fmla="*/ 0 h 350"/>
                  <a:gd name="T4" fmla="*/ 0 w 16"/>
                  <a:gd name="T5" fmla="*/ 350 h 350"/>
                  <a:gd name="T6" fmla="*/ 16 w 16"/>
                  <a:gd name="T7" fmla="*/ 350 h 350"/>
                  <a:gd name="T8" fmla="*/ 16 w 16"/>
                  <a:gd name="T9" fmla="*/ 338 h 350"/>
                  <a:gd name="T10" fmla="*/ 16 w 16"/>
                  <a:gd name="T11" fmla="*/ 311 h 350"/>
                  <a:gd name="T12" fmla="*/ 16 w 16"/>
                  <a:gd name="T13" fmla="*/ 184 h 350"/>
                  <a:gd name="T14" fmla="*/ 16 w 16"/>
                  <a:gd name="T15" fmla="*/ 176 h 350"/>
                  <a:gd name="T16" fmla="*/ 16 w 16"/>
                  <a:gd name="T17"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350">
                    <a:moveTo>
                      <a:pt x="16" y="0"/>
                    </a:moveTo>
                    <a:lnTo>
                      <a:pt x="0" y="0"/>
                    </a:lnTo>
                    <a:lnTo>
                      <a:pt x="0" y="350"/>
                    </a:lnTo>
                    <a:lnTo>
                      <a:pt x="16" y="350"/>
                    </a:lnTo>
                    <a:lnTo>
                      <a:pt x="16" y="338"/>
                    </a:lnTo>
                    <a:lnTo>
                      <a:pt x="16" y="311"/>
                    </a:lnTo>
                    <a:lnTo>
                      <a:pt x="16" y="184"/>
                    </a:lnTo>
                    <a:lnTo>
                      <a:pt x="16" y="176"/>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54" name="Rectangle 113"/>
              <p:cNvSpPr>
                <a:spLocks noChangeArrowheads="1"/>
              </p:cNvSpPr>
              <p:nvPr/>
            </p:nvSpPr>
            <p:spPr bwMode="auto">
              <a:xfrm>
                <a:off x="7626351" y="1979613"/>
                <a:ext cx="50800" cy="5699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55" name="Rectangle 114"/>
              <p:cNvSpPr>
                <a:spLocks noChangeArrowheads="1"/>
              </p:cNvSpPr>
              <p:nvPr/>
            </p:nvSpPr>
            <p:spPr bwMode="auto">
              <a:xfrm>
                <a:off x="7626351" y="1979613"/>
                <a:ext cx="50800"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56" name="Freeform 115"/>
              <p:cNvSpPr>
                <a:spLocks/>
              </p:cNvSpPr>
              <p:nvPr/>
            </p:nvSpPr>
            <p:spPr bwMode="auto">
              <a:xfrm>
                <a:off x="7651751" y="2503488"/>
                <a:ext cx="25400" cy="46038"/>
              </a:xfrm>
              <a:custGeom>
                <a:avLst/>
                <a:gdLst>
                  <a:gd name="T0" fmla="*/ 16 w 16"/>
                  <a:gd name="T1" fmla="*/ 0 h 29"/>
                  <a:gd name="T2" fmla="*/ 16 w 16"/>
                  <a:gd name="T3" fmla="*/ 0 h 29"/>
                  <a:gd name="T4" fmla="*/ 16 w 16"/>
                  <a:gd name="T5" fmla="*/ 29 h 29"/>
                  <a:gd name="T6" fmla="*/ 0 w 16"/>
                  <a:gd name="T7" fmla="*/ 29 h 29"/>
                  <a:gd name="T8" fmla="*/ 0 w 16"/>
                  <a:gd name="T9" fmla="*/ 29 h 29"/>
                  <a:gd name="T10" fmla="*/ 16 w 16"/>
                  <a:gd name="T11" fmla="*/ 29 h 29"/>
                  <a:gd name="T12" fmla="*/ 16 w 16"/>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16" h="29">
                    <a:moveTo>
                      <a:pt x="16" y="0"/>
                    </a:moveTo>
                    <a:lnTo>
                      <a:pt x="16" y="0"/>
                    </a:lnTo>
                    <a:lnTo>
                      <a:pt x="16" y="29"/>
                    </a:lnTo>
                    <a:lnTo>
                      <a:pt x="0" y="29"/>
                    </a:lnTo>
                    <a:lnTo>
                      <a:pt x="0" y="29"/>
                    </a:lnTo>
                    <a:lnTo>
                      <a:pt x="16" y="29"/>
                    </a:lnTo>
                    <a:lnTo>
                      <a:pt x="16" y="0"/>
                    </a:lnTo>
                    <a:close/>
                  </a:path>
                </a:pathLst>
              </a:custGeom>
              <a:solidFill>
                <a:srgbClr val="0098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57" name="Freeform 116"/>
              <p:cNvSpPr>
                <a:spLocks/>
              </p:cNvSpPr>
              <p:nvPr/>
            </p:nvSpPr>
            <p:spPr bwMode="auto">
              <a:xfrm>
                <a:off x="7651751" y="2503488"/>
                <a:ext cx="25400" cy="46038"/>
              </a:xfrm>
              <a:custGeom>
                <a:avLst/>
                <a:gdLst>
                  <a:gd name="T0" fmla="*/ 16 w 16"/>
                  <a:gd name="T1" fmla="*/ 0 h 29"/>
                  <a:gd name="T2" fmla="*/ 16 w 16"/>
                  <a:gd name="T3" fmla="*/ 0 h 29"/>
                  <a:gd name="T4" fmla="*/ 16 w 16"/>
                  <a:gd name="T5" fmla="*/ 29 h 29"/>
                  <a:gd name="T6" fmla="*/ 0 w 16"/>
                  <a:gd name="T7" fmla="*/ 29 h 29"/>
                  <a:gd name="T8" fmla="*/ 0 w 16"/>
                  <a:gd name="T9" fmla="*/ 29 h 29"/>
                  <a:gd name="T10" fmla="*/ 16 w 16"/>
                  <a:gd name="T11" fmla="*/ 29 h 29"/>
                  <a:gd name="T12" fmla="*/ 16 w 16"/>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16" h="29">
                    <a:moveTo>
                      <a:pt x="16" y="0"/>
                    </a:moveTo>
                    <a:lnTo>
                      <a:pt x="16" y="0"/>
                    </a:lnTo>
                    <a:lnTo>
                      <a:pt x="16" y="29"/>
                    </a:lnTo>
                    <a:lnTo>
                      <a:pt x="0" y="29"/>
                    </a:lnTo>
                    <a:lnTo>
                      <a:pt x="0" y="29"/>
                    </a:lnTo>
                    <a:lnTo>
                      <a:pt x="16" y="29"/>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58" name="Freeform 117"/>
              <p:cNvSpPr>
                <a:spLocks/>
              </p:cNvSpPr>
              <p:nvPr/>
            </p:nvSpPr>
            <p:spPr bwMode="auto">
              <a:xfrm>
                <a:off x="7651751" y="1993901"/>
                <a:ext cx="25400" cy="555625"/>
              </a:xfrm>
              <a:custGeom>
                <a:avLst/>
                <a:gdLst>
                  <a:gd name="T0" fmla="*/ 16 w 16"/>
                  <a:gd name="T1" fmla="*/ 0 h 350"/>
                  <a:gd name="T2" fmla="*/ 0 w 16"/>
                  <a:gd name="T3" fmla="*/ 0 h 350"/>
                  <a:gd name="T4" fmla="*/ 0 w 16"/>
                  <a:gd name="T5" fmla="*/ 350 h 350"/>
                  <a:gd name="T6" fmla="*/ 16 w 16"/>
                  <a:gd name="T7" fmla="*/ 350 h 350"/>
                  <a:gd name="T8" fmla="*/ 16 w 16"/>
                  <a:gd name="T9" fmla="*/ 321 h 350"/>
                  <a:gd name="T10" fmla="*/ 16 w 16"/>
                  <a:gd name="T11" fmla="*/ 0 h 350"/>
                </a:gdLst>
                <a:ahLst/>
                <a:cxnLst>
                  <a:cxn ang="0">
                    <a:pos x="T0" y="T1"/>
                  </a:cxn>
                  <a:cxn ang="0">
                    <a:pos x="T2" y="T3"/>
                  </a:cxn>
                  <a:cxn ang="0">
                    <a:pos x="T4" y="T5"/>
                  </a:cxn>
                  <a:cxn ang="0">
                    <a:pos x="T6" y="T7"/>
                  </a:cxn>
                  <a:cxn ang="0">
                    <a:pos x="T8" y="T9"/>
                  </a:cxn>
                  <a:cxn ang="0">
                    <a:pos x="T10" y="T11"/>
                  </a:cxn>
                </a:cxnLst>
                <a:rect l="0" t="0" r="r" b="b"/>
                <a:pathLst>
                  <a:path w="16" h="350">
                    <a:moveTo>
                      <a:pt x="16" y="0"/>
                    </a:moveTo>
                    <a:lnTo>
                      <a:pt x="0" y="0"/>
                    </a:lnTo>
                    <a:lnTo>
                      <a:pt x="0" y="350"/>
                    </a:lnTo>
                    <a:lnTo>
                      <a:pt x="16" y="350"/>
                    </a:lnTo>
                    <a:lnTo>
                      <a:pt x="16" y="321"/>
                    </a:lnTo>
                    <a:lnTo>
                      <a:pt x="16" y="0"/>
                    </a:lnTo>
                    <a:close/>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59" name="Freeform 118"/>
              <p:cNvSpPr>
                <a:spLocks/>
              </p:cNvSpPr>
              <p:nvPr/>
            </p:nvSpPr>
            <p:spPr bwMode="auto">
              <a:xfrm>
                <a:off x="7651751" y="1993901"/>
                <a:ext cx="25400" cy="555625"/>
              </a:xfrm>
              <a:custGeom>
                <a:avLst/>
                <a:gdLst>
                  <a:gd name="T0" fmla="*/ 16 w 16"/>
                  <a:gd name="T1" fmla="*/ 0 h 350"/>
                  <a:gd name="T2" fmla="*/ 0 w 16"/>
                  <a:gd name="T3" fmla="*/ 0 h 350"/>
                  <a:gd name="T4" fmla="*/ 0 w 16"/>
                  <a:gd name="T5" fmla="*/ 350 h 350"/>
                  <a:gd name="T6" fmla="*/ 16 w 16"/>
                  <a:gd name="T7" fmla="*/ 350 h 350"/>
                  <a:gd name="T8" fmla="*/ 16 w 16"/>
                  <a:gd name="T9" fmla="*/ 321 h 350"/>
                  <a:gd name="T10" fmla="*/ 16 w 16"/>
                  <a:gd name="T11" fmla="*/ 0 h 350"/>
                </a:gdLst>
                <a:ahLst/>
                <a:cxnLst>
                  <a:cxn ang="0">
                    <a:pos x="T0" y="T1"/>
                  </a:cxn>
                  <a:cxn ang="0">
                    <a:pos x="T2" y="T3"/>
                  </a:cxn>
                  <a:cxn ang="0">
                    <a:pos x="T4" y="T5"/>
                  </a:cxn>
                  <a:cxn ang="0">
                    <a:pos x="T6" y="T7"/>
                  </a:cxn>
                  <a:cxn ang="0">
                    <a:pos x="T8" y="T9"/>
                  </a:cxn>
                  <a:cxn ang="0">
                    <a:pos x="T10" y="T11"/>
                  </a:cxn>
                </a:cxnLst>
                <a:rect l="0" t="0" r="r" b="b"/>
                <a:pathLst>
                  <a:path w="16" h="350">
                    <a:moveTo>
                      <a:pt x="16" y="0"/>
                    </a:moveTo>
                    <a:lnTo>
                      <a:pt x="0" y="0"/>
                    </a:lnTo>
                    <a:lnTo>
                      <a:pt x="0" y="350"/>
                    </a:lnTo>
                    <a:lnTo>
                      <a:pt x="16" y="350"/>
                    </a:lnTo>
                    <a:lnTo>
                      <a:pt x="16" y="321"/>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60" name="Rectangle 119"/>
              <p:cNvSpPr>
                <a:spLocks noChangeArrowheads="1"/>
              </p:cNvSpPr>
              <p:nvPr/>
            </p:nvSpPr>
            <p:spPr bwMode="auto">
              <a:xfrm>
                <a:off x="7366001" y="1941513"/>
                <a:ext cx="52388" cy="2206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61" name="Rectangle 120"/>
              <p:cNvSpPr>
                <a:spLocks noChangeArrowheads="1"/>
              </p:cNvSpPr>
              <p:nvPr/>
            </p:nvSpPr>
            <p:spPr bwMode="auto">
              <a:xfrm>
                <a:off x="7366001" y="1941513"/>
                <a:ext cx="52388"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62" name="Freeform 121"/>
              <p:cNvSpPr>
                <a:spLocks/>
              </p:cNvSpPr>
              <p:nvPr/>
            </p:nvSpPr>
            <p:spPr bwMode="auto">
              <a:xfrm>
                <a:off x="7099301" y="2119313"/>
                <a:ext cx="1588" cy="42863"/>
              </a:xfrm>
              <a:custGeom>
                <a:avLst/>
                <a:gdLst>
                  <a:gd name="T0" fmla="*/ 1 w 1"/>
                  <a:gd name="T1" fmla="*/ 0 h 27"/>
                  <a:gd name="T2" fmla="*/ 1 w 1"/>
                  <a:gd name="T3" fmla="*/ 0 h 27"/>
                  <a:gd name="T4" fmla="*/ 0 w 1"/>
                  <a:gd name="T5" fmla="*/ 27 h 27"/>
                  <a:gd name="T6" fmla="*/ 1 w 1"/>
                  <a:gd name="T7" fmla="*/ 27 h 27"/>
                  <a:gd name="T8" fmla="*/ 1 w 1"/>
                  <a:gd name="T9" fmla="*/ 0 h 27"/>
                </a:gdLst>
                <a:ahLst/>
                <a:cxnLst>
                  <a:cxn ang="0">
                    <a:pos x="T0" y="T1"/>
                  </a:cxn>
                  <a:cxn ang="0">
                    <a:pos x="T2" y="T3"/>
                  </a:cxn>
                  <a:cxn ang="0">
                    <a:pos x="T4" y="T5"/>
                  </a:cxn>
                  <a:cxn ang="0">
                    <a:pos x="T6" y="T7"/>
                  </a:cxn>
                  <a:cxn ang="0">
                    <a:pos x="T8" y="T9"/>
                  </a:cxn>
                </a:cxnLst>
                <a:rect l="0" t="0" r="r" b="b"/>
                <a:pathLst>
                  <a:path w="1" h="27">
                    <a:moveTo>
                      <a:pt x="1" y="0"/>
                    </a:moveTo>
                    <a:lnTo>
                      <a:pt x="1" y="0"/>
                    </a:lnTo>
                    <a:lnTo>
                      <a:pt x="0" y="27"/>
                    </a:lnTo>
                    <a:lnTo>
                      <a:pt x="1" y="27"/>
                    </a:lnTo>
                    <a:lnTo>
                      <a:pt x="1" y="0"/>
                    </a:lnTo>
                    <a:close/>
                  </a:path>
                </a:pathLst>
              </a:custGeom>
              <a:solidFill>
                <a:srgbClr val="00A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63" name="Freeform 122"/>
              <p:cNvSpPr>
                <a:spLocks/>
              </p:cNvSpPr>
              <p:nvPr/>
            </p:nvSpPr>
            <p:spPr bwMode="auto">
              <a:xfrm>
                <a:off x="7099301" y="2119313"/>
                <a:ext cx="1588" cy="42863"/>
              </a:xfrm>
              <a:custGeom>
                <a:avLst/>
                <a:gdLst>
                  <a:gd name="T0" fmla="*/ 1 w 1"/>
                  <a:gd name="T1" fmla="*/ 0 h 27"/>
                  <a:gd name="T2" fmla="*/ 1 w 1"/>
                  <a:gd name="T3" fmla="*/ 0 h 27"/>
                  <a:gd name="T4" fmla="*/ 0 w 1"/>
                  <a:gd name="T5" fmla="*/ 27 h 27"/>
                  <a:gd name="T6" fmla="*/ 1 w 1"/>
                  <a:gd name="T7" fmla="*/ 27 h 27"/>
                  <a:gd name="T8" fmla="*/ 1 w 1"/>
                  <a:gd name="T9" fmla="*/ 0 h 27"/>
                </a:gdLst>
                <a:ahLst/>
                <a:cxnLst>
                  <a:cxn ang="0">
                    <a:pos x="T0" y="T1"/>
                  </a:cxn>
                  <a:cxn ang="0">
                    <a:pos x="T2" y="T3"/>
                  </a:cxn>
                  <a:cxn ang="0">
                    <a:pos x="T4" y="T5"/>
                  </a:cxn>
                  <a:cxn ang="0">
                    <a:pos x="T6" y="T7"/>
                  </a:cxn>
                  <a:cxn ang="0">
                    <a:pos x="T8" y="T9"/>
                  </a:cxn>
                </a:cxnLst>
                <a:rect l="0" t="0" r="r" b="b"/>
                <a:pathLst>
                  <a:path w="1" h="27">
                    <a:moveTo>
                      <a:pt x="1" y="0"/>
                    </a:moveTo>
                    <a:lnTo>
                      <a:pt x="1" y="0"/>
                    </a:lnTo>
                    <a:lnTo>
                      <a:pt x="0" y="27"/>
                    </a:lnTo>
                    <a:lnTo>
                      <a:pt x="1" y="27"/>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64" name="Rectangle 123"/>
              <p:cNvSpPr>
                <a:spLocks noChangeArrowheads="1"/>
              </p:cNvSpPr>
              <p:nvPr/>
            </p:nvSpPr>
            <p:spPr bwMode="auto">
              <a:xfrm>
                <a:off x="7100888" y="1951038"/>
                <a:ext cx="1588" cy="168275"/>
              </a:xfrm>
              <a:prstGeom prst="rect">
                <a:avLst/>
              </a:prstGeom>
              <a:solidFill>
                <a:srgbClr val="0061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65" name="Freeform 124"/>
              <p:cNvSpPr>
                <a:spLocks/>
              </p:cNvSpPr>
              <p:nvPr/>
            </p:nvSpPr>
            <p:spPr bwMode="auto">
              <a:xfrm>
                <a:off x="7100888" y="1951038"/>
                <a:ext cx="0" cy="168275"/>
              </a:xfrm>
              <a:custGeom>
                <a:avLst/>
                <a:gdLst>
                  <a:gd name="T0" fmla="*/ 0 h 106"/>
                  <a:gd name="T1" fmla="*/ 106 h 106"/>
                  <a:gd name="T2" fmla="*/ 106 h 106"/>
                  <a:gd name="T3" fmla="*/ 0 h 106"/>
                </a:gdLst>
                <a:ahLst/>
                <a:cxnLst>
                  <a:cxn ang="0">
                    <a:pos x="0" y="T0"/>
                  </a:cxn>
                  <a:cxn ang="0">
                    <a:pos x="0" y="T1"/>
                  </a:cxn>
                  <a:cxn ang="0">
                    <a:pos x="0" y="T2"/>
                  </a:cxn>
                  <a:cxn ang="0">
                    <a:pos x="0" y="T3"/>
                  </a:cxn>
                </a:cxnLst>
                <a:rect l="0" t="0" r="r" b="b"/>
                <a:pathLst>
                  <a:path h="106">
                    <a:moveTo>
                      <a:pt x="0" y="0"/>
                    </a:moveTo>
                    <a:lnTo>
                      <a:pt x="0" y="106"/>
                    </a:lnTo>
                    <a:lnTo>
                      <a:pt x="0" y="10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66" name="Freeform 125"/>
              <p:cNvSpPr>
                <a:spLocks noEditPoints="1"/>
              </p:cNvSpPr>
              <p:nvPr/>
            </p:nvSpPr>
            <p:spPr bwMode="auto">
              <a:xfrm>
                <a:off x="7100888" y="1951038"/>
                <a:ext cx="265113" cy="211138"/>
              </a:xfrm>
              <a:custGeom>
                <a:avLst/>
                <a:gdLst>
                  <a:gd name="T0" fmla="*/ 74 w 167"/>
                  <a:gd name="T1" fmla="*/ 44 h 133"/>
                  <a:gd name="T2" fmla="*/ 74 w 167"/>
                  <a:gd name="T3" fmla="*/ 133 h 133"/>
                  <a:gd name="T4" fmla="*/ 167 w 167"/>
                  <a:gd name="T5" fmla="*/ 133 h 133"/>
                  <a:gd name="T6" fmla="*/ 167 w 167"/>
                  <a:gd name="T7" fmla="*/ 99 h 133"/>
                  <a:gd name="T8" fmla="*/ 74 w 167"/>
                  <a:gd name="T9" fmla="*/ 44 h 133"/>
                  <a:gd name="T10" fmla="*/ 0 w 167"/>
                  <a:gd name="T11" fmla="*/ 0 h 133"/>
                  <a:gd name="T12" fmla="*/ 0 w 167"/>
                  <a:gd name="T13" fmla="*/ 0 h 133"/>
                  <a:gd name="T14" fmla="*/ 0 w 167"/>
                  <a:gd name="T15" fmla="*/ 106 h 133"/>
                  <a:gd name="T16" fmla="*/ 0 w 167"/>
                  <a:gd name="T17" fmla="*/ 133 h 133"/>
                  <a:gd name="T18" fmla="*/ 42 w 167"/>
                  <a:gd name="T19" fmla="*/ 133 h 133"/>
                  <a:gd name="T20" fmla="*/ 42 w 167"/>
                  <a:gd name="T21" fmla="*/ 27 h 133"/>
                  <a:gd name="T22" fmla="*/ 42 w 167"/>
                  <a:gd name="T23" fmla="*/ 25 h 133"/>
                  <a:gd name="T24" fmla="*/ 0 w 167"/>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7" h="133">
                    <a:moveTo>
                      <a:pt x="74" y="44"/>
                    </a:moveTo>
                    <a:lnTo>
                      <a:pt x="74" y="133"/>
                    </a:lnTo>
                    <a:lnTo>
                      <a:pt x="167" y="133"/>
                    </a:lnTo>
                    <a:lnTo>
                      <a:pt x="167" y="99"/>
                    </a:lnTo>
                    <a:lnTo>
                      <a:pt x="74" y="44"/>
                    </a:lnTo>
                    <a:close/>
                    <a:moveTo>
                      <a:pt x="0" y="0"/>
                    </a:moveTo>
                    <a:lnTo>
                      <a:pt x="0" y="0"/>
                    </a:lnTo>
                    <a:lnTo>
                      <a:pt x="0" y="106"/>
                    </a:lnTo>
                    <a:lnTo>
                      <a:pt x="0" y="133"/>
                    </a:lnTo>
                    <a:lnTo>
                      <a:pt x="42" y="133"/>
                    </a:lnTo>
                    <a:lnTo>
                      <a:pt x="42" y="27"/>
                    </a:lnTo>
                    <a:lnTo>
                      <a:pt x="42" y="25"/>
                    </a:lnTo>
                    <a:lnTo>
                      <a:pt x="0"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67" name="Freeform 126"/>
              <p:cNvSpPr>
                <a:spLocks noEditPoints="1"/>
              </p:cNvSpPr>
              <p:nvPr/>
            </p:nvSpPr>
            <p:spPr bwMode="auto">
              <a:xfrm>
                <a:off x="7100888" y="1951038"/>
                <a:ext cx="265113" cy="211138"/>
              </a:xfrm>
              <a:custGeom>
                <a:avLst/>
                <a:gdLst>
                  <a:gd name="T0" fmla="*/ 74 w 167"/>
                  <a:gd name="T1" fmla="*/ 44 h 133"/>
                  <a:gd name="T2" fmla="*/ 74 w 167"/>
                  <a:gd name="T3" fmla="*/ 133 h 133"/>
                  <a:gd name="T4" fmla="*/ 167 w 167"/>
                  <a:gd name="T5" fmla="*/ 133 h 133"/>
                  <a:gd name="T6" fmla="*/ 167 w 167"/>
                  <a:gd name="T7" fmla="*/ 99 h 133"/>
                  <a:gd name="T8" fmla="*/ 74 w 167"/>
                  <a:gd name="T9" fmla="*/ 44 h 133"/>
                  <a:gd name="T10" fmla="*/ 0 w 167"/>
                  <a:gd name="T11" fmla="*/ 0 h 133"/>
                  <a:gd name="T12" fmla="*/ 0 w 167"/>
                  <a:gd name="T13" fmla="*/ 0 h 133"/>
                  <a:gd name="T14" fmla="*/ 0 w 167"/>
                  <a:gd name="T15" fmla="*/ 106 h 133"/>
                  <a:gd name="T16" fmla="*/ 0 w 167"/>
                  <a:gd name="T17" fmla="*/ 133 h 133"/>
                  <a:gd name="T18" fmla="*/ 42 w 167"/>
                  <a:gd name="T19" fmla="*/ 133 h 133"/>
                  <a:gd name="T20" fmla="*/ 42 w 167"/>
                  <a:gd name="T21" fmla="*/ 27 h 133"/>
                  <a:gd name="T22" fmla="*/ 42 w 167"/>
                  <a:gd name="T23" fmla="*/ 25 h 133"/>
                  <a:gd name="T24" fmla="*/ 0 w 167"/>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7" h="133">
                    <a:moveTo>
                      <a:pt x="74" y="44"/>
                    </a:moveTo>
                    <a:lnTo>
                      <a:pt x="74" y="133"/>
                    </a:lnTo>
                    <a:lnTo>
                      <a:pt x="167" y="133"/>
                    </a:lnTo>
                    <a:lnTo>
                      <a:pt x="167" y="99"/>
                    </a:lnTo>
                    <a:lnTo>
                      <a:pt x="74" y="44"/>
                    </a:lnTo>
                    <a:moveTo>
                      <a:pt x="0" y="0"/>
                    </a:moveTo>
                    <a:lnTo>
                      <a:pt x="0" y="0"/>
                    </a:lnTo>
                    <a:lnTo>
                      <a:pt x="0" y="106"/>
                    </a:lnTo>
                    <a:lnTo>
                      <a:pt x="0" y="133"/>
                    </a:lnTo>
                    <a:lnTo>
                      <a:pt x="42" y="133"/>
                    </a:lnTo>
                    <a:lnTo>
                      <a:pt x="42" y="27"/>
                    </a:lnTo>
                    <a:lnTo>
                      <a:pt x="42" y="2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68" name="Freeform 127"/>
              <p:cNvSpPr>
                <a:spLocks/>
              </p:cNvSpPr>
              <p:nvPr/>
            </p:nvSpPr>
            <p:spPr bwMode="auto">
              <a:xfrm>
                <a:off x="7332663" y="1820863"/>
                <a:ext cx="90488" cy="90488"/>
              </a:xfrm>
              <a:custGeom>
                <a:avLst/>
                <a:gdLst>
                  <a:gd name="T0" fmla="*/ 104 w 121"/>
                  <a:gd name="T1" fmla="*/ 22 h 121"/>
                  <a:gd name="T2" fmla="*/ 38 w 121"/>
                  <a:gd name="T3" fmla="*/ 17 h 121"/>
                  <a:gd name="T4" fmla="*/ 37 w 121"/>
                  <a:gd name="T5" fmla="*/ 18 h 121"/>
                  <a:gd name="T6" fmla="*/ 37 w 121"/>
                  <a:gd name="T7" fmla="*/ 18 h 121"/>
                  <a:gd name="T8" fmla="*/ 0 w 121"/>
                  <a:gd name="T9" fmla="*/ 50 h 121"/>
                  <a:gd name="T10" fmla="*/ 61 w 121"/>
                  <a:gd name="T11" fmla="*/ 121 h 121"/>
                  <a:gd name="T12" fmla="*/ 98 w 121"/>
                  <a:gd name="T13" fmla="*/ 89 h 121"/>
                  <a:gd name="T14" fmla="*/ 98 w 121"/>
                  <a:gd name="T15" fmla="*/ 89 h 121"/>
                  <a:gd name="T16" fmla="*/ 99 w 121"/>
                  <a:gd name="T17" fmla="*/ 88 h 121"/>
                  <a:gd name="T18" fmla="*/ 104 w 121"/>
                  <a:gd name="T19" fmla="*/ 22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121">
                    <a:moveTo>
                      <a:pt x="104" y="22"/>
                    </a:moveTo>
                    <a:cubicBezTo>
                      <a:pt x="87" y="2"/>
                      <a:pt x="58" y="0"/>
                      <a:pt x="38" y="17"/>
                    </a:cubicBezTo>
                    <a:cubicBezTo>
                      <a:pt x="38" y="17"/>
                      <a:pt x="37" y="18"/>
                      <a:pt x="37" y="18"/>
                    </a:cubicBezTo>
                    <a:cubicBezTo>
                      <a:pt x="37" y="18"/>
                      <a:pt x="37" y="18"/>
                      <a:pt x="37" y="18"/>
                    </a:cubicBezTo>
                    <a:cubicBezTo>
                      <a:pt x="0" y="50"/>
                      <a:pt x="0" y="50"/>
                      <a:pt x="0" y="50"/>
                    </a:cubicBezTo>
                    <a:cubicBezTo>
                      <a:pt x="61" y="121"/>
                      <a:pt x="61" y="121"/>
                      <a:pt x="61" y="121"/>
                    </a:cubicBezTo>
                    <a:cubicBezTo>
                      <a:pt x="98" y="89"/>
                      <a:pt x="98" y="89"/>
                      <a:pt x="98" y="89"/>
                    </a:cubicBezTo>
                    <a:cubicBezTo>
                      <a:pt x="98" y="89"/>
                      <a:pt x="98" y="89"/>
                      <a:pt x="98" y="89"/>
                    </a:cubicBezTo>
                    <a:cubicBezTo>
                      <a:pt x="98" y="88"/>
                      <a:pt x="99" y="88"/>
                      <a:pt x="99" y="88"/>
                    </a:cubicBezTo>
                    <a:cubicBezTo>
                      <a:pt x="119" y="71"/>
                      <a:pt x="121" y="41"/>
                      <a:pt x="104" y="22"/>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69" name="Rectangle 128"/>
              <p:cNvSpPr>
                <a:spLocks noChangeArrowheads="1"/>
              </p:cNvSpPr>
              <p:nvPr/>
            </p:nvSpPr>
            <p:spPr bwMode="auto">
              <a:xfrm>
                <a:off x="7167563" y="1935163"/>
                <a:ext cx="768350" cy="587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70" name="Rectangle 129"/>
              <p:cNvSpPr>
                <a:spLocks noChangeArrowheads="1"/>
              </p:cNvSpPr>
              <p:nvPr/>
            </p:nvSpPr>
            <p:spPr bwMode="auto">
              <a:xfrm>
                <a:off x="7167563" y="1935163"/>
                <a:ext cx="768350" cy="58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71" name="Freeform 130"/>
              <p:cNvSpPr>
                <a:spLocks/>
              </p:cNvSpPr>
              <p:nvPr/>
            </p:nvSpPr>
            <p:spPr bwMode="auto">
              <a:xfrm>
                <a:off x="7453313" y="1935163"/>
                <a:ext cx="482600" cy="58738"/>
              </a:xfrm>
              <a:custGeom>
                <a:avLst/>
                <a:gdLst>
                  <a:gd name="T0" fmla="*/ 304 w 304"/>
                  <a:gd name="T1" fmla="*/ 0 h 37"/>
                  <a:gd name="T2" fmla="*/ 51 w 304"/>
                  <a:gd name="T3" fmla="*/ 0 h 37"/>
                  <a:gd name="T4" fmla="*/ 0 w 304"/>
                  <a:gd name="T5" fmla="*/ 0 h 37"/>
                  <a:gd name="T6" fmla="*/ 0 w 304"/>
                  <a:gd name="T7" fmla="*/ 0 h 37"/>
                  <a:gd name="T8" fmla="*/ 0 w 304"/>
                  <a:gd name="T9" fmla="*/ 37 h 37"/>
                  <a:gd name="T10" fmla="*/ 304 w 304"/>
                  <a:gd name="T11" fmla="*/ 37 h 37"/>
                  <a:gd name="T12" fmla="*/ 304 w 304"/>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304" h="37">
                    <a:moveTo>
                      <a:pt x="304" y="0"/>
                    </a:moveTo>
                    <a:lnTo>
                      <a:pt x="51" y="0"/>
                    </a:lnTo>
                    <a:lnTo>
                      <a:pt x="0" y="0"/>
                    </a:lnTo>
                    <a:lnTo>
                      <a:pt x="0" y="0"/>
                    </a:lnTo>
                    <a:lnTo>
                      <a:pt x="0" y="37"/>
                    </a:lnTo>
                    <a:lnTo>
                      <a:pt x="304" y="37"/>
                    </a:lnTo>
                    <a:lnTo>
                      <a:pt x="304" y="0"/>
                    </a:lnTo>
                    <a:close/>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72" name="Freeform 131"/>
              <p:cNvSpPr>
                <a:spLocks/>
              </p:cNvSpPr>
              <p:nvPr/>
            </p:nvSpPr>
            <p:spPr bwMode="auto">
              <a:xfrm>
                <a:off x="7453313" y="1935163"/>
                <a:ext cx="482600" cy="58738"/>
              </a:xfrm>
              <a:custGeom>
                <a:avLst/>
                <a:gdLst>
                  <a:gd name="T0" fmla="*/ 304 w 304"/>
                  <a:gd name="T1" fmla="*/ 0 h 37"/>
                  <a:gd name="T2" fmla="*/ 51 w 304"/>
                  <a:gd name="T3" fmla="*/ 0 h 37"/>
                  <a:gd name="T4" fmla="*/ 0 w 304"/>
                  <a:gd name="T5" fmla="*/ 0 h 37"/>
                  <a:gd name="T6" fmla="*/ 0 w 304"/>
                  <a:gd name="T7" fmla="*/ 0 h 37"/>
                  <a:gd name="T8" fmla="*/ 0 w 304"/>
                  <a:gd name="T9" fmla="*/ 37 h 37"/>
                  <a:gd name="T10" fmla="*/ 304 w 304"/>
                  <a:gd name="T11" fmla="*/ 37 h 37"/>
                  <a:gd name="T12" fmla="*/ 304 w 304"/>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304" h="37">
                    <a:moveTo>
                      <a:pt x="304" y="0"/>
                    </a:moveTo>
                    <a:lnTo>
                      <a:pt x="51" y="0"/>
                    </a:lnTo>
                    <a:lnTo>
                      <a:pt x="0" y="0"/>
                    </a:lnTo>
                    <a:lnTo>
                      <a:pt x="0" y="0"/>
                    </a:lnTo>
                    <a:lnTo>
                      <a:pt x="0" y="37"/>
                    </a:lnTo>
                    <a:lnTo>
                      <a:pt x="304" y="37"/>
                    </a:lnTo>
                    <a:lnTo>
                      <a:pt x="3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73" name="Rectangle 132"/>
              <p:cNvSpPr>
                <a:spLocks noChangeArrowheads="1"/>
              </p:cNvSpPr>
              <p:nvPr/>
            </p:nvSpPr>
            <p:spPr bwMode="auto">
              <a:xfrm>
                <a:off x="7348538" y="1901826"/>
                <a:ext cx="290513" cy="33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74" name="Rectangle 133"/>
              <p:cNvSpPr>
                <a:spLocks noChangeArrowheads="1"/>
              </p:cNvSpPr>
              <p:nvPr/>
            </p:nvSpPr>
            <p:spPr bwMode="auto">
              <a:xfrm>
                <a:off x="7348538" y="1901826"/>
                <a:ext cx="290513" cy="33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75" name="Freeform 134"/>
              <p:cNvSpPr>
                <a:spLocks/>
              </p:cNvSpPr>
              <p:nvPr/>
            </p:nvSpPr>
            <p:spPr bwMode="auto">
              <a:xfrm>
                <a:off x="7348538" y="1901826"/>
                <a:ext cx="123825" cy="33338"/>
              </a:xfrm>
              <a:custGeom>
                <a:avLst/>
                <a:gdLst>
                  <a:gd name="T0" fmla="*/ 95 w 165"/>
                  <a:gd name="T1" fmla="*/ 0 h 46"/>
                  <a:gd name="T2" fmla="*/ 55 w 165"/>
                  <a:gd name="T3" fmla="*/ 0 h 46"/>
                  <a:gd name="T4" fmla="*/ 28 w 165"/>
                  <a:gd name="T5" fmla="*/ 0 h 46"/>
                  <a:gd name="T6" fmla="*/ 0 w 165"/>
                  <a:gd name="T7" fmla="*/ 0 h 46"/>
                  <a:gd name="T8" fmla="*/ 0 w 165"/>
                  <a:gd name="T9" fmla="*/ 46 h 46"/>
                  <a:gd name="T10" fmla="*/ 165 w 165"/>
                  <a:gd name="T11" fmla="*/ 46 h 46"/>
                  <a:gd name="T12" fmla="*/ 165 w 165"/>
                  <a:gd name="T13" fmla="*/ 11 h 46"/>
                  <a:gd name="T14" fmla="*/ 118 w 165"/>
                  <a:gd name="T15" fmla="*/ 11 h 46"/>
                  <a:gd name="T16" fmla="*/ 95 w 16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46">
                    <a:moveTo>
                      <a:pt x="95" y="0"/>
                    </a:moveTo>
                    <a:cubicBezTo>
                      <a:pt x="55" y="0"/>
                      <a:pt x="55" y="0"/>
                      <a:pt x="55" y="0"/>
                    </a:cubicBezTo>
                    <a:cubicBezTo>
                      <a:pt x="28" y="0"/>
                      <a:pt x="28" y="0"/>
                      <a:pt x="28" y="0"/>
                    </a:cubicBezTo>
                    <a:cubicBezTo>
                      <a:pt x="0" y="0"/>
                      <a:pt x="0" y="0"/>
                      <a:pt x="0" y="0"/>
                    </a:cubicBezTo>
                    <a:cubicBezTo>
                      <a:pt x="0" y="46"/>
                      <a:pt x="0" y="46"/>
                      <a:pt x="0" y="46"/>
                    </a:cubicBezTo>
                    <a:cubicBezTo>
                      <a:pt x="165" y="46"/>
                      <a:pt x="165" y="46"/>
                      <a:pt x="165" y="46"/>
                    </a:cubicBezTo>
                    <a:cubicBezTo>
                      <a:pt x="165" y="11"/>
                      <a:pt x="165" y="11"/>
                      <a:pt x="165" y="11"/>
                    </a:cubicBezTo>
                    <a:cubicBezTo>
                      <a:pt x="118" y="11"/>
                      <a:pt x="118" y="11"/>
                      <a:pt x="118" y="11"/>
                    </a:cubicBezTo>
                    <a:cubicBezTo>
                      <a:pt x="118" y="11"/>
                      <a:pt x="103" y="11"/>
                      <a:pt x="95" y="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76" name="Freeform 135"/>
              <p:cNvSpPr>
                <a:spLocks/>
              </p:cNvSpPr>
              <p:nvPr/>
            </p:nvSpPr>
            <p:spPr bwMode="auto">
              <a:xfrm>
                <a:off x="7415213" y="1571626"/>
                <a:ext cx="411163" cy="338138"/>
              </a:xfrm>
              <a:custGeom>
                <a:avLst/>
                <a:gdLst>
                  <a:gd name="T0" fmla="*/ 550 w 550"/>
                  <a:gd name="T1" fmla="*/ 28 h 453"/>
                  <a:gd name="T2" fmla="*/ 550 w 550"/>
                  <a:gd name="T3" fmla="*/ 424 h 453"/>
                  <a:gd name="T4" fmla="*/ 522 w 550"/>
                  <a:gd name="T5" fmla="*/ 453 h 453"/>
                  <a:gd name="T6" fmla="*/ 29 w 550"/>
                  <a:gd name="T7" fmla="*/ 453 h 453"/>
                  <a:gd name="T8" fmla="*/ 0 w 550"/>
                  <a:gd name="T9" fmla="*/ 424 h 453"/>
                  <a:gd name="T10" fmla="*/ 0 w 550"/>
                  <a:gd name="T11" fmla="*/ 28 h 453"/>
                  <a:gd name="T12" fmla="*/ 29 w 550"/>
                  <a:gd name="T13" fmla="*/ 0 h 453"/>
                  <a:gd name="T14" fmla="*/ 522 w 550"/>
                  <a:gd name="T15" fmla="*/ 0 h 453"/>
                  <a:gd name="T16" fmla="*/ 550 w 550"/>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0" h="453">
                    <a:moveTo>
                      <a:pt x="550" y="28"/>
                    </a:moveTo>
                    <a:cubicBezTo>
                      <a:pt x="550" y="424"/>
                      <a:pt x="550" y="424"/>
                      <a:pt x="550" y="424"/>
                    </a:cubicBezTo>
                    <a:cubicBezTo>
                      <a:pt x="550" y="424"/>
                      <a:pt x="550" y="453"/>
                      <a:pt x="522" y="453"/>
                    </a:cubicBezTo>
                    <a:cubicBezTo>
                      <a:pt x="29" y="453"/>
                      <a:pt x="29" y="453"/>
                      <a:pt x="29" y="453"/>
                    </a:cubicBezTo>
                    <a:cubicBezTo>
                      <a:pt x="29" y="453"/>
                      <a:pt x="0" y="453"/>
                      <a:pt x="0" y="424"/>
                    </a:cubicBezTo>
                    <a:cubicBezTo>
                      <a:pt x="0" y="28"/>
                      <a:pt x="0" y="28"/>
                      <a:pt x="0" y="28"/>
                    </a:cubicBezTo>
                    <a:cubicBezTo>
                      <a:pt x="0" y="28"/>
                      <a:pt x="0" y="0"/>
                      <a:pt x="29" y="0"/>
                    </a:cubicBezTo>
                    <a:cubicBezTo>
                      <a:pt x="522" y="0"/>
                      <a:pt x="522" y="0"/>
                      <a:pt x="522" y="0"/>
                    </a:cubicBezTo>
                    <a:cubicBezTo>
                      <a:pt x="522" y="0"/>
                      <a:pt x="550" y="0"/>
                      <a:pt x="550" y="28"/>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77" name="Freeform 136"/>
              <p:cNvSpPr>
                <a:spLocks/>
              </p:cNvSpPr>
              <p:nvPr/>
            </p:nvSpPr>
            <p:spPr bwMode="auto">
              <a:xfrm>
                <a:off x="7432676" y="1571626"/>
                <a:ext cx="422275" cy="338138"/>
              </a:xfrm>
              <a:custGeom>
                <a:avLst/>
                <a:gdLst>
                  <a:gd name="T0" fmla="*/ 566 w 566"/>
                  <a:gd name="T1" fmla="*/ 28 h 453"/>
                  <a:gd name="T2" fmla="*/ 566 w 566"/>
                  <a:gd name="T3" fmla="*/ 424 h 453"/>
                  <a:gd name="T4" fmla="*/ 538 w 566"/>
                  <a:gd name="T5" fmla="*/ 453 h 453"/>
                  <a:gd name="T6" fmla="*/ 28 w 566"/>
                  <a:gd name="T7" fmla="*/ 453 h 453"/>
                  <a:gd name="T8" fmla="*/ 0 w 566"/>
                  <a:gd name="T9" fmla="*/ 424 h 453"/>
                  <a:gd name="T10" fmla="*/ 0 w 566"/>
                  <a:gd name="T11" fmla="*/ 28 h 453"/>
                  <a:gd name="T12" fmla="*/ 28 w 566"/>
                  <a:gd name="T13" fmla="*/ 0 h 453"/>
                  <a:gd name="T14" fmla="*/ 538 w 566"/>
                  <a:gd name="T15" fmla="*/ 0 h 453"/>
                  <a:gd name="T16" fmla="*/ 566 w 56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3">
                    <a:moveTo>
                      <a:pt x="566" y="28"/>
                    </a:moveTo>
                    <a:cubicBezTo>
                      <a:pt x="566" y="424"/>
                      <a:pt x="566" y="424"/>
                      <a:pt x="566" y="424"/>
                    </a:cubicBezTo>
                    <a:cubicBezTo>
                      <a:pt x="566" y="424"/>
                      <a:pt x="566" y="453"/>
                      <a:pt x="538" y="453"/>
                    </a:cubicBezTo>
                    <a:cubicBezTo>
                      <a:pt x="28" y="453"/>
                      <a:pt x="28" y="453"/>
                      <a:pt x="28" y="453"/>
                    </a:cubicBezTo>
                    <a:cubicBezTo>
                      <a:pt x="28" y="453"/>
                      <a:pt x="0" y="453"/>
                      <a:pt x="0" y="424"/>
                    </a:cubicBezTo>
                    <a:cubicBezTo>
                      <a:pt x="0" y="28"/>
                      <a:pt x="0" y="28"/>
                      <a:pt x="0" y="28"/>
                    </a:cubicBezTo>
                    <a:cubicBezTo>
                      <a:pt x="0" y="28"/>
                      <a:pt x="0" y="0"/>
                      <a:pt x="28" y="0"/>
                    </a:cubicBezTo>
                    <a:cubicBezTo>
                      <a:pt x="538" y="0"/>
                      <a:pt x="538" y="0"/>
                      <a:pt x="538" y="0"/>
                    </a:cubicBezTo>
                    <a:cubicBezTo>
                      <a:pt x="538" y="0"/>
                      <a:pt x="566" y="0"/>
                      <a:pt x="566" y="28"/>
                    </a:cubicBezTo>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78" name="Freeform 137"/>
              <p:cNvSpPr>
                <a:spLocks/>
              </p:cNvSpPr>
              <p:nvPr/>
            </p:nvSpPr>
            <p:spPr bwMode="auto">
              <a:xfrm>
                <a:off x="7432676" y="1612901"/>
                <a:ext cx="422275" cy="296863"/>
              </a:xfrm>
              <a:custGeom>
                <a:avLst/>
                <a:gdLst>
                  <a:gd name="T0" fmla="*/ 566 w 566"/>
                  <a:gd name="T1" fmla="*/ 0 h 397"/>
                  <a:gd name="T2" fmla="*/ 0 w 566"/>
                  <a:gd name="T3" fmla="*/ 340 h 397"/>
                  <a:gd name="T4" fmla="*/ 0 w 566"/>
                  <a:gd name="T5" fmla="*/ 368 h 397"/>
                  <a:gd name="T6" fmla="*/ 28 w 566"/>
                  <a:gd name="T7" fmla="*/ 397 h 397"/>
                  <a:gd name="T8" fmla="*/ 538 w 566"/>
                  <a:gd name="T9" fmla="*/ 397 h 397"/>
                  <a:gd name="T10" fmla="*/ 566 w 566"/>
                  <a:gd name="T11" fmla="*/ 368 h 397"/>
                  <a:gd name="T12" fmla="*/ 566 w 566"/>
                  <a:gd name="T13" fmla="*/ 17 h 397"/>
                  <a:gd name="T14" fmla="*/ 566 w 566"/>
                  <a:gd name="T15" fmla="*/ 0 h 3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6" h="397">
                    <a:moveTo>
                      <a:pt x="566" y="0"/>
                    </a:moveTo>
                    <a:cubicBezTo>
                      <a:pt x="0" y="340"/>
                      <a:pt x="0" y="340"/>
                      <a:pt x="0" y="340"/>
                    </a:cubicBezTo>
                    <a:cubicBezTo>
                      <a:pt x="0" y="368"/>
                      <a:pt x="0" y="368"/>
                      <a:pt x="0" y="368"/>
                    </a:cubicBezTo>
                    <a:cubicBezTo>
                      <a:pt x="0" y="397"/>
                      <a:pt x="28" y="397"/>
                      <a:pt x="28" y="397"/>
                    </a:cubicBezTo>
                    <a:cubicBezTo>
                      <a:pt x="538" y="397"/>
                      <a:pt x="538" y="397"/>
                      <a:pt x="538" y="397"/>
                    </a:cubicBezTo>
                    <a:cubicBezTo>
                      <a:pt x="566" y="397"/>
                      <a:pt x="566" y="368"/>
                      <a:pt x="566" y="368"/>
                    </a:cubicBezTo>
                    <a:cubicBezTo>
                      <a:pt x="566" y="17"/>
                      <a:pt x="566" y="17"/>
                      <a:pt x="566" y="17"/>
                    </a:cubicBezTo>
                    <a:cubicBezTo>
                      <a:pt x="566" y="0"/>
                      <a:pt x="566" y="0"/>
                      <a:pt x="566" y="0"/>
                    </a:cubicBezTo>
                  </a:path>
                </a:pathLst>
              </a:custGeom>
              <a:solidFill>
                <a:srgbClr val="5DA5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79" name="Freeform 138"/>
              <p:cNvSpPr>
                <a:spLocks/>
              </p:cNvSpPr>
              <p:nvPr/>
            </p:nvSpPr>
            <p:spPr bwMode="auto">
              <a:xfrm>
                <a:off x="7226301" y="1606551"/>
                <a:ext cx="74613" cy="88900"/>
              </a:xfrm>
              <a:custGeom>
                <a:avLst/>
                <a:gdLst>
                  <a:gd name="T0" fmla="*/ 99 w 99"/>
                  <a:gd name="T1" fmla="*/ 11 h 120"/>
                  <a:gd name="T2" fmla="*/ 67 w 99"/>
                  <a:gd name="T3" fmla="*/ 0 h 120"/>
                  <a:gd name="T4" fmla="*/ 57 w 99"/>
                  <a:gd name="T5" fmla="*/ 26 h 120"/>
                  <a:gd name="T6" fmla="*/ 0 w 99"/>
                  <a:gd name="T7" fmla="*/ 26 h 120"/>
                  <a:gd name="T8" fmla="*/ 1 w 99"/>
                  <a:gd name="T9" fmla="*/ 120 h 120"/>
                  <a:gd name="T10" fmla="*/ 69 w 99"/>
                  <a:gd name="T11" fmla="*/ 120 h 120"/>
                  <a:gd name="T12" fmla="*/ 68 w 99"/>
                  <a:gd name="T13" fmla="*/ 66 h 120"/>
                  <a:gd name="T14" fmla="*/ 99 w 99"/>
                  <a:gd name="T15" fmla="*/ 11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 h="120">
                    <a:moveTo>
                      <a:pt x="99" y="11"/>
                    </a:moveTo>
                    <a:cubicBezTo>
                      <a:pt x="67" y="0"/>
                      <a:pt x="67" y="0"/>
                      <a:pt x="67" y="0"/>
                    </a:cubicBezTo>
                    <a:cubicBezTo>
                      <a:pt x="57" y="26"/>
                      <a:pt x="57" y="26"/>
                      <a:pt x="57" y="26"/>
                    </a:cubicBezTo>
                    <a:cubicBezTo>
                      <a:pt x="0" y="26"/>
                      <a:pt x="0" y="26"/>
                      <a:pt x="0" y="26"/>
                    </a:cubicBezTo>
                    <a:cubicBezTo>
                      <a:pt x="1" y="120"/>
                      <a:pt x="1" y="120"/>
                      <a:pt x="1" y="120"/>
                    </a:cubicBezTo>
                    <a:cubicBezTo>
                      <a:pt x="69" y="120"/>
                      <a:pt x="69" y="120"/>
                      <a:pt x="69" y="120"/>
                    </a:cubicBezTo>
                    <a:cubicBezTo>
                      <a:pt x="68" y="66"/>
                      <a:pt x="68" y="66"/>
                      <a:pt x="68" y="66"/>
                    </a:cubicBezTo>
                    <a:cubicBezTo>
                      <a:pt x="69" y="48"/>
                      <a:pt x="74" y="19"/>
                      <a:pt x="99" y="11"/>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80" name="Freeform 139"/>
              <p:cNvSpPr>
                <a:spLocks noEditPoints="1"/>
              </p:cNvSpPr>
              <p:nvPr/>
            </p:nvSpPr>
            <p:spPr bwMode="auto">
              <a:xfrm>
                <a:off x="7694613" y="1803401"/>
                <a:ext cx="115888" cy="77788"/>
              </a:xfrm>
              <a:custGeom>
                <a:avLst/>
                <a:gdLst>
                  <a:gd name="T0" fmla="*/ 73 w 73"/>
                  <a:gd name="T1" fmla="*/ 49 h 49"/>
                  <a:gd name="T2" fmla="*/ 0 w 73"/>
                  <a:gd name="T3" fmla="*/ 49 h 49"/>
                  <a:gd name="T4" fmla="*/ 0 w 73"/>
                  <a:gd name="T5" fmla="*/ 0 h 49"/>
                  <a:gd name="T6" fmla="*/ 73 w 73"/>
                  <a:gd name="T7" fmla="*/ 0 h 49"/>
                  <a:gd name="T8" fmla="*/ 73 w 73"/>
                  <a:gd name="T9" fmla="*/ 49 h 49"/>
                  <a:gd name="T10" fmla="*/ 2 w 73"/>
                  <a:gd name="T11" fmla="*/ 48 h 49"/>
                  <a:gd name="T12" fmla="*/ 72 w 73"/>
                  <a:gd name="T13" fmla="*/ 48 h 49"/>
                  <a:gd name="T14" fmla="*/ 72 w 73"/>
                  <a:gd name="T15" fmla="*/ 2 h 49"/>
                  <a:gd name="T16" fmla="*/ 2 w 73"/>
                  <a:gd name="T17" fmla="*/ 2 h 49"/>
                  <a:gd name="T18" fmla="*/ 2 w 73"/>
                  <a:gd name="T19" fmla="*/ 4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49">
                    <a:moveTo>
                      <a:pt x="73" y="49"/>
                    </a:moveTo>
                    <a:lnTo>
                      <a:pt x="0" y="49"/>
                    </a:lnTo>
                    <a:lnTo>
                      <a:pt x="0" y="0"/>
                    </a:lnTo>
                    <a:lnTo>
                      <a:pt x="73" y="0"/>
                    </a:lnTo>
                    <a:lnTo>
                      <a:pt x="73" y="49"/>
                    </a:lnTo>
                    <a:close/>
                    <a:moveTo>
                      <a:pt x="2" y="48"/>
                    </a:moveTo>
                    <a:lnTo>
                      <a:pt x="72" y="48"/>
                    </a:lnTo>
                    <a:lnTo>
                      <a:pt x="72" y="2"/>
                    </a:lnTo>
                    <a:lnTo>
                      <a:pt x="2" y="2"/>
                    </a:lnTo>
                    <a:lnTo>
                      <a:pt x="2" y="4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81" name="Freeform 140"/>
              <p:cNvSpPr>
                <a:spLocks/>
              </p:cNvSpPr>
              <p:nvPr/>
            </p:nvSpPr>
            <p:spPr bwMode="auto">
              <a:xfrm>
                <a:off x="7735888" y="1838326"/>
                <a:ext cx="173038" cy="617538"/>
              </a:xfrm>
              <a:custGeom>
                <a:avLst/>
                <a:gdLst>
                  <a:gd name="T0" fmla="*/ 136 w 231"/>
                  <a:gd name="T1" fmla="*/ 827 h 827"/>
                  <a:gd name="T2" fmla="*/ 133 w 231"/>
                  <a:gd name="T3" fmla="*/ 824 h 827"/>
                  <a:gd name="T4" fmla="*/ 155 w 231"/>
                  <a:gd name="T5" fmla="*/ 530 h 827"/>
                  <a:gd name="T6" fmla="*/ 143 w 231"/>
                  <a:gd name="T7" fmla="*/ 57 h 827"/>
                  <a:gd name="T8" fmla="*/ 5 w 231"/>
                  <a:gd name="T9" fmla="*/ 13 h 827"/>
                  <a:gd name="T10" fmla="*/ 0 w 231"/>
                  <a:gd name="T11" fmla="*/ 9 h 827"/>
                  <a:gd name="T12" fmla="*/ 4 w 231"/>
                  <a:gd name="T13" fmla="*/ 5 h 827"/>
                  <a:gd name="T14" fmla="*/ 149 w 231"/>
                  <a:gd name="T15" fmla="*/ 52 h 827"/>
                  <a:gd name="T16" fmla="*/ 162 w 231"/>
                  <a:gd name="T17" fmla="*/ 532 h 827"/>
                  <a:gd name="T18" fmla="*/ 140 w 231"/>
                  <a:gd name="T19" fmla="*/ 821 h 827"/>
                  <a:gd name="T20" fmla="*/ 138 w 231"/>
                  <a:gd name="T21" fmla="*/ 827 h 827"/>
                  <a:gd name="T22" fmla="*/ 136 w 231"/>
                  <a:gd name="T23" fmla="*/ 827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1" h="827">
                    <a:moveTo>
                      <a:pt x="136" y="827"/>
                    </a:moveTo>
                    <a:cubicBezTo>
                      <a:pt x="135" y="827"/>
                      <a:pt x="133" y="826"/>
                      <a:pt x="133" y="824"/>
                    </a:cubicBezTo>
                    <a:cubicBezTo>
                      <a:pt x="113" y="765"/>
                      <a:pt x="133" y="651"/>
                      <a:pt x="155" y="530"/>
                    </a:cubicBezTo>
                    <a:cubicBezTo>
                      <a:pt x="187" y="350"/>
                      <a:pt x="223" y="146"/>
                      <a:pt x="143" y="57"/>
                    </a:cubicBezTo>
                    <a:cubicBezTo>
                      <a:pt x="112" y="23"/>
                      <a:pt x="67" y="8"/>
                      <a:pt x="5" y="13"/>
                    </a:cubicBezTo>
                    <a:cubicBezTo>
                      <a:pt x="2" y="13"/>
                      <a:pt x="1" y="11"/>
                      <a:pt x="0" y="9"/>
                    </a:cubicBezTo>
                    <a:cubicBezTo>
                      <a:pt x="0" y="7"/>
                      <a:pt x="2" y="5"/>
                      <a:pt x="4" y="5"/>
                    </a:cubicBezTo>
                    <a:cubicBezTo>
                      <a:pt x="68" y="0"/>
                      <a:pt x="117" y="16"/>
                      <a:pt x="149" y="52"/>
                    </a:cubicBezTo>
                    <a:cubicBezTo>
                      <a:pt x="231" y="143"/>
                      <a:pt x="195" y="350"/>
                      <a:pt x="162" y="532"/>
                    </a:cubicBezTo>
                    <a:cubicBezTo>
                      <a:pt x="141" y="651"/>
                      <a:pt x="121" y="764"/>
                      <a:pt x="140" y="821"/>
                    </a:cubicBezTo>
                    <a:cubicBezTo>
                      <a:pt x="141" y="824"/>
                      <a:pt x="140" y="826"/>
                      <a:pt x="138" y="827"/>
                    </a:cubicBezTo>
                    <a:cubicBezTo>
                      <a:pt x="137" y="827"/>
                      <a:pt x="137" y="827"/>
                      <a:pt x="136" y="8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82" name="Freeform 141"/>
              <p:cNvSpPr>
                <a:spLocks/>
              </p:cNvSpPr>
              <p:nvPr/>
            </p:nvSpPr>
            <p:spPr bwMode="auto">
              <a:xfrm>
                <a:off x="7966076" y="2487613"/>
                <a:ext cx="41275" cy="42863"/>
              </a:xfrm>
              <a:custGeom>
                <a:avLst/>
                <a:gdLst>
                  <a:gd name="T0" fmla="*/ 26 w 26"/>
                  <a:gd name="T1" fmla="*/ 0 h 27"/>
                  <a:gd name="T2" fmla="*/ 0 w 26"/>
                  <a:gd name="T3" fmla="*/ 0 h 27"/>
                  <a:gd name="T4" fmla="*/ 0 w 26"/>
                  <a:gd name="T5" fmla="*/ 27 h 27"/>
                  <a:gd name="T6" fmla="*/ 26 w 26"/>
                  <a:gd name="T7" fmla="*/ 27 h 27"/>
                  <a:gd name="T8" fmla="*/ 26 w 26"/>
                  <a:gd name="T9" fmla="*/ 10 h 27"/>
                  <a:gd name="T10" fmla="*/ 26 w 26"/>
                  <a:gd name="T11" fmla="*/ 0 h 27"/>
                </a:gdLst>
                <a:ahLst/>
                <a:cxnLst>
                  <a:cxn ang="0">
                    <a:pos x="T0" y="T1"/>
                  </a:cxn>
                  <a:cxn ang="0">
                    <a:pos x="T2" y="T3"/>
                  </a:cxn>
                  <a:cxn ang="0">
                    <a:pos x="T4" y="T5"/>
                  </a:cxn>
                  <a:cxn ang="0">
                    <a:pos x="T6" y="T7"/>
                  </a:cxn>
                  <a:cxn ang="0">
                    <a:pos x="T8" y="T9"/>
                  </a:cxn>
                  <a:cxn ang="0">
                    <a:pos x="T10" y="T11"/>
                  </a:cxn>
                </a:cxnLst>
                <a:rect l="0" t="0" r="r" b="b"/>
                <a:pathLst>
                  <a:path w="26" h="27">
                    <a:moveTo>
                      <a:pt x="26" y="0"/>
                    </a:moveTo>
                    <a:lnTo>
                      <a:pt x="0" y="0"/>
                    </a:lnTo>
                    <a:lnTo>
                      <a:pt x="0" y="27"/>
                    </a:lnTo>
                    <a:lnTo>
                      <a:pt x="26" y="27"/>
                    </a:lnTo>
                    <a:lnTo>
                      <a:pt x="26" y="10"/>
                    </a:lnTo>
                    <a:lnTo>
                      <a:pt x="26"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83" name="Freeform 142"/>
              <p:cNvSpPr>
                <a:spLocks/>
              </p:cNvSpPr>
              <p:nvPr/>
            </p:nvSpPr>
            <p:spPr bwMode="auto">
              <a:xfrm>
                <a:off x="7966076" y="2487613"/>
                <a:ext cx="41275" cy="42863"/>
              </a:xfrm>
              <a:custGeom>
                <a:avLst/>
                <a:gdLst>
                  <a:gd name="T0" fmla="*/ 26 w 26"/>
                  <a:gd name="T1" fmla="*/ 0 h 27"/>
                  <a:gd name="T2" fmla="*/ 0 w 26"/>
                  <a:gd name="T3" fmla="*/ 0 h 27"/>
                  <a:gd name="T4" fmla="*/ 0 w 26"/>
                  <a:gd name="T5" fmla="*/ 27 h 27"/>
                  <a:gd name="T6" fmla="*/ 26 w 26"/>
                  <a:gd name="T7" fmla="*/ 27 h 27"/>
                  <a:gd name="T8" fmla="*/ 26 w 26"/>
                  <a:gd name="T9" fmla="*/ 10 h 27"/>
                  <a:gd name="T10" fmla="*/ 26 w 26"/>
                  <a:gd name="T11" fmla="*/ 0 h 27"/>
                </a:gdLst>
                <a:ahLst/>
                <a:cxnLst>
                  <a:cxn ang="0">
                    <a:pos x="T0" y="T1"/>
                  </a:cxn>
                  <a:cxn ang="0">
                    <a:pos x="T2" y="T3"/>
                  </a:cxn>
                  <a:cxn ang="0">
                    <a:pos x="T4" y="T5"/>
                  </a:cxn>
                  <a:cxn ang="0">
                    <a:pos x="T6" y="T7"/>
                  </a:cxn>
                  <a:cxn ang="0">
                    <a:pos x="T8" y="T9"/>
                  </a:cxn>
                  <a:cxn ang="0">
                    <a:pos x="T10" y="T11"/>
                  </a:cxn>
                </a:cxnLst>
                <a:rect l="0" t="0" r="r" b="b"/>
                <a:pathLst>
                  <a:path w="26" h="27">
                    <a:moveTo>
                      <a:pt x="26" y="0"/>
                    </a:moveTo>
                    <a:lnTo>
                      <a:pt x="0" y="0"/>
                    </a:lnTo>
                    <a:lnTo>
                      <a:pt x="0" y="27"/>
                    </a:lnTo>
                    <a:lnTo>
                      <a:pt x="26" y="27"/>
                    </a:lnTo>
                    <a:lnTo>
                      <a:pt x="26" y="10"/>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84" name="Rectangle 143"/>
              <p:cNvSpPr>
                <a:spLocks noChangeArrowheads="1"/>
              </p:cNvSpPr>
              <p:nvPr/>
            </p:nvSpPr>
            <p:spPr bwMode="auto">
              <a:xfrm>
                <a:off x="7167563" y="1979613"/>
                <a:ext cx="50800" cy="5715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85" name="Rectangle 144"/>
              <p:cNvSpPr>
                <a:spLocks noChangeArrowheads="1"/>
              </p:cNvSpPr>
              <p:nvPr/>
            </p:nvSpPr>
            <p:spPr bwMode="auto">
              <a:xfrm>
                <a:off x="7167563" y="1979613"/>
                <a:ext cx="5080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86" name="Freeform 145"/>
              <p:cNvSpPr>
                <a:spLocks/>
              </p:cNvSpPr>
              <p:nvPr/>
            </p:nvSpPr>
            <p:spPr bwMode="auto">
              <a:xfrm>
                <a:off x="7192963" y="1993901"/>
                <a:ext cx="25400" cy="311150"/>
              </a:xfrm>
              <a:custGeom>
                <a:avLst/>
                <a:gdLst>
                  <a:gd name="T0" fmla="*/ 16 w 16"/>
                  <a:gd name="T1" fmla="*/ 0 h 196"/>
                  <a:gd name="T2" fmla="*/ 0 w 16"/>
                  <a:gd name="T3" fmla="*/ 0 h 196"/>
                  <a:gd name="T4" fmla="*/ 0 w 16"/>
                  <a:gd name="T5" fmla="*/ 196 h 196"/>
                  <a:gd name="T6" fmla="*/ 16 w 16"/>
                  <a:gd name="T7" fmla="*/ 196 h 196"/>
                  <a:gd name="T8" fmla="*/ 16 w 16"/>
                  <a:gd name="T9" fmla="*/ 151 h 196"/>
                  <a:gd name="T10" fmla="*/ 16 w 16"/>
                  <a:gd name="T11" fmla="*/ 131 h 196"/>
                  <a:gd name="T12" fmla="*/ 16 w 16"/>
                  <a:gd name="T13" fmla="*/ 106 h 196"/>
                  <a:gd name="T14" fmla="*/ 16 w 16"/>
                  <a:gd name="T15" fmla="*/ 0 h 1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96">
                    <a:moveTo>
                      <a:pt x="16" y="0"/>
                    </a:moveTo>
                    <a:lnTo>
                      <a:pt x="0" y="0"/>
                    </a:lnTo>
                    <a:lnTo>
                      <a:pt x="0" y="196"/>
                    </a:lnTo>
                    <a:lnTo>
                      <a:pt x="16" y="196"/>
                    </a:lnTo>
                    <a:lnTo>
                      <a:pt x="16" y="151"/>
                    </a:lnTo>
                    <a:lnTo>
                      <a:pt x="16" y="131"/>
                    </a:lnTo>
                    <a:lnTo>
                      <a:pt x="16" y="106"/>
                    </a:lnTo>
                    <a:lnTo>
                      <a:pt x="16" y="0"/>
                    </a:lnTo>
                    <a:close/>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87" name="Freeform 146"/>
              <p:cNvSpPr>
                <a:spLocks/>
              </p:cNvSpPr>
              <p:nvPr/>
            </p:nvSpPr>
            <p:spPr bwMode="auto">
              <a:xfrm>
                <a:off x="7192963" y="1993901"/>
                <a:ext cx="25400" cy="311150"/>
              </a:xfrm>
              <a:custGeom>
                <a:avLst/>
                <a:gdLst>
                  <a:gd name="T0" fmla="*/ 16 w 16"/>
                  <a:gd name="T1" fmla="*/ 0 h 196"/>
                  <a:gd name="T2" fmla="*/ 0 w 16"/>
                  <a:gd name="T3" fmla="*/ 0 h 196"/>
                  <a:gd name="T4" fmla="*/ 0 w 16"/>
                  <a:gd name="T5" fmla="*/ 196 h 196"/>
                  <a:gd name="T6" fmla="*/ 16 w 16"/>
                  <a:gd name="T7" fmla="*/ 196 h 196"/>
                  <a:gd name="T8" fmla="*/ 16 w 16"/>
                  <a:gd name="T9" fmla="*/ 151 h 196"/>
                  <a:gd name="T10" fmla="*/ 16 w 16"/>
                  <a:gd name="T11" fmla="*/ 131 h 196"/>
                  <a:gd name="T12" fmla="*/ 16 w 16"/>
                  <a:gd name="T13" fmla="*/ 106 h 196"/>
                  <a:gd name="T14" fmla="*/ 16 w 16"/>
                  <a:gd name="T15" fmla="*/ 0 h 1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96">
                    <a:moveTo>
                      <a:pt x="16" y="0"/>
                    </a:moveTo>
                    <a:lnTo>
                      <a:pt x="0" y="0"/>
                    </a:lnTo>
                    <a:lnTo>
                      <a:pt x="0" y="196"/>
                    </a:lnTo>
                    <a:lnTo>
                      <a:pt x="16" y="196"/>
                    </a:lnTo>
                    <a:lnTo>
                      <a:pt x="16" y="151"/>
                    </a:lnTo>
                    <a:lnTo>
                      <a:pt x="16" y="131"/>
                    </a:lnTo>
                    <a:lnTo>
                      <a:pt x="16" y="106"/>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88" name="Freeform 147"/>
              <p:cNvSpPr>
                <a:spLocks/>
              </p:cNvSpPr>
              <p:nvPr/>
            </p:nvSpPr>
            <p:spPr bwMode="auto">
              <a:xfrm>
                <a:off x="7227888" y="1684338"/>
                <a:ext cx="50800" cy="31750"/>
              </a:xfrm>
              <a:custGeom>
                <a:avLst/>
                <a:gdLst>
                  <a:gd name="T0" fmla="*/ 32 w 32"/>
                  <a:gd name="T1" fmla="*/ 7 h 20"/>
                  <a:gd name="T2" fmla="*/ 17 w 32"/>
                  <a:gd name="T3" fmla="*/ 20 h 20"/>
                  <a:gd name="T4" fmla="*/ 5 w 32"/>
                  <a:gd name="T5" fmla="*/ 19 h 20"/>
                  <a:gd name="T6" fmla="*/ 0 w 32"/>
                  <a:gd name="T7" fmla="*/ 7 h 20"/>
                  <a:gd name="T8" fmla="*/ 15 w 32"/>
                  <a:gd name="T9" fmla="*/ 0 h 20"/>
                  <a:gd name="T10" fmla="*/ 32 w 32"/>
                  <a:gd name="T11" fmla="*/ 7 h 20"/>
                </a:gdLst>
                <a:ahLst/>
                <a:cxnLst>
                  <a:cxn ang="0">
                    <a:pos x="T0" y="T1"/>
                  </a:cxn>
                  <a:cxn ang="0">
                    <a:pos x="T2" y="T3"/>
                  </a:cxn>
                  <a:cxn ang="0">
                    <a:pos x="T4" y="T5"/>
                  </a:cxn>
                  <a:cxn ang="0">
                    <a:pos x="T6" y="T7"/>
                  </a:cxn>
                  <a:cxn ang="0">
                    <a:pos x="T8" y="T9"/>
                  </a:cxn>
                  <a:cxn ang="0">
                    <a:pos x="T10" y="T11"/>
                  </a:cxn>
                </a:cxnLst>
                <a:rect l="0" t="0" r="r" b="b"/>
                <a:pathLst>
                  <a:path w="32" h="20">
                    <a:moveTo>
                      <a:pt x="32" y="7"/>
                    </a:moveTo>
                    <a:lnTo>
                      <a:pt x="17" y="20"/>
                    </a:lnTo>
                    <a:lnTo>
                      <a:pt x="5" y="19"/>
                    </a:lnTo>
                    <a:lnTo>
                      <a:pt x="0" y="7"/>
                    </a:lnTo>
                    <a:lnTo>
                      <a:pt x="15" y="0"/>
                    </a:lnTo>
                    <a:lnTo>
                      <a:pt x="32" y="7"/>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89" name="Freeform 148"/>
              <p:cNvSpPr>
                <a:spLocks/>
              </p:cNvSpPr>
              <p:nvPr/>
            </p:nvSpPr>
            <p:spPr bwMode="auto">
              <a:xfrm>
                <a:off x="7227888" y="1684338"/>
                <a:ext cx="50800" cy="31750"/>
              </a:xfrm>
              <a:custGeom>
                <a:avLst/>
                <a:gdLst>
                  <a:gd name="T0" fmla="*/ 32 w 32"/>
                  <a:gd name="T1" fmla="*/ 7 h 20"/>
                  <a:gd name="T2" fmla="*/ 17 w 32"/>
                  <a:gd name="T3" fmla="*/ 20 h 20"/>
                  <a:gd name="T4" fmla="*/ 5 w 32"/>
                  <a:gd name="T5" fmla="*/ 19 h 20"/>
                  <a:gd name="T6" fmla="*/ 0 w 32"/>
                  <a:gd name="T7" fmla="*/ 7 h 20"/>
                  <a:gd name="T8" fmla="*/ 15 w 32"/>
                  <a:gd name="T9" fmla="*/ 0 h 20"/>
                  <a:gd name="T10" fmla="*/ 32 w 32"/>
                  <a:gd name="T11" fmla="*/ 7 h 20"/>
                </a:gdLst>
                <a:ahLst/>
                <a:cxnLst>
                  <a:cxn ang="0">
                    <a:pos x="T0" y="T1"/>
                  </a:cxn>
                  <a:cxn ang="0">
                    <a:pos x="T2" y="T3"/>
                  </a:cxn>
                  <a:cxn ang="0">
                    <a:pos x="T4" y="T5"/>
                  </a:cxn>
                  <a:cxn ang="0">
                    <a:pos x="T6" y="T7"/>
                  </a:cxn>
                  <a:cxn ang="0">
                    <a:pos x="T8" y="T9"/>
                  </a:cxn>
                  <a:cxn ang="0">
                    <a:pos x="T10" y="T11"/>
                  </a:cxn>
                </a:cxnLst>
                <a:rect l="0" t="0" r="r" b="b"/>
                <a:pathLst>
                  <a:path w="32" h="20">
                    <a:moveTo>
                      <a:pt x="32" y="7"/>
                    </a:moveTo>
                    <a:lnTo>
                      <a:pt x="17" y="20"/>
                    </a:lnTo>
                    <a:lnTo>
                      <a:pt x="5" y="19"/>
                    </a:lnTo>
                    <a:lnTo>
                      <a:pt x="0" y="7"/>
                    </a:lnTo>
                    <a:lnTo>
                      <a:pt x="15" y="0"/>
                    </a:lnTo>
                    <a:lnTo>
                      <a:pt x="32"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90" name="Freeform 149"/>
              <p:cNvSpPr>
                <a:spLocks/>
              </p:cNvSpPr>
              <p:nvPr/>
            </p:nvSpPr>
            <p:spPr bwMode="auto">
              <a:xfrm>
                <a:off x="7227888" y="1716088"/>
                <a:ext cx="50800" cy="180975"/>
              </a:xfrm>
              <a:custGeom>
                <a:avLst/>
                <a:gdLst>
                  <a:gd name="T0" fmla="*/ 0 w 32"/>
                  <a:gd name="T1" fmla="*/ 0 h 114"/>
                  <a:gd name="T2" fmla="*/ 16 w 32"/>
                  <a:gd name="T3" fmla="*/ 114 h 114"/>
                  <a:gd name="T4" fmla="*/ 32 w 32"/>
                  <a:gd name="T5" fmla="*/ 0 h 114"/>
                  <a:gd name="T6" fmla="*/ 0 w 32"/>
                  <a:gd name="T7" fmla="*/ 0 h 114"/>
                </a:gdLst>
                <a:ahLst/>
                <a:cxnLst>
                  <a:cxn ang="0">
                    <a:pos x="T0" y="T1"/>
                  </a:cxn>
                  <a:cxn ang="0">
                    <a:pos x="T2" y="T3"/>
                  </a:cxn>
                  <a:cxn ang="0">
                    <a:pos x="T4" y="T5"/>
                  </a:cxn>
                  <a:cxn ang="0">
                    <a:pos x="T6" y="T7"/>
                  </a:cxn>
                </a:cxnLst>
                <a:rect l="0" t="0" r="r" b="b"/>
                <a:pathLst>
                  <a:path w="32" h="114">
                    <a:moveTo>
                      <a:pt x="0" y="0"/>
                    </a:moveTo>
                    <a:lnTo>
                      <a:pt x="16" y="114"/>
                    </a:lnTo>
                    <a:lnTo>
                      <a:pt x="3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91" name="Freeform 150"/>
              <p:cNvSpPr>
                <a:spLocks/>
              </p:cNvSpPr>
              <p:nvPr/>
            </p:nvSpPr>
            <p:spPr bwMode="auto">
              <a:xfrm>
                <a:off x="7227888" y="1716088"/>
                <a:ext cx="50800" cy="180975"/>
              </a:xfrm>
              <a:custGeom>
                <a:avLst/>
                <a:gdLst>
                  <a:gd name="T0" fmla="*/ 0 w 32"/>
                  <a:gd name="T1" fmla="*/ 0 h 114"/>
                  <a:gd name="T2" fmla="*/ 16 w 32"/>
                  <a:gd name="T3" fmla="*/ 114 h 114"/>
                  <a:gd name="T4" fmla="*/ 32 w 32"/>
                  <a:gd name="T5" fmla="*/ 0 h 114"/>
                  <a:gd name="T6" fmla="*/ 0 w 32"/>
                  <a:gd name="T7" fmla="*/ 0 h 114"/>
                </a:gdLst>
                <a:ahLst/>
                <a:cxnLst>
                  <a:cxn ang="0">
                    <a:pos x="T0" y="T1"/>
                  </a:cxn>
                  <a:cxn ang="0">
                    <a:pos x="T2" y="T3"/>
                  </a:cxn>
                  <a:cxn ang="0">
                    <a:pos x="T4" y="T5"/>
                  </a:cxn>
                  <a:cxn ang="0">
                    <a:pos x="T6" y="T7"/>
                  </a:cxn>
                </a:cxnLst>
                <a:rect l="0" t="0" r="r" b="b"/>
                <a:pathLst>
                  <a:path w="32" h="114">
                    <a:moveTo>
                      <a:pt x="0" y="0"/>
                    </a:moveTo>
                    <a:lnTo>
                      <a:pt x="16" y="114"/>
                    </a:lnTo>
                    <a:lnTo>
                      <a:pt x="3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92" name="Freeform 151"/>
              <p:cNvSpPr>
                <a:spLocks/>
              </p:cNvSpPr>
              <p:nvPr/>
            </p:nvSpPr>
            <p:spPr bwMode="auto">
              <a:xfrm>
                <a:off x="7227888" y="1716088"/>
                <a:ext cx="50800" cy="180975"/>
              </a:xfrm>
              <a:custGeom>
                <a:avLst/>
                <a:gdLst>
                  <a:gd name="T0" fmla="*/ 32 w 32"/>
                  <a:gd name="T1" fmla="*/ 0 h 114"/>
                  <a:gd name="T2" fmla="*/ 18 w 32"/>
                  <a:gd name="T3" fmla="*/ 0 h 114"/>
                  <a:gd name="T4" fmla="*/ 11 w 32"/>
                  <a:gd name="T5" fmla="*/ 0 h 114"/>
                  <a:gd name="T6" fmla="*/ 0 w 32"/>
                  <a:gd name="T7" fmla="*/ 0 h 114"/>
                  <a:gd name="T8" fmla="*/ 16 w 32"/>
                  <a:gd name="T9" fmla="*/ 114 h 114"/>
                  <a:gd name="T10" fmla="*/ 32 w 32"/>
                  <a:gd name="T11" fmla="*/ 0 h 114"/>
                </a:gdLst>
                <a:ahLst/>
                <a:cxnLst>
                  <a:cxn ang="0">
                    <a:pos x="T0" y="T1"/>
                  </a:cxn>
                  <a:cxn ang="0">
                    <a:pos x="T2" y="T3"/>
                  </a:cxn>
                  <a:cxn ang="0">
                    <a:pos x="T4" y="T5"/>
                  </a:cxn>
                  <a:cxn ang="0">
                    <a:pos x="T6" y="T7"/>
                  </a:cxn>
                  <a:cxn ang="0">
                    <a:pos x="T8" y="T9"/>
                  </a:cxn>
                  <a:cxn ang="0">
                    <a:pos x="T10" y="T11"/>
                  </a:cxn>
                </a:cxnLst>
                <a:rect l="0" t="0" r="r" b="b"/>
                <a:pathLst>
                  <a:path w="32" h="114">
                    <a:moveTo>
                      <a:pt x="32" y="0"/>
                    </a:moveTo>
                    <a:lnTo>
                      <a:pt x="18" y="0"/>
                    </a:lnTo>
                    <a:lnTo>
                      <a:pt x="11" y="0"/>
                    </a:lnTo>
                    <a:lnTo>
                      <a:pt x="0" y="0"/>
                    </a:lnTo>
                    <a:lnTo>
                      <a:pt x="16" y="114"/>
                    </a:lnTo>
                    <a:lnTo>
                      <a:pt x="32"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93" name="Freeform 152"/>
              <p:cNvSpPr>
                <a:spLocks/>
              </p:cNvSpPr>
              <p:nvPr/>
            </p:nvSpPr>
            <p:spPr bwMode="auto">
              <a:xfrm>
                <a:off x="7227888" y="1716088"/>
                <a:ext cx="50800" cy="180975"/>
              </a:xfrm>
              <a:custGeom>
                <a:avLst/>
                <a:gdLst>
                  <a:gd name="T0" fmla="*/ 32 w 32"/>
                  <a:gd name="T1" fmla="*/ 0 h 114"/>
                  <a:gd name="T2" fmla="*/ 18 w 32"/>
                  <a:gd name="T3" fmla="*/ 0 h 114"/>
                  <a:gd name="T4" fmla="*/ 11 w 32"/>
                  <a:gd name="T5" fmla="*/ 0 h 114"/>
                  <a:gd name="T6" fmla="*/ 0 w 32"/>
                  <a:gd name="T7" fmla="*/ 0 h 114"/>
                  <a:gd name="T8" fmla="*/ 16 w 32"/>
                  <a:gd name="T9" fmla="*/ 114 h 114"/>
                  <a:gd name="T10" fmla="*/ 32 w 32"/>
                  <a:gd name="T11" fmla="*/ 0 h 114"/>
                </a:gdLst>
                <a:ahLst/>
                <a:cxnLst>
                  <a:cxn ang="0">
                    <a:pos x="T0" y="T1"/>
                  </a:cxn>
                  <a:cxn ang="0">
                    <a:pos x="T2" y="T3"/>
                  </a:cxn>
                  <a:cxn ang="0">
                    <a:pos x="T4" y="T5"/>
                  </a:cxn>
                  <a:cxn ang="0">
                    <a:pos x="T6" y="T7"/>
                  </a:cxn>
                  <a:cxn ang="0">
                    <a:pos x="T8" y="T9"/>
                  </a:cxn>
                  <a:cxn ang="0">
                    <a:pos x="T10" y="T11"/>
                  </a:cxn>
                </a:cxnLst>
                <a:rect l="0" t="0" r="r" b="b"/>
                <a:pathLst>
                  <a:path w="32" h="114">
                    <a:moveTo>
                      <a:pt x="32" y="0"/>
                    </a:moveTo>
                    <a:lnTo>
                      <a:pt x="18" y="0"/>
                    </a:lnTo>
                    <a:lnTo>
                      <a:pt x="11" y="0"/>
                    </a:lnTo>
                    <a:lnTo>
                      <a:pt x="0" y="0"/>
                    </a:lnTo>
                    <a:lnTo>
                      <a:pt x="16" y="114"/>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94" name="Freeform 153"/>
              <p:cNvSpPr>
                <a:spLocks/>
              </p:cNvSpPr>
              <p:nvPr/>
            </p:nvSpPr>
            <p:spPr bwMode="auto">
              <a:xfrm>
                <a:off x="7240588" y="1716088"/>
                <a:ext cx="25400" cy="33338"/>
              </a:xfrm>
              <a:custGeom>
                <a:avLst/>
                <a:gdLst>
                  <a:gd name="T0" fmla="*/ 0 w 16"/>
                  <a:gd name="T1" fmla="*/ 13 h 21"/>
                  <a:gd name="T2" fmla="*/ 2 w 16"/>
                  <a:gd name="T3" fmla="*/ 21 h 21"/>
                  <a:gd name="T4" fmla="*/ 12 w 16"/>
                  <a:gd name="T5" fmla="*/ 21 h 21"/>
                  <a:gd name="T6" fmla="*/ 16 w 16"/>
                  <a:gd name="T7" fmla="*/ 9 h 21"/>
                  <a:gd name="T8" fmla="*/ 7 w 16"/>
                  <a:gd name="T9" fmla="*/ 0 h 21"/>
                  <a:gd name="T10" fmla="*/ 0 w 16"/>
                  <a:gd name="T11" fmla="*/ 13 h 21"/>
                </a:gdLst>
                <a:ahLst/>
                <a:cxnLst>
                  <a:cxn ang="0">
                    <a:pos x="T0" y="T1"/>
                  </a:cxn>
                  <a:cxn ang="0">
                    <a:pos x="T2" y="T3"/>
                  </a:cxn>
                  <a:cxn ang="0">
                    <a:pos x="T4" y="T5"/>
                  </a:cxn>
                  <a:cxn ang="0">
                    <a:pos x="T6" y="T7"/>
                  </a:cxn>
                  <a:cxn ang="0">
                    <a:pos x="T8" y="T9"/>
                  </a:cxn>
                  <a:cxn ang="0">
                    <a:pos x="T10" y="T11"/>
                  </a:cxn>
                </a:cxnLst>
                <a:rect l="0" t="0" r="r" b="b"/>
                <a:pathLst>
                  <a:path w="16" h="21">
                    <a:moveTo>
                      <a:pt x="0" y="13"/>
                    </a:moveTo>
                    <a:lnTo>
                      <a:pt x="2" y="21"/>
                    </a:lnTo>
                    <a:lnTo>
                      <a:pt x="12" y="21"/>
                    </a:lnTo>
                    <a:lnTo>
                      <a:pt x="16" y="9"/>
                    </a:lnTo>
                    <a:lnTo>
                      <a:pt x="7" y="0"/>
                    </a:lnTo>
                    <a:lnTo>
                      <a:pt x="0" y="13"/>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95" name="Freeform 154"/>
              <p:cNvSpPr>
                <a:spLocks/>
              </p:cNvSpPr>
              <p:nvPr/>
            </p:nvSpPr>
            <p:spPr bwMode="auto">
              <a:xfrm>
                <a:off x="7237413" y="1749426"/>
                <a:ext cx="30163" cy="147638"/>
              </a:xfrm>
              <a:custGeom>
                <a:avLst/>
                <a:gdLst>
                  <a:gd name="T0" fmla="*/ 14 w 19"/>
                  <a:gd name="T1" fmla="*/ 0 h 93"/>
                  <a:gd name="T2" fmla="*/ 4 w 19"/>
                  <a:gd name="T3" fmla="*/ 0 h 93"/>
                  <a:gd name="T4" fmla="*/ 0 w 19"/>
                  <a:gd name="T5" fmla="*/ 23 h 93"/>
                  <a:gd name="T6" fmla="*/ 10 w 19"/>
                  <a:gd name="T7" fmla="*/ 93 h 93"/>
                  <a:gd name="T8" fmla="*/ 19 w 19"/>
                  <a:gd name="T9" fmla="*/ 27 h 93"/>
                  <a:gd name="T10" fmla="*/ 14 w 19"/>
                  <a:gd name="T11" fmla="*/ 0 h 93"/>
                </a:gdLst>
                <a:ahLst/>
                <a:cxnLst>
                  <a:cxn ang="0">
                    <a:pos x="T0" y="T1"/>
                  </a:cxn>
                  <a:cxn ang="0">
                    <a:pos x="T2" y="T3"/>
                  </a:cxn>
                  <a:cxn ang="0">
                    <a:pos x="T4" y="T5"/>
                  </a:cxn>
                  <a:cxn ang="0">
                    <a:pos x="T6" y="T7"/>
                  </a:cxn>
                  <a:cxn ang="0">
                    <a:pos x="T8" y="T9"/>
                  </a:cxn>
                  <a:cxn ang="0">
                    <a:pos x="T10" y="T11"/>
                  </a:cxn>
                </a:cxnLst>
                <a:rect l="0" t="0" r="r" b="b"/>
                <a:pathLst>
                  <a:path w="19" h="93">
                    <a:moveTo>
                      <a:pt x="14" y="0"/>
                    </a:moveTo>
                    <a:lnTo>
                      <a:pt x="4" y="0"/>
                    </a:lnTo>
                    <a:lnTo>
                      <a:pt x="0" y="23"/>
                    </a:lnTo>
                    <a:lnTo>
                      <a:pt x="10" y="93"/>
                    </a:lnTo>
                    <a:lnTo>
                      <a:pt x="19" y="27"/>
                    </a:lnTo>
                    <a:lnTo>
                      <a:pt x="14"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96" name="Freeform 155"/>
              <p:cNvSpPr>
                <a:spLocks/>
              </p:cNvSpPr>
              <p:nvPr/>
            </p:nvSpPr>
            <p:spPr bwMode="auto">
              <a:xfrm>
                <a:off x="7227888" y="1695451"/>
                <a:ext cx="25400" cy="47625"/>
              </a:xfrm>
              <a:custGeom>
                <a:avLst/>
                <a:gdLst>
                  <a:gd name="T0" fmla="*/ 16 w 16"/>
                  <a:gd name="T1" fmla="*/ 13 h 30"/>
                  <a:gd name="T2" fmla="*/ 6 w 16"/>
                  <a:gd name="T3" fmla="*/ 30 h 30"/>
                  <a:gd name="T4" fmla="*/ 0 w 16"/>
                  <a:gd name="T5" fmla="*/ 13 h 30"/>
                  <a:gd name="T6" fmla="*/ 0 w 16"/>
                  <a:gd name="T7" fmla="*/ 0 h 30"/>
                  <a:gd name="T8" fmla="*/ 16 w 16"/>
                  <a:gd name="T9" fmla="*/ 13 h 30"/>
                </a:gdLst>
                <a:ahLst/>
                <a:cxnLst>
                  <a:cxn ang="0">
                    <a:pos x="T0" y="T1"/>
                  </a:cxn>
                  <a:cxn ang="0">
                    <a:pos x="T2" y="T3"/>
                  </a:cxn>
                  <a:cxn ang="0">
                    <a:pos x="T4" y="T5"/>
                  </a:cxn>
                  <a:cxn ang="0">
                    <a:pos x="T6" y="T7"/>
                  </a:cxn>
                  <a:cxn ang="0">
                    <a:pos x="T8" y="T9"/>
                  </a:cxn>
                </a:cxnLst>
                <a:rect l="0" t="0" r="r" b="b"/>
                <a:pathLst>
                  <a:path w="16" h="30">
                    <a:moveTo>
                      <a:pt x="16" y="13"/>
                    </a:moveTo>
                    <a:lnTo>
                      <a:pt x="6" y="30"/>
                    </a:lnTo>
                    <a:lnTo>
                      <a:pt x="0" y="13"/>
                    </a:lnTo>
                    <a:lnTo>
                      <a:pt x="0" y="0"/>
                    </a:lnTo>
                    <a:lnTo>
                      <a:pt x="16"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97" name="Freeform 156"/>
              <p:cNvSpPr>
                <a:spLocks/>
              </p:cNvSpPr>
              <p:nvPr/>
            </p:nvSpPr>
            <p:spPr bwMode="auto">
              <a:xfrm>
                <a:off x="7251701" y="1695451"/>
                <a:ext cx="26988" cy="47625"/>
              </a:xfrm>
              <a:custGeom>
                <a:avLst/>
                <a:gdLst>
                  <a:gd name="T0" fmla="*/ 0 w 17"/>
                  <a:gd name="T1" fmla="*/ 13 h 30"/>
                  <a:gd name="T2" fmla="*/ 11 w 17"/>
                  <a:gd name="T3" fmla="*/ 30 h 30"/>
                  <a:gd name="T4" fmla="*/ 17 w 17"/>
                  <a:gd name="T5" fmla="*/ 13 h 30"/>
                  <a:gd name="T6" fmla="*/ 17 w 17"/>
                  <a:gd name="T7" fmla="*/ 0 h 30"/>
                  <a:gd name="T8" fmla="*/ 0 w 17"/>
                  <a:gd name="T9" fmla="*/ 13 h 30"/>
                </a:gdLst>
                <a:ahLst/>
                <a:cxnLst>
                  <a:cxn ang="0">
                    <a:pos x="T0" y="T1"/>
                  </a:cxn>
                  <a:cxn ang="0">
                    <a:pos x="T2" y="T3"/>
                  </a:cxn>
                  <a:cxn ang="0">
                    <a:pos x="T4" y="T5"/>
                  </a:cxn>
                  <a:cxn ang="0">
                    <a:pos x="T6" y="T7"/>
                  </a:cxn>
                  <a:cxn ang="0">
                    <a:pos x="T8" y="T9"/>
                  </a:cxn>
                </a:cxnLst>
                <a:rect l="0" t="0" r="r" b="b"/>
                <a:pathLst>
                  <a:path w="17" h="30">
                    <a:moveTo>
                      <a:pt x="0" y="13"/>
                    </a:moveTo>
                    <a:lnTo>
                      <a:pt x="11" y="30"/>
                    </a:lnTo>
                    <a:lnTo>
                      <a:pt x="17" y="13"/>
                    </a:lnTo>
                    <a:lnTo>
                      <a:pt x="17" y="0"/>
                    </a:lnTo>
                    <a:lnTo>
                      <a:pt x="0"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98" name="Freeform 157"/>
              <p:cNvSpPr>
                <a:spLocks/>
              </p:cNvSpPr>
              <p:nvPr/>
            </p:nvSpPr>
            <p:spPr bwMode="auto">
              <a:xfrm>
                <a:off x="7304088" y="1779588"/>
                <a:ext cx="30163" cy="20638"/>
              </a:xfrm>
              <a:custGeom>
                <a:avLst/>
                <a:gdLst>
                  <a:gd name="T0" fmla="*/ 0 w 19"/>
                  <a:gd name="T1" fmla="*/ 13 h 13"/>
                  <a:gd name="T2" fmla="*/ 10 w 19"/>
                  <a:gd name="T3" fmla="*/ 0 h 13"/>
                  <a:gd name="T4" fmla="*/ 19 w 19"/>
                  <a:gd name="T5" fmla="*/ 13 h 13"/>
                  <a:gd name="T6" fmla="*/ 0 w 19"/>
                  <a:gd name="T7" fmla="*/ 13 h 13"/>
                </a:gdLst>
                <a:ahLst/>
                <a:cxnLst>
                  <a:cxn ang="0">
                    <a:pos x="T0" y="T1"/>
                  </a:cxn>
                  <a:cxn ang="0">
                    <a:pos x="T2" y="T3"/>
                  </a:cxn>
                  <a:cxn ang="0">
                    <a:pos x="T4" y="T5"/>
                  </a:cxn>
                  <a:cxn ang="0">
                    <a:pos x="T6" y="T7"/>
                  </a:cxn>
                </a:cxnLst>
                <a:rect l="0" t="0" r="r" b="b"/>
                <a:pathLst>
                  <a:path w="19" h="13">
                    <a:moveTo>
                      <a:pt x="0" y="13"/>
                    </a:moveTo>
                    <a:lnTo>
                      <a:pt x="10" y="0"/>
                    </a:lnTo>
                    <a:lnTo>
                      <a:pt x="19" y="13"/>
                    </a:lnTo>
                    <a:lnTo>
                      <a:pt x="0"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299" name="Freeform 158"/>
              <p:cNvSpPr>
                <a:spLocks/>
              </p:cNvSpPr>
              <p:nvPr/>
            </p:nvSpPr>
            <p:spPr bwMode="auto">
              <a:xfrm>
                <a:off x="7319963" y="1779588"/>
                <a:ext cx="30163" cy="20638"/>
              </a:xfrm>
              <a:custGeom>
                <a:avLst/>
                <a:gdLst>
                  <a:gd name="T0" fmla="*/ 0 w 19"/>
                  <a:gd name="T1" fmla="*/ 13 h 13"/>
                  <a:gd name="T2" fmla="*/ 10 w 19"/>
                  <a:gd name="T3" fmla="*/ 0 h 13"/>
                  <a:gd name="T4" fmla="*/ 19 w 19"/>
                  <a:gd name="T5" fmla="*/ 13 h 13"/>
                  <a:gd name="T6" fmla="*/ 0 w 19"/>
                  <a:gd name="T7" fmla="*/ 13 h 13"/>
                </a:gdLst>
                <a:ahLst/>
                <a:cxnLst>
                  <a:cxn ang="0">
                    <a:pos x="T0" y="T1"/>
                  </a:cxn>
                  <a:cxn ang="0">
                    <a:pos x="T2" y="T3"/>
                  </a:cxn>
                  <a:cxn ang="0">
                    <a:pos x="T4" y="T5"/>
                  </a:cxn>
                  <a:cxn ang="0">
                    <a:pos x="T6" y="T7"/>
                  </a:cxn>
                </a:cxnLst>
                <a:rect l="0" t="0" r="r" b="b"/>
                <a:pathLst>
                  <a:path w="19" h="13">
                    <a:moveTo>
                      <a:pt x="0" y="13"/>
                    </a:moveTo>
                    <a:lnTo>
                      <a:pt x="10" y="0"/>
                    </a:lnTo>
                    <a:lnTo>
                      <a:pt x="19" y="13"/>
                    </a:lnTo>
                    <a:lnTo>
                      <a:pt x="0"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00" name="Freeform 159"/>
              <p:cNvSpPr>
                <a:spLocks/>
              </p:cNvSpPr>
              <p:nvPr/>
            </p:nvSpPr>
            <p:spPr bwMode="auto">
              <a:xfrm>
                <a:off x="7315201" y="1589088"/>
                <a:ext cx="11113" cy="11113"/>
              </a:xfrm>
              <a:custGeom>
                <a:avLst/>
                <a:gdLst>
                  <a:gd name="T0" fmla="*/ 15 w 16"/>
                  <a:gd name="T1" fmla="*/ 9 h 16"/>
                  <a:gd name="T2" fmla="*/ 7 w 16"/>
                  <a:gd name="T3" fmla="*/ 15 h 16"/>
                  <a:gd name="T4" fmla="*/ 1 w 16"/>
                  <a:gd name="T5" fmla="*/ 7 h 16"/>
                  <a:gd name="T6" fmla="*/ 9 w 16"/>
                  <a:gd name="T7" fmla="*/ 1 h 16"/>
                  <a:gd name="T8" fmla="*/ 15 w 16"/>
                  <a:gd name="T9" fmla="*/ 9 h 16"/>
                </a:gdLst>
                <a:ahLst/>
                <a:cxnLst>
                  <a:cxn ang="0">
                    <a:pos x="T0" y="T1"/>
                  </a:cxn>
                  <a:cxn ang="0">
                    <a:pos x="T2" y="T3"/>
                  </a:cxn>
                  <a:cxn ang="0">
                    <a:pos x="T4" y="T5"/>
                  </a:cxn>
                  <a:cxn ang="0">
                    <a:pos x="T6" y="T7"/>
                  </a:cxn>
                  <a:cxn ang="0">
                    <a:pos x="T8" y="T9"/>
                  </a:cxn>
                </a:cxnLst>
                <a:rect l="0" t="0" r="r" b="b"/>
                <a:pathLst>
                  <a:path w="16" h="16">
                    <a:moveTo>
                      <a:pt x="15" y="9"/>
                    </a:moveTo>
                    <a:cubicBezTo>
                      <a:pt x="14" y="13"/>
                      <a:pt x="10" y="16"/>
                      <a:pt x="7" y="15"/>
                    </a:cubicBezTo>
                    <a:cubicBezTo>
                      <a:pt x="3" y="15"/>
                      <a:pt x="0" y="11"/>
                      <a:pt x="1" y="7"/>
                    </a:cubicBezTo>
                    <a:cubicBezTo>
                      <a:pt x="1" y="3"/>
                      <a:pt x="5" y="0"/>
                      <a:pt x="9" y="1"/>
                    </a:cubicBezTo>
                    <a:cubicBezTo>
                      <a:pt x="13" y="2"/>
                      <a:pt x="16" y="6"/>
                      <a:pt x="15" y="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01" name="Freeform 160"/>
              <p:cNvSpPr>
                <a:spLocks/>
              </p:cNvSpPr>
              <p:nvPr/>
            </p:nvSpPr>
            <p:spPr bwMode="auto">
              <a:xfrm>
                <a:off x="7334251" y="1570038"/>
                <a:ext cx="31750" cy="61913"/>
              </a:xfrm>
              <a:custGeom>
                <a:avLst/>
                <a:gdLst>
                  <a:gd name="T0" fmla="*/ 16 w 20"/>
                  <a:gd name="T1" fmla="*/ 0 h 39"/>
                  <a:gd name="T2" fmla="*/ 20 w 20"/>
                  <a:gd name="T3" fmla="*/ 39 h 39"/>
                  <a:gd name="T4" fmla="*/ 0 w 20"/>
                  <a:gd name="T5" fmla="*/ 35 h 39"/>
                  <a:gd name="T6" fmla="*/ 16 w 20"/>
                  <a:gd name="T7" fmla="*/ 0 h 39"/>
                </a:gdLst>
                <a:ahLst/>
                <a:cxnLst>
                  <a:cxn ang="0">
                    <a:pos x="T0" y="T1"/>
                  </a:cxn>
                  <a:cxn ang="0">
                    <a:pos x="T2" y="T3"/>
                  </a:cxn>
                  <a:cxn ang="0">
                    <a:pos x="T4" y="T5"/>
                  </a:cxn>
                  <a:cxn ang="0">
                    <a:pos x="T6" y="T7"/>
                  </a:cxn>
                </a:cxnLst>
                <a:rect l="0" t="0" r="r" b="b"/>
                <a:pathLst>
                  <a:path w="20" h="39">
                    <a:moveTo>
                      <a:pt x="16" y="0"/>
                    </a:moveTo>
                    <a:lnTo>
                      <a:pt x="20" y="39"/>
                    </a:lnTo>
                    <a:lnTo>
                      <a:pt x="0" y="35"/>
                    </a:lnTo>
                    <a:lnTo>
                      <a:pt x="16" y="0"/>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02" name="Freeform 161"/>
              <p:cNvSpPr>
                <a:spLocks/>
              </p:cNvSpPr>
              <p:nvPr/>
            </p:nvSpPr>
            <p:spPr bwMode="auto">
              <a:xfrm>
                <a:off x="7219951" y="1508126"/>
                <a:ext cx="149225" cy="182563"/>
              </a:xfrm>
              <a:custGeom>
                <a:avLst/>
                <a:gdLst>
                  <a:gd name="T0" fmla="*/ 22 w 199"/>
                  <a:gd name="T1" fmla="*/ 0 h 245"/>
                  <a:gd name="T2" fmla="*/ 1 w 199"/>
                  <a:gd name="T3" fmla="*/ 124 h 245"/>
                  <a:gd name="T4" fmla="*/ 1 w 199"/>
                  <a:gd name="T5" fmla="*/ 125 h 245"/>
                  <a:gd name="T6" fmla="*/ 0 w 199"/>
                  <a:gd name="T7" fmla="*/ 143 h 245"/>
                  <a:gd name="T8" fmla="*/ 31 w 199"/>
                  <a:gd name="T9" fmla="*/ 138 h 245"/>
                  <a:gd name="T10" fmla="*/ 47 w 199"/>
                  <a:gd name="T11" fmla="*/ 190 h 245"/>
                  <a:gd name="T12" fmla="*/ 161 w 199"/>
                  <a:gd name="T13" fmla="*/ 245 h 245"/>
                  <a:gd name="T14" fmla="*/ 169 w 199"/>
                  <a:gd name="T15" fmla="*/ 198 h 245"/>
                  <a:gd name="T16" fmla="*/ 185 w 199"/>
                  <a:gd name="T17" fmla="*/ 109 h 245"/>
                  <a:gd name="T18" fmla="*/ 199 w 199"/>
                  <a:gd name="T19" fmla="*/ 32 h 245"/>
                  <a:gd name="T20" fmla="*/ 22 w 199"/>
                  <a:gd name="T2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9" h="245">
                    <a:moveTo>
                      <a:pt x="22" y="0"/>
                    </a:moveTo>
                    <a:cubicBezTo>
                      <a:pt x="1" y="124"/>
                      <a:pt x="1" y="124"/>
                      <a:pt x="1" y="124"/>
                    </a:cubicBezTo>
                    <a:cubicBezTo>
                      <a:pt x="1" y="125"/>
                      <a:pt x="1" y="125"/>
                      <a:pt x="1" y="125"/>
                    </a:cubicBezTo>
                    <a:cubicBezTo>
                      <a:pt x="0" y="131"/>
                      <a:pt x="0" y="137"/>
                      <a:pt x="0" y="143"/>
                    </a:cubicBezTo>
                    <a:cubicBezTo>
                      <a:pt x="31" y="138"/>
                      <a:pt x="31" y="138"/>
                      <a:pt x="31" y="138"/>
                    </a:cubicBezTo>
                    <a:cubicBezTo>
                      <a:pt x="34" y="158"/>
                      <a:pt x="40" y="176"/>
                      <a:pt x="47" y="190"/>
                    </a:cubicBezTo>
                    <a:cubicBezTo>
                      <a:pt x="64" y="215"/>
                      <a:pt x="96" y="241"/>
                      <a:pt x="161" y="245"/>
                    </a:cubicBezTo>
                    <a:cubicBezTo>
                      <a:pt x="169" y="198"/>
                      <a:pt x="169" y="198"/>
                      <a:pt x="169" y="198"/>
                    </a:cubicBezTo>
                    <a:cubicBezTo>
                      <a:pt x="185" y="109"/>
                      <a:pt x="185" y="109"/>
                      <a:pt x="185" y="109"/>
                    </a:cubicBezTo>
                    <a:cubicBezTo>
                      <a:pt x="199" y="32"/>
                      <a:pt x="199" y="32"/>
                      <a:pt x="199" y="32"/>
                    </a:cubicBezTo>
                    <a:cubicBezTo>
                      <a:pt x="22" y="0"/>
                      <a:pt x="22" y="0"/>
                      <a:pt x="22"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03" name="Freeform 162"/>
              <p:cNvSpPr>
                <a:spLocks/>
              </p:cNvSpPr>
              <p:nvPr/>
            </p:nvSpPr>
            <p:spPr bwMode="auto">
              <a:xfrm>
                <a:off x="7315201" y="1589088"/>
                <a:ext cx="11113" cy="11113"/>
              </a:xfrm>
              <a:custGeom>
                <a:avLst/>
                <a:gdLst>
                  <a:gd name="T0" fmla="*/ 15 w 16"/>
                  <a:gd name="T1" fmla="*/ 9 h 16"/>
                  <a:gd name="T2" fmla="*/ 7 w 16"/>
                  <a:gd name="T3" fmla="*/ 15 h 16"/>
                  <a:gd name="T4" fmla="*/ 1 w 16"/>
                  <a:gd name="T5" fmla="*/ 7 h 16"/>
                  <a:gd name="T6" fmla="*/ 9 w 16"/>
                  <a:gd name="T7" fmla="*/ 1 h 16"/>
                  <a:gd name="T8" fmla="*/ 15 w 16"/>
                  <a:gd name="T9" fmla="*/ 9 h 16"/>
                </a:gdLst>
                <a:ahLst/>
                <a:cxnLst>
                  <a:cxn ang="0">
                    <a:pos x="T0" y="T1"/>
                  </a:cxn>
                  <a:cxn ang="0">
                    <a:pos x="T2" y="T3"/>
                  </a:cxn>
                  <a:cxn ang="0">
                    <a:pos x="T4" y="T5"/>
                  </a:cxn>
                  <a:cxn ang="0">
                    <a:pos x="T6" y="T7"/>
                  </a:cxn>
                  <a:cxn ang="0">
                    <a:pos x="T8" y="T9"/>
                  </a:cxn>
                </a:cxnLst>
                <a:rect l="0" t="0" r="r" b="b"/>
                <a:pathLst>
                  <a:path w="16" h="16">
                    <a:moveTo>
                      <a:pt x="15" y="9"/>
                    </a:moveTo>
                    <a:cubicBezTo>
                      <a:pt x="14" y="13"/>
                      <a:pt x="10" y="16"/>
                      <a:pt x="7" y="15"/>
                    </a:cubicBezTo>
                    <a:cubicBezTo>
                      <a:pt x="3" y="15"/>
                      <a:pt x="0" y="11"/>
                      <a:pt x="1" y="7"/>
                    </a:cubicBezTo>
                    <a:cubicBezTo>
                      <a:pt x="1" y="3"/>
                      <a:pt x="5" y="0"/>
                      <a:pt x="9" y="1"/>
                    </a:cubicBezTo>
                    <a:cubicBezTo>
                      <a:pt x="13" y="2"/>
                      <a:pt x="16" y="6"/>
                      <a:pt x="15" y="9"/>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04" name="Freeform 163"/>
              <p:cNvSpPr>
                <a:spLocks/>
              </p:cNvSpPr>
              <p:nvPr/>
            </p:nvSpPr>
            <p:spPr bwMode="auto">
              <a:xfrm>
                <a:off x="7196138" y="1462088"/>
                <a:ext cx="179388" cy="187325"/>
              </a:xfrm>
              <a:custGeom>
                <a:avLst/>
                <a:gdLst>
                  <a:gd name="T0" fmla="*/ 145 w 240"/>
                  <a:gd name="T1" fmla="*/ 15 h 251"/>
                  <a:gd name="T2" fmla="*/ 110 w 240"/>
                  <a:gd name="T3" fmla="*/ 18 h 251"/>
                  <a:gd name="T4" fmla="*/ 79 w 240"/>
                  <a:gd name="T5" fmla="*/ 20 h 251"/>
                  <a:gd name="T6" fmla="*/ 58 w 240"/>
                  <a:gd name="T7" fmla="*/ 55 h 251"/>
                  <a:gd name="T8" fmla="*/ 14 w 240"/>
                  <a:gd name="T9" fmla="*/ 99 h 251"/>
                  <a:gd name="T10" fmla="*/ 25 w 240"/>
                  <a:gd name="T11" fmla="*/ 228 h 251"/>
                  <a:gd name="T12" fmla="*/ 25 w 240"/>
                  <a:gd name="T13" fmla="*/ 229 h 251"/>
                  <a:gd name="T14" fmla="*/ 26 w 240"/>
                  <a:gd name="T15" fmla="*/ 229 h 251"/>
                  <a:gd name="T16" fmla="*/ 76 w 240"/>
                  <a:gd name="T17" fmla="*/ 241 h 251"/>
                  <a:gd name="T18" fmla="*/ 67 w 240"/>
                  <a:gd name="T19" fmla="*/ 196 h 251"/>
                  <a:gd name="T20" fmla="*/ 67 w 240"/>
                  <a:gd name="T21" fmla="*/ 196 h 251"/>
                  <a:gd name="T22" fmla="*/ 97 w 240"/>
                  <a:gd name="T23" fmla="*/ 130 h 251"/>
                  <a:gd name="T24" fmla="*/ 96 w 240"/>
                  <a:gd name="T25" fmla="*/ 129 h 251"/>
                  <a:gd name="T26" fmla="*/ 101 w 240"/>
                  <a:gd name="T27" fmla="*/ 126 h 251"/>
                  <a:gd name="T28" fmla="*/ 150 w 240"/>
                  <a:gd name="T29" fmla="*/ 123 h 251"/>
                  <a:gd name="T30" fmla="*/ 231 w 240"/>
                  <a:gd name="T31" fmla="*/ 92 h 251"/>
                  <a:gd name="T32" fmla="*/ 231 w 240"/>
                  <a:gd name="T33" fmla="*/ 92 h 251"/>
                  <a:gd name="T34" fmla="*/ 231 w 240"/>
                  <a:gd name="T35" fmla="*/ 91 h 251"/>
                  <a:gd name="T36" fmla="*/ 231 w 240"/>
                  <a:gd name="T37" fmla="*/ 91 h 251"/>
                  <a:gd name="T38" fmla="*/ 231 w 240"/>
                  <a:gd name="T39" fmla="*/ 91 h 251"/>
                  <a:gd name="T40" fmla="*/ 145 w 240"/>
                  <a:gd name="T41" fmla="*/ 1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0" h="251">
                    <a:moveTo>
                      <a:pt x="145" y="15"/>
                    </a:moveTo>
                    <a:cubicBezTo>
                      <a:pt x="132" y="20"/>
                      <a:pt x="124" y="21"/>
                      <a:pt x="110" y="18"/>
                    </a:cubicBezTo>
                    <a:cubicBezTo>
                      <a:pt x="99" y="16"/>
                      <a:pt x="90" y="16"/>
                      <a:pt x="79" y="20"/>
                    </a:cubicBezTo>
                    <a:cubicBezTo>
                      <a:pt x="69" y="24"/>
                      <a:pt x="60" y="40"/>
                      <a:pt x="58" y="55"/>
                    </a:cubicBezTo>
                    <a:cubicBezTo>
                      <a:pt x="27" y="62"/>
                      <a:pt x="14" y="99"/>
                      <a:pt x="14" y="99"/>
                    </a:cubicBezTo>
                    <a:cubicBezTo>
                      <a:pt x="0" y="174"/>
                      <a:pt x="10" y="210"/>
                      <a:pt x="25" y="228"/>
                    </a:cubicBezTo>
                    <a:cubicBezTo>
                      <a:pt x="25" y="229"/>
                      <a:pt x="25" y="229"/>
                      <a:pt x="25" y="229"/>
                    </a:cubicBezTo>
                    <a:cubicBezTo>
                      <a:pt x="26" y="229"/>
                      <a:pt x="26" y="229"/>
                      <a:pt x="26" y="229"/>
                    </a:cubicBezTo>
                    <a:cubicBezTo>
                      <a:pt x="46" y="251"/>
                      <a:pt x="76" y="241"/>
                      <a:pt x="76" y="241"/>
                    </a:cubicBezTo>
                    <a:cubicBezTo>
                      <a:pt x="71" y="231"/>
                      <a:pt x="67" y="196"/>
                      <a:pt x="67" y="196"/>
                    </a:cubicBezTo>
                    <a:cubicBezTo>
                      <a:pt x="67" y="196"/>
                      <a:pt x="67" y="196"/>
                      <a:pt x="67" y="196"/>
                    </a:cubicBezTo>
                    <a:cubicBezTo>
                      <a:pt x="89" y="166"/>
                      <a:pt x="97" y="130"/>
                      <a:pt x="97" y="130"/>
                    </a:cubicBezTo>
                    <a:cubicBezTo>
                      <a:pt x="96" y="129"/>
                      <a:pt x="96" y="129"/>
                      <a:pt x="96" y="129"/>
                    </a:cubicBezTo>
                    <a:cubicBezTo>
                      <a:pt x="98" y="128"/>
                      <a:pt x="99" y="127"/>
                      <a:pt x="101" y="126"/>
                    </a:cubicBezTo>
                    <a:cubicBezTo>
                      <a:pt x="118" y="114"/>
                      <a:pt x="129" y="120"/>
                      <a:pt x="150" y="123"/>
                    </a:cubicBezTo>
                    <a:cubicBezTo>
                      <a:pt x="175" y="126"/>
                      <a:pt x="217" y="117"/>
                      <a:pt x="231" y="92"/>
                    </a:cubicBezTo>
                    <a:cubicBezTo>
                      <a:pt x="231" y="92"/>
                      <a:pt x="231" y="92"/>
                      <a:pt x="231" y="92"/>
                    </a:cubicBezTo>
                    <a:cubicBezTo>
                      <a:pt x="231" y="92"/>
                      <a:pt x="231" y="91"/>
                      <a:pt x="231" y="91"/>
                    </a:cubicBezTo>
                    <a:cubicBezTo>
                      <a:pt x="231" y="91"/>
                      <a:pt x="231" y="91"/>
                      <a:pt x="231" y="91"/>
                    </a:cubicBezTo>
                    <a:cubicBezTo>
                      <a:pt x="231" y="91"/>
                      <a:pt x="231" y="91"/>
                      <a:pt x="231" y="91"/>
                    </a:cubicBezTo>
                    <a:cubicBezTo>
                      <a:pt x="240" y="45"/>
                      <a:pt x="186" y="0"/>
                      <a:pt x="145" y="15"/>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05" name="Freeform 164"/>
              <p:cNvSpPr>
                <a:spLocks/>
              </p:cNvSpPr>
              <p:nvPr/>
            </p:nvSpPr>
            <p:spPr bwMode="auto">
              <a:xfrm>
                <a:off x="7242176" y="1611313"/>
                <a:ext cx="4763" cy="15875"/>
              </a:xfrm>
              <a:custGeom>
                <a:avLst/>
                <a:gdLst>
                  <a:gd name="T0" fmla="*/ 1 w 5"/>
                  <a:gd name="T1" fmla="*/ 0 h 21"/>
                  <a:gd name="T2" fmla="*/ 0 w 5"/>
                  <a:gd name="T3" fmla="*/ 1 h 21"/>
                  <a:gd name="T4" fmla="*/ 5 w 5"/>
                  <a:gd name="T5" fmla="*/ 21 h 21"/>
                  <a:gd name="T6" fmla="*/ 1 w 5"/>
                  <a:gd name="T7" fmla="*/ 0 h 21"/>
                </a:gdLst>
                <a:ahLst/>
                <a:cxnLst>
                  <a:cxn ang="0">
                    <a:pos x="T0" y="T1"/>
                  </a:cxn>
                  <a:cxn ang="0">
                    <a:pos x="T2" y="T3"/>
                  </a:cxn>
                  <a:cxn ang="0">
                    <a:pos x="T4" y="T5"/>
                  </a:cxn>
                  <a:cxn ang="0">
                    <a:pos x="T6" y="T7"/>
                  </a:cxn>
                </a:cxnLst>
                <a:rect l="0" t="0" r="r" b="b"/>
                <a:pathLst>
                  <a:path w="5" h="21">
                    <a:moveTo>
                      <a:pt x="1" y="0"/>
                    </a:moveTo>
                    <a:cubicBezTo>
                      <a:pt x="0" y="1"/>
                      <a:pt x="0" y="1"/>
                      <a:pt x="0" y="1"/>
                    </a:cubicBezTo>
                    <a:cubicBezTo>
                      <a:pt x="0" y="1"/>
                      <a:pt x="2" y="10"/>
                      <a:pt x="5" y="21"/>
                    </a:cubicBezTo>
                    <a:cubicBezTo>
                      <a:pt x="4" y="14"/>
                      <a:pt x="2" y="7"/>
                      <a:pt x="1" y="0"/>
                    </a:cubicBezTo>
                  </a:path>
                </a:pathLst>
              </a:custGeom>
              <a:solidFill>
                <a:srgbClr val="001B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06" name="Rectangle 165"/>
              <p:cNvSpPr>
                <a:spLocks noChangeArrowheads="1"/>
              </p:cNvSpPr>
              <p:nvPr/>
            </p:nvSpPr>
            <p:spPr bwMode="auto">
              <a:xfrm>
                <a:off x="6973888" y="2305051"/>
                <a:ext cx="328613" cy="2476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07" name="Rectangle 166"/>
              <p:cNvSpPr>
                <a:spLocks noChangeArrowheads="1"/>
              </p:cNvSpPr>
              <p:nvPr/>
            </p:nvSpPr>
            <p:spPr bwMode="auto">
              <a:xfrm>
                <a:off x="6973888" y="2305051"/>
                <a:ext cx="328613"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08" name="Freeform 167"/>
              <p:cNvSpPr>
                <a:spLocks/>
              </p:cNvSpPr>
              <p:nvPr/>
            </p:nvSpPr>
            <p:spPr bwMode="auto">
              <a:xfrm>
                <a:off x="7231063" y="2305051"/>
                <a:ext cx="71438" cy="247650"/>
              </a:xfrm>
              <a:custGeom>
                <a:avLst/>
                <a:gdLst>
                  <a:gd name="T0" fmla="*/ 45 w 45"/>
                  <a:gd name="T1" fmla="*/ 0 h 156"/>
                  <a:gd name="T2" fmla="*/ 0 w 45"/>
                  <a:gd name="T3" fmla="*/ 0 h 156"/>
                  <a:gd name="T4" fmla="*/ 0 w 45"/>
                  <a:gd name="T5" fmla="*/ 156 h 156"/>
                  <a:gd name="T6" fmla="*/ 45 w 45"/>
                  <a:gd name="T7" fmla="*/ 156 h 156"/>
                  <a:gd name="T8" fmla="*/ 45 w 45"/>
                  <a:gd name="T9" fmla="*/ 125 h 156"/>
                  <a:gd name="T10" fmla="*/ 45 w 45"/>
                  <a:gd name="T11" fmla="*/ 124 h 156"/>
                  <a:gd name="T12" fmla="*/ 45 w 45"/>
                  <a:gd name="T13" fmla="*/ 97 h 156"/>
                  <a:gd name="T14" fmla="*/ 45 w 45"/>
                  <a:gd name="T15" fmla="*/ 0 h 1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156">
                    <a:moveTo>
                      <a:pt x="45" y="0"/>
                    </a:moveTo>
                    <a:lnTo>
                      <a:pt x="0" y="0"/>
                    </a:lnTo>
                    <a:lnTo>
                      <a:pt x="0" y="156"/>
                    </a:lnTo>
                    <a:lnTo>
                      <a:pt x="45" y="156"/>
                    </a:lnTo>
                    <a:lnTo>
                      <a:pt x="45" y="125"/>
                    </a:lnTo>
                    <a:lnTo>
                      <a:pt x="45" y="124"/>
                    </a:lnTo>
                    <a:lnTo>
                      <a:pt x="45" y="97"/>
                    </a:lnTo>
                    <a:lnTo>
                      <a:pt x="45" y="0"/>
                    </a:lnTo>
                    <a:close/>
                  </a:path>
                </a:pathLst>
              </a:custGeom>
              <a:solidFill>
                <a:srgbClr val="5D1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09" name="Freeform 168"/>
              <p:cNvSpPr>
                <a:spLocks/>
              </p:cNvSpPr>
              <p:nvPr/>
            </p:nvSpPr>
            <p:spPr bwMode="auto">
              <a:xfrm>
                <a:off x="7231063" y="2305051"/>
                <a:ext cx="71438" cy="247650"/>
              </a:xfrm>
              <a:custGeom>
                <a:avLst/>
                <a:gdLst>
                  <a:gd name="T0" fmla="*/ 45 w 45"/>
                  <a:gd name="T1" fmla="*/ 0 h 156"/>
                  <a:gd name="T2" fmla="*/ 0 w 45"/>
                  <a:gd name="T3" fmla="*/ 0 h 156"/>
                  <a:gd name="T4" fmla="*/ 0 w 45"/>
                  <a:gd name="T5" fmla="*/ 156 h 156"/>
                  <a:gd name="T6" fmla="*/ 45 w 45"/>
                  <a:gd name="T7" fmla="*/ 156 h 156"/>
                  <a:gd name="T8" fmla="*/ 45 w 45"/>
                  <a:gd name="T9" fmla="*/ 125 h 156"/>
                  <a:gd name="T10" fmla="*/ 45 w 45"/>
                  <a:gd name="T11" fmla="*/ 124 h 156"/>
                  <a:gd name="T12" fmla="*/ 45 w 45"/>
                  <a:gd name="T13" fmla="*/ 97 h 156"/>
                  <a:gd name="T14" fmla="*/ 45 w 45"/>
                  <a:gd name="T15" fmla="*/ 0 h 1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156">
                    <a:moveTo>
                      <a:pt x="45" y="0"/>
                    </a:moveTo>
                    <a:lnTo>
                      <a:pt x="0" y="0"/>
                    </a:lnTo>
                    <a:lnTo>
                      <a:pt x="0" y="156"/>
                    </a:lnTo>
                    <a:lnTo>
                      <a:pt x="45" y="156"/>
                    </a:lnTo>
                    <a:lnTo>
                      <a:pt x="45" y="125"/>
                    </a:lnTo>
                    <a:lnTo>
                      <a:pt x="45" y="124"/>
                    </a:lnTo>
                    <a:lnTo>
                      <a:pt x="45" y="97"/>
                    </a:lnTo>
                    <a:lnTo>
                      <a:pt x="4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10" name="Freeform 169"/>
              <p:cNvSpPr>
                <a:spLocks/>
              </p:cNvSpPr>
              <p:nvPr/>
            </p:nvSpPr>
            <p:spPr bwMode="auto">
              <a:xfrm>
                <a:off x="7075488" y="2262188"/>
                <a:ext cx="111125" cy="55563"/>
              </a:xfrm>
              <a:custGeom>
                <a:avLst/>
                <a:gdLst>
                  <a:gd name="T0" fmla="*/ 62 w 70"/>
                  <a:gd name="T1" fmla="*/ 35 h 35"/>
                  <a:gd name="T2" fmla="*/ 62 w 70"/>
                  <a:gd name="T3" fmla="*/ 9 h 35"/>
                  <a:gd name="T4" fmla="*/ 9 w 70"/>
                  <a:gd name="T5" fmla="*/ 9 h 35"/>
                  <a:gd name="T6" fmla="*/ 9 w 70"/>
                  <a:gd name="T7" fmla="*/ 34 h 35"/>
                  <a:gd name="T8" fmla="*/ 9 w 70"/>
                  <a:gd name="T9" fmla="*/ 34 h 35"/>
                  <a:gd name="T10" fmla="*/ 0 w 70"/>
                  <a:gd name="T11" fmla="*/ 34 h 35"/>
                  <a:gd name="T12" fmla="*/ 0 w 70"/>
                  <a:gd name="T13" fmla="*/ 0 h 35"/>
                  <a:gd name="T14" fmla="*/ 70 w 70"/>
                  <a:gd name="T15" fmla="*/ 0 h 35"/>
                  <a:gd name="T16" fmla="*/ 70 w 70"/>
                  <a:gd name="T17" fmla="*/ 35 h 35"/>
                  <a:gd name="T18" fmla="*/ 62 w 70"/>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35">
                    <a:moveTo>
                      <a:pt x="62" y="35"/>
                    </a:moveTo>
                    <a:lnTo>
                      <a:pt x="62" y="9"/>
                    </a:lnTo>
                    <a:lnTo>
                      <a:pt x="9" y="9"/>
                    </a:lnTo>
                    <a:lnTo>
                      <a:pt x="9" y="34"/>
                    </a:lnTo>
                    <a:lnTo>
                      <a:pt x="9" y="34"/>
                    </a:lnTo>
                    <a:lnTo>
                      <a:pt x="0" y="34"/>
                    </a:lnTo>
                    <a:lnTo>
                      <a:pt x="0" y="0"/>
                    </a:lnTo>
                    <a:lnTo>
                      <a:pt x="70" y="0"/>
                    </a:lnTo>
                    <a:lnTo>
                      <a:pt x="70" y="35"/>
                    </a:lnTo>
                    <a:lnTo>
                      <a:pt x="62" y="3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11" name="Freeform 170"/>
              <p:cNvSpPr>
                <a:spLocks/>
              </p:cNvSpPr>
              <p:nvPr/>
            </p:nvSpPr>
            <p:spPr bwMode="auto">
              <a:xfrm>
                <a:off x="7232651" y="1555751"/>
                <a:ext cx="36513" cy="58738"/>
              </a:xfrm>
              <a:custGeom>
                <a:avLst/>
                <a:gdLst>
                  <a:gd name="T0" fmla="*/ 48 w 48"/>
                  <a:gd name="T1" fmla="*/ 4 h 77"/>
                  <a:gd name="T2" fmla="*/ 4 w 48"/>
                  <a:gd name="T3" fmla="*/ 33 h 77"/>
                  <a:gd name="T4" fmla="*/ 33 w 48"/>
                  <a:gd name="T5" fmla="*/ 77 h 77"/>
                  <a:gd name="T6" fmla="*/ 48 w 48"/>
                  <a:gd name="T7" fmla="*/ 4 h 77"/>
                </a:gdLst>
                <a:ahLst/>
                <a:cxnLst>
                  <a:cxn ang="0">
                    <a:pos x="T0" y="T1"/>
                  </a:cxn>
                  <a:cxn ang="0">
                    <a:pos x="T2" y="T3"/>
                  </a:cxn>
                  <a:cxn ang="0">
                    <a:pos x="T4" y="T5"/>
                  </a:cxn>
                  <a:cxn ang="0">
                    <a:pos x="T6" y="T7"/>
                  </a:cxn>
                </a:cxnLst>
                <a:rect l="0" t="0" r="r" b="b"/>
                <a:pathLst>
                  <a:path w="48" h="77">
                    <a:moveTo>
                      <a:pt x="48" y="4"/>
                    </a:moveTo>
                    <a:cubicBezTo>
                      <a:pt x="28" y="0"/>
                      <a:pt x="8" y="13"/>
                      <a:pt x="4" y="33"/>
                    </a:cubicBezTo>
                    <a:cubicBezTo>
                      <a:pt x="0" y="53"/>
                      <a:pt x="13" y="73"/>
                      <a:pt x="33" y="77"/>
                    </a:cubicBezTo>
                    <a:cubicBezTo>
                      <a:pt x="48" y="4"/>
                      <a:pt x="48" y="4"/>
                      <a:pt x="48" y="4"/>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12" name="Freeform 171"/>
              <p:cNvSpPr>
                <a:spLocks/>
              </p:cNvSpPr>
              <p:nvPr/>
            </p:nvSpPr>
            <p:spPr bwMode="auto">
              <a:xfrm>
                <a:off x="7261226" y="1573213"/>
                <a:ext cx="4763" cy="23813"/>
              </a:xfrm>
              <a:custGeom>
                <a:avLst/>
                <a:gdLst>
                  <a:gd name="T0" fmla="*/ 3 w 3"/>
                  <a:gd name="T1" fmla="*/ 0 h 15"/>
                  <a:gd name="T2" fmla="*/ 0 w 3"/>
                  <a:gd name="T3" fmla="*/ 15 h 15"/>
                  <a:gd name="T4" fmla="*/ 3 w 3"/>
                  <a:gd name="T5" fmla="*/ 0 h 15"/>
                  <a:gd name="T6" fmla="*/ 3 w 3"/>
                  <a:gd name="T7" fmla="*/ 0 h 15"/>
                </a:gdLst>
                <a:ahLst/>
                <a:cxnLst>
                  <a:cxn ang="0">
                    <a:pos x="T0" y="T1"/>
                  </a:cxn>
                  <a:cxn ang="0">
                    <a:pos x="T2" y="T3"/>
                  </a:cxn>
                  <a:cxn ang="0">
                    <a:pos x="T4" y="T5"/>
                  </a:cxn>
                  <a:cxn ang="0">
                    <a:pos x="T6" y="T7"/>
                  </a:cxn>
                </a:cxnLst>
                <a:rect l="0" t="0" r="r" b="b"/>
                <a:pathLst>
                  <a:path w="3" h="15">
                    <a:moveTo>
                      <a:pt x="3" y="0"/>
                    </a:moveTo>
                    <a:lnTo>
                      <a:pt x="0" y="15"/>
                    </a:lnTo>
                    <a:lnTo>
                      <a:pt x="3" y="0"/>
                    </a:lnTo>
                    <a:lnTo>
                      <a:pt x="3" y="0"/>
                    </a:lnTo>
                    <a:close/>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13" name="Freeform 172"/>
              <p:cNvSpPr>
                <a:spLocks/>
              </p:cNvSpPr>
              <p:nvPr/>
            </p:nvSpPr>
            <p:spPr bwMode="auto">
              <a:xfrm>
                <a:off x="7261226" y="1573213"/>
                <a:ext cx="4763" cy="23813"/>
              </a:xfrm>
              <a:custGeom>
                <a:avLst/>
                <a:gdLst>
                  <a:gd name="T0" fmla="*/ 3 w 3"/>
                  <a:gd name="T1" fmla="*/ 0 h 15"/>
                  <a:gd name="T2" fmla="*/ 0 w 3"/>
                  <a:gd name="T3" fmla="*/ 15 h 15"/>
                  <a:gd name="T4" fmla="*/ 3 w 3"/>
                  <a:gd name="T5" fmla="*/ 0 h 15"/>
                  <a:gd name="T6" fmla="*/ 3 w 3"/>
                  <a:gd name="T7" fmla="*/ 0 h 15"/>
                </a:gdLst>
                <a:ahLst/>
                <a:cxnLst>
                  <a:cxn ang="0">
                    <a:pos x="T0" y="T1"/>
                  </a:cxn>
                  <a:cxn ang="0">
                    <a:pos x="T2" y="T3"/>
                  </a:cxn>
                  <a:cxn ang="0">
                    <a:pos x="T4" y="T5"/>
                  </a:cxn>
                  <a:cxn ang="0">
                    <a:pos x="T6" y="T7"/>
                  </a:cxn>
                </a:cxnLst>
                <a:rect l="0" t="0" r="r" b="b"/>
                <a:pathLst>
                  <a:path w="3" h="15">
                    <a:moveTo>
                      <a:pt x="3" y="0"/>
                    </a:moveTo>
                    <a:lnTo>
                      <a:pt x="0" y="15"/>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14" name="Freeform 173"/>
              <p:cNvSpPr>
                <a:spLocks/>
              </p:cNvSpPr>
              <p:nvPr/>
            </p:nvSpPr>
            <p:spPr bwMode="auto">
              <a:xfrm>
                <a:off x="7248526" y="1573213"/>
                <a:ext cx="17463" cy="26988"/>
              </a:xfrm>
              <a:custGeom>
                <a:avLst/>
                <a:gdLst>
                  <a:gd name="T0" fmla="*/ 21 w 24"/>
                  <a:gd name="T1" fmla="*/ 0 h 37"/>
                  <a:gd name="T2" fmla="*/ 2 w 24"/>
                  <a:gd name="T3" fmla="*/ 15 h 37"/>
                  <a:gd name="T4" fmla="*/ 17 w 24"/>
                  <a:gd name="T5" fmla="*/ 37 h 37"/>
                  <a:gd name="T6" fmla="*/ 18 w 24"/>
                  <a:gd name="T7" fmla="*/ 32 h 37"/>
                  <a:gd name="T8" fmla="*/ 24 w 24"/>
                  <a:gd name="T9" fmla="*/ 0 h 37"/>
                  <a:gd name="T10" fmla="*/ 21 w 24"/>
                  <a:gd name="T11" fmla="*/ 0 h 37"/>
                </a:gdLst>
                <a:ahLst/>
                <a:cxnLst>
                  <a:cxn ang="0">
                    <a:pos x="T0" y="T1"/>
                  </a:cxn>
                  <a:cxn ang="0">
                    <a:pos x="T2" y="T3"/>
                  </a:cxn>
                  <a:cxn ang="0">
                    <a:pos x="T4" y="T5"/>
                  </a:cxn>
                  <a:cxn ang="0">
                    <a:pos x="T6" y="T7"/>
                  </a:cxn>
                  <a:cxn ang="0">
                    <a:pos x="T8" y="T9"/>
                  </a:cxn>
                  <a:cxn ang="0">
                    <a:pos x="T10" y="T11"/>
                  </a:cxn>
                </a:cxnLst>
                <a:rect l="0" t="0" r="r" b="b"/>
                <a:pathLst>
                  <a:path w="24" h="37">
                    <a:moveTo>
                      <a:pt x="21" y="0"/>
                    </a:moveTo>
                    <a:cubicBezTo>
                      <a:pt x="12" y="0"/>
                      <a:pt x="4" y="6"/>
                      <a:pt x="2" y="15"/>
                    </a:cubicBezTo>
                    <a:cubicBezTo>
                      <a:pt x="0" y="25"/>
                      <a:pt x="7" y="35"/>
                      <a:pt x="17" y="37"/>
                    </a:cubicBezTo>
                    <a:cubicBezTo>
                      <a:pt x="18" y="32"/>
                      <a:pt x="18" y="32"/>
                      <a:pt x="18" y="32"/>
                    </a:cubicBezTo>
                    <a:cubicBezTo>
                      <a:pt x="24" y="0"/>
                      <a:pt x="24" y="0"/>
                      <a:pt x="24" y="0"/>
                    </a:cubicBezTo>
                    <a:cubicBezTo>
                      <a:pt x="23" y="0"/>
                      <a:pt x="22" y="0"/>
                      <a:pt x="21"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grpSp>
      </p:grpSp>
      <p:grpSp>
        <p:nvGrpSpPr>
          <p:cNvPr id="703" name="Group 702"/>
          <p:cNvGrpSpPr/>
          <p:nvPr/>
        </p:nvGrpSpPr>
        <p:grpSpPr>
          <a:xfrm>
            <a:off x="2371246" y="1587137"/>
            <a:ext cx="2473206" cy="2125470"/>
            <a:chOff x="2324098" y="1556158"/>
            <a:chExt cx="2424932" cy="2083983"/>
          </a:xfrm>
        </p:grpSpPr>
        <p:sp>
          <p:nvSpPr>
            <p:cNvPr id="115" name="TextBox 114"/>
            <p:cNvSpPr txBox="1"/>
            <p:nvPr/>
          </p:nvSpPr>
          <p:spPr>
            <a:xfrm>
              <a:off x="2324098" y="2347479"/>
              <a:ext cx="2424932" cy="1292662"/>
            </a:xfrm>
            <a:prstGeom prst="rect">
              <a:avLst/>
            </a:prstGeom>
            <a:noFill/>
          </p:spPr>
          <p:txBody>
            <a:bodyPr wrap="square" lIns="93260" tIns="93260" rIns="93260" bIns="93260" rtlCol="0">
              <a:noAutofit/>
            </a:bodyPr>
            <a:lstStyle/>
            <a:p>
              <a:pPr algn="ctr" defTabSz="932597">
                <a:defRPr/>
              </a:pPr>
              <a:r>
                <a:rPr lang="en-IN" sz="2040" kern="0" dirty="0">
                  <a:solidFill>
                    <a:srgbClr val="505050"/>
                  </a:solidFill>
                  <a:latin typeface="Segoe UI Semibold" panose="020B0702040204020203" pitchFamily="34" charset="0"/>
                </a:rPr>
                <a:t>Author U-SQL scripts (with </a:t>
              </a:r>
              <a:br>
                <a:rPr lang="en-IN" sz="2040" kern="0" dirty="0">
                  <a:solidFill>
                    <a:srgbClr val="505050"/>
                  </a:solidFill>
                  <a:latin typeface="Segoe UI Semibold" panose="020B0702040204020203" pitchFamily="34" charset="0"/>
                </a:rPr>
              </a:br>
              <a:r>
                <a:rPr lang="en-IN" sz="2040" kern="0" dirty="0">
                  <a:solidFill>
                    <a:srgbClr val="505050"/>
                  </a:solidFill>
                  <a:latin typeface="Segoe UI Semibold" panose="020B0702040204020203" pitchFamily="34" charset="0"/>
                </a:rPr>
                <a:t>C# code)</a:t>
              </a:r>
            </a:p>
          </p:txBody>
        </p:sp>
        <p:grpSp>
          <p:nvGrpSpPr>
            <p:cNvPr id="317" name="Group 316"/>
            <p:cNvGrpSpPr/>
            <p:nvPr/>
          </p:nvGrpSpPr>
          <p:grpSpPr>
            <a:xfrm>
              <a:off x="2929411" y="1556158"/>
              <a:ext cx="1171316" cy="638460"/>
              <a:chOff x="5138738" y="2898775"/>
              <a:chExt cx="1919287" cy="1046163"/>
            </a:xfrm>
          </p:grpSpPr>
          <p:sp>
            <p:nvSpPr>
              <p:cNvPr id="318" name="Freeform 167"/>
              <p:cNvSpPr>
                <a:spLocks/>
              </p:cNvSpPr>
              <p:nvPr/>
            </p:nvSpPr>
            <p:spPr bwMode="auto">
              <a:xfrm>
                <a:off x="5138738" y="2898775"/>
                <a:ext cx="903288" cy="1046163"/>
              </a:xfrm>
              <a:custGeom>
                <a:avLst/>
                <a:gdLst>
                  <a:gd name="T0" fmla="*/ 0 w 569"/>
                  <a:gd name="T1" fmla="*/ 0 h 659"/>
                  <a:gd name="T2" fmla="*/ 569 w 569"/>
                  <a:gd name="T3" fmla="*/ 0 h 659"/>
                  <a:gd name="T4" fmla="*/ 569 w 569"/>
                  <a:gd name="T5" fmla="*/ 659 h 659"/>
                  <a:gd name="T6" fmla="*/ 0 w 569"/>
                  <a:gd name="T7" fmla="*/ 659 h 659"/>
                  <a:gd name="T8" fmla="*/ 0 w 569"/>
                  <a:gd name="T9" fmla="*/ 0 h 659"/>
                  <a:gd name="T10" fmla="*/ 0 w 569"/>
                  <a:gd name="T11" fmla="*/ 0 h 659"/>
                </a:gdLst>
                <a:ahLst/>
                <a:cxnLst>
                  <a:cxn ang="0">
                    <a:pos x="T0" y="T1"/>
                  </a:cxn>
                  <a:cxn ang="0">
                    <a:pos x="T2" y="T3"/>
                  </a:cxn>
                  <a:cxn ang="0">
                    <a:pos x="T4" y="T5"/>
                  </a:cxn>
                  <a:cxn ang="0">
                    <a:pos x="T6" y="T7"/>
                  </a:cxn>
                  <a:cxn ang="0">
                    <a:pos x="T8" y="T9"/>
                  </a:cxn>
                  <a:cxn ang="0">
                    <a:pos x="T10" y="T11"/>
                  </a:cxn>
                </a:cxnLst>
                <a:rect l="0" t="0" r="r" b="b"/>
                <a:pathLst>
                  <a:path w="569" h="659">
                    <a:moveTo>
                      <a:pt x="0" y="0"/>
                    </a:moveTo>
                    <a:lnTo>
                      <a:pt x="569" y="0"/>
                    </a:lnTo>
                    <a:lnTo>
                      <a:pt x="569" y="659"/>
                    </a:lnTo>
                    <a:lnTo>
                      <a:pt x="0" y="659"/>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19" name="Freeform 168"/>
              <p:cNvSpPr>
                <a:spLocks/>
              </p:cNvSpPr>
              <p:nvPr/>
            </p:nvSpPr>
            <p:spPr bwMode="auto">
              <a:xfrm>
                <a:off x="6153150" y="2898775"/>
                <a:ext cx="904875" cy="1046163"/>
              </a:xfrm>
              <a:custGeom>
                <a:avLst/>
                <a:gdLst>
                  <a:gd name="T0" fmla="*/ 0 w 570"/>
                  <a:gd name="T1" fmla="*/ 0 h 659"/>
                  <a:gd name="T2" fmla="*/ 570 w 570"/>
                  <a:gd name="T3" fmla="*/ 0 h 659"/>
                  <a:gd name="T4" fmla="*/ 570 w 570"/>
                  <a:gd name="T5" fmla="*/ 659 h 659"/>
                  <a:gd name="T6" fmla="*/ 0 w 570"/>
                  <a:gd name="T7" fmla="*/ 659 h 659"/>
                  <a:gd name="T8" fmla="*/ 0 w 570"/>
                  <a:gd name="T9" fmla="*/ 0 h 659"/>
                  <a:gd name="T10" fmla="*/ 0 w 570"/>
                  <a:gd name="T11" fmla="*/ 0 h 659"/>
                </a:gdLst>
                <a:ahLst/>
                <a:cxnLst>
                  <a:cxn ang="0">
                    <a:pos x="T0" y="T1"/>
                  </a:cxn>
                  <a:cxn ang="0">
                    <a:pos x="T2" y="T3"/>
                  </a:cxn>
                  <a:cxn ang="0">
                    <a:pos x="T4" y="T5"/>
                  </a:cxn>
                  <a:cxn ang="0">
                    <a:pos x="T6" y="T7"/>
                  </a:cxn>
                  <a:cxn ang="0">
                    <a:pos x="T8" y="T9"/>
                  </a:cxn>
                  <a:cxn ang="0">
                    <a:pos x="T10" y="T11"/>
                  </a:cxn>
                </a:cxnLst>
                <a:rect l="0" t="0" r="r" b="b"/>
                <a:pathLst>
                  <a:path w="570" h="659">
                    <a:moveTo>
                      <a:pt x="0" y="0"/>
                    </a:moveTo>
                    <a:lnTo>
                      <a:pt x="570" y="0"/>
                    </a:lnTo>
                    <a:lnTo>
                      <a:pt x="570" y="659"/>
                    </a:lnTo>
                    <a:lnTo>
                      <a:pt x="0" y="659"/>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20" name="Freeform 169"/>
              <p:cNvSpPr>
                <a:spLocks/>
              </p:cNvSpPr>
              <p:nvPr/>
            </p:nvSpPr>
            <p:spPr bwMode="auto">
              <a:xfrm>
                <a:off x="6042025" y="2898775"/>
                <a:ext cx="111125" cy="1046163"/>
              </a:xfrm>
              <a:custGeom>
                <a:avLst/>
                <a:gdLst>
                  <a:gd name="T0" fmla="*/ 0 w 70"/>
                  <a:gd name="T1" fmla="*/ 0 h 659"/>
                  <a:gd name="T2" fmla="*/ 70 w 70"/>
                  <a:gd name="T3" fmla="*/ 0 h 659"/>
                  <a:gd name="T4" fmla="*/ 70 w 70"/>
                  <a:gd name="T5" fmla="*/ 659 h 659"/>
                  <a:gd name="T6" fmla="*/ 0 w 70"/>
                  <a:gd name="T7" fmla="*/ 659 h 659"/>
                  <a:gd name="T8" fmla="*/ 0 w 70"/>
                  <a:gd name="T9" fmla="*/ 0 h 659"/>
                  <a:gd name="T10" fmla="*/ 0 w 70"/>
                  <a:gd name="T11" fmla="*/ 0 h 659"/>
                </a:gdLst>
                <a:ahLst/>
                <a:cxnLst>
                  <a:cxn ang="0">
                    <a:pos x="T0" y="T1"/>
                  </a:cxn>
                  <a:cxn ang="0">
                    <a:pos x="T2" y="T3"/>
                  </a:cxn>
                  <a:cxn ang="0">
                    <a:pos x="T4" y="T5"/>
                  </a:cxn>
                  <a:cxn ang="0">
                    <a:pos x="T6" y="T7"/>
                  </a:cxn>
                  <a:cxn ang="0">
                    <a:pos x="T8" y="T9"/>
                  </a:cxn>
                  <a:cxn ang="0">
                    <a:pos x="T10" y="T11"/>
                  </a:cxn>
                </a:cxnLst>
                <a:rect l="0" t="0" r="r" b="b"/>
                <a:pathLst>
                  <a:path w="70" h="659">
                    <a:moveTo>
                      <a:pt x="0" y="0"/>
                    </a:moveTo>
                    <a:lnTo>
                      <a:pt x="70" y="0"/>
                    </a:lnTo>
                    <a:lnTo>
                      <a:pt x="70" y="659"/>
                    </a:lnTo>
                    <a:lnTo>
                      <a:pt x="0" y="659"/>
                    </a:lnTo>
                    <a:lnTo>
                      <a:pt x="0" y="0"/>
                    </a:lnTo>
                    <a:lnTo>
                      <a:pt x="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21" name="Freeform 170"/>
              <p:cNvSpPr>
                <a:spLocks/>
              </p:cNvSpPr>
              <p:nvPr/>
            </p:nvSpPr>
            <p:spPr bwMode="auto">
              <a:xfrm>
                <a:off x="5195888" y="2924175"/>
                <a:ext cx="1804988" cy="993775"/>
              </a:xfrm>
              <a:custGeom>
                <a:avLst/>
                <a:gdLst>
                  <a:gd name="T0" fmla="*/ 515 w 812"/>
                  <a:gd name="T1" fmla="*/ 1 h 447"/>
                  <a:gd name="T2" fmla="*/ 486 w 812"/>
                  <a:gd name="T3" fmla="*/ 0 h 447"/>
                  <a:gd name="T4" fmla="*/ 419 w 812"/>
                  <a:gd name="T5" fmla="*/ 10 h 447"/>
                  <a:gd name="T6" fmla="*/ 407 w 812"/>
                  <a:gd name="T7" fmla="*/ 17 h 447"/>
                  <a:gd name="T8" fmla="*/ 393 w 812"/>
                  <a:gd name="T9" fmla="*/ 9 h 447"/>
                  <a:gd name="T10" fmla="*/ 328 w 812"/>
                  <a:gd name="T11" fmla="*/ 0 h 447"/>
                  <a:gd name="T12" fmla="*/ 297 w 812"/>
                  <a:gd name="T13" fmla="*/ 1 h 447"/>
                  <a:gd name="T14" fmla="*/ 0 w 812"/>
                  <a:gd name="T15" fmla="*/ 17 h 447"/>
                  <a:gd name="T16" fmla="*/ 0 w 812"/>
                  <a:gd name="T17" fmla="*/ 431 h 447"/>
                  <a:gd name="T18" fmla="*/ 0 w 812"/>
                  <a:gd name="T19" fmla="*/ 431 h 447"/>
                  <a:gd name="T20" fmla="*/ 31 w 812"/>
                  <a:gd name="T21" fmla="*/ 431 h 447"/>
                  <a:gd name="T22" fmla="*/ 297 w 812"/>
                  <a:gd name="T23" fmla="*/ 446 h 447"/>
                  <a:gd name="T24" fmla="*/ 328 w 812"/>
                  <a:gd name="T25" fmla="*/ 447 h 447"/>
                  <a:gd name="T26" fmla="*/ 393 w 812"/>
                  <a:gd name="T27" fmla="*/ 439 h 447"/>
                  <a:gd name="T28" fmla="*/ 407 w 812"/>
                  <a:gd name="T29" fmla="*/ 431 h 447"/>
                  <a:gd name="T30" fmla="*/ 419 w 812"/>
                  <a:gd name="T31" fmla="*/ 438 h 447"/>
                  <a:gd name="T32" fmla="*/ 486 w 812"/>
                  <a:gd name="T33" fmla="*/ 447 h 447"/>
                  <a:gd name="T34" fmla="*/ 515 w 812"/>
                  <a:gd name="T35" fmla="*/ 446 h 447"/>
                  <a:gd name="T36" fmla="*/ 781 w 812"/>
                  <a:gd name="T37" fmla="*/ 431 h 447"/>
                  <a:gd name="T38" fmla="*/ 812 w 812"/>
                  <a:gd name="T39" fmla="*/ 431 h 447"/>
                  <a:gd name="T40" fmla="*/ 812 w 812"/>
                  <a:gd name="T41" fmla="*/ 431 h 447"/>
                  <a:gd name="T42" fmla="*/ 812 w 812"/>
                  <a:gd name="T43" fmla="*/ 17 h 447"/>
                  <a:gd name="T44" fmla="*/ 515 w 812"/>
                  <a:gd name="T45" fmla="*/ 1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12" h="447">
                    <a:moveTo>
                      <a:pt x="515" y="1"/>
                    </a:moveTo>
                    <a:cubicBezTo>
                      <a:pt x="506" y="1"/>
                      <a:pt x="496" y="0"/>
                      <a:pt x="486" y="0"/>
                    </a:cubicBezTo>
                    <a:cubicBezTo>
                      <a:pt x="449" y="0"/>
                      <a:pt x="429" y="5"/>
                      <a:pt x="419" y="10"/>
                    </a:cubicBezTo>
                    <a:cubicBezTo>
                      <a:pt x="410" y="14"/>
                      <a:pt x="407" y="17"/>
                      <a:pt x="407" y="17"/>
                    </a:cubicBezTo>
                    <a:cubicBezTo>
                      <a:pt x="407" y="17"/>
                      <a:pt x="404" y="13"/>
                      <a:pt x="393" y="9"/>
                    </a:cubicBezTo>
                    <a:cubicBezTo>
                      <a:pt x="382" y="4"/>
                      <a:pt x="363" y="0"/>
                      <a:pt x="328" y="0"/>
                    </a:cubicBezTo>
                    <a:cubicBezTo>
                      <a:pt x="317" y="0"/>
                      <a:pt x="307" y="1"/>
                      <a:pt x="297" y="1"/>
                    </a:cubicBezTo>
                    <a:cubicBezTo>
                      <a:pt x="245" y="5"/>
                      <a:pt x="192" y="17"/>
                      <a:pt x="0" y="17"/>
                    </a:cubicBezTo>
                    <a:cubicBezTo>
                      <a:pt x="0" y="431"/>
                      <a:pt x="0" y="431"/>
                      <a:pt x="0" y="431"/>
                    </a:cubicBezTo>
                    <a:cubicBezTo>
                      <a:pt x="0" y="431"/>
                      <a:pt x="0" y="431"/>
                      <a:pt x="0" y="431"/>
                    </a:cubicBezTo>
                    <a:cubicBezTo>
                      <a:pt x="31" y="431"/>
                      <a:pt x="31" y="431"/>
                      <a:pt x="31" y="431"/>
                    </a:cubicBezTo>
                    <a:cubicBezTo>
                      <a:pt x="198" y="432"/>
                      <a:pt x="248" y="442"/>
                      <a:pt x="297" y="446"/>
                    </a:cubicBezTo>
                    <a:cubicBezTo>
                      <a:pt x="307" y="446"/>
                      <a:pt x="317" y="447"/>
                      <a:pt x="328" y="447"/>
                    </a:cubicBezTo>
                    <a:cubicBezTo>
                      <a:pt x="363" y="447"/>
                      <a:pt x="382" y="443"/>
                      <a:pt x="393" y="439"/>
                    </a:cubicBezTo>
                    <a:cubicBezTo>
                      <a:pt x="404" y="434"/>
                      <a:pt x="407" y="431"/>
                      <a:pt x="407" y="431"/>
                    </a:cubicBezTo>
                    <a:cubicBezTo>
                      <a:pt x="407" y="431"/>
                      <a:pt x="410" y="434"/>
                      <a:pt x="419" y="438"/>
                    </a:cubicBezTo>
                    <a:cubicBezTo>
                      <a:pt x="429" y="442"/>
                      <a:pt x="449" y="447"/>
                      <a:pt x="486" y="447"/>
                    </a:cubicBezTo>
                    <a:cubicBezTo>
                      <a:pt x="496" y="447"/>
                      <a:pt x="506" y="446"/>
                      <a:pt x="515" y="446"/>
                    </a:cubicBezTo>
                    <a:cubicBezTo>
                      <a:pt x="564" y="442"/>
                      <a:pt x="614" y="432"/>
                      <a:pt x="781" y="431"/>
                    </a:cubicBezTo>
                    <a:cubicBezTo>
                      <a:pt x="812" y="431"/>
                      <a:pt x="812" y="431"/>
                      <a:pt x="812" y="431"/>
                    </a:cubicBezTo>
                    <a:cubicBezTo>
                      <a:pt x="812" y="431"/>
                      <a:pt x="812" y="431"/>
                      <a:pt x="812" y="431"/>
                    </a:cubicBezTo>
                    <a:cubicBezTo>
                      <a:pt x="812" y="17"/>
                      <a:pt x="812" y="17"/>
                      <a:pt x="812" y="17"/>
                    </a:cubicBezTo>
                    <a:cubicBezTo>
                      <a:pt x="619" y="17"/>
                      <a:pt x="567" y="5"/>
                      <a:pt x="515"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22" name="Freeform 171"/>
              <p:cNvSpPr>
                <a:spLocks/>
              </p:cNvSpPr>
              <p:nvPr/>
            </p:nvSpPr>
            <p:spPr bwMode="auto">
              <a:xfrm>
                <a:off x="5856288" y="2924175"/>
                <a:ext cx="212725" cy="993775"/>
              </a:xfrm>
              <a:custGeom>
                <a:avLst/>
                <a:gdLst>
                  <a:gd name="T0" fmla="*/ 0 w 96"/>
                  <a:gd name="T1" fmla="*/ 1 h 447"/>
                  <a:gd name="T2" fmla="*/ 0 w 96"/>
                  <a:gd name="T3" fmla="*/ 446 h 447"/>
                  <a:gd name="T4" fmla="*/ 31 w 96"/>
                  <a:gd name="T5" fmla="*/ 447 h 447"/>
                  <a:gd name="T6" fmla="*/ 96 w 96"/>
                  <a:gd name="T7" fmla="*/ 439 h 447"/>
                  <a:gd name="T8" fmla="*/ 96 w 96"/>
                  <a:gd name="T9" fmla="*/ 9 h 447"/>
                  <a:gd name="T10" fmla="*/ 31 w 96"/>
                  <a:gd name="T11" fmla="*/ 0 h 447"/>
                  <a:gd name="T12" fmla="*/ 0 w 96"/>
                  <a:gd name="T13" fmla="*/ 1 h 447"/>
                </a:gdLst>
                <a:ahLst/>
                <a:cxnLst>
                  <a:cxn ang="0">
                    <a:pos x="T0" y="T1"/>
                  </a:cxn>
                  <a:cxn ang="0">
                    <a:pos x="T2" y="T3"/>
                  </a:cxn>
                  <a:cxn ang="0">
                    <a:pos x="T4" y="T5"/>
                  </a:cxn>
                  <a:cxn ang="0">
                    <a:pos x="T6" y="T7"/>
                  </a:cxn>
                  <a:cxn ang="0">
                    <a:pos x="T8" y="T9"/>
                  </a:cxn>
                  <a:cxn ang="0">
                    <a:pos x="T10" y="T11"/>
                  </a:cxn>
                  <a:cxn ang="0">
                    <a:pos x="T12" y="T13"/>
                  </a:cxn>
                </a:cxnLst>
                <a:rect l="0" t="0" r="r" b="b"/>
                <a:pathLst>
                  <a:path w="96" h="447">
                    <a:moveTo>
                      <a:pt x="0" y="1"/>
                    </a:moveTo>
                    <a:cubicBezTo>
                      <a:pt x="0" y="446"/>
                      <a:pt x="0" y="446"/>
                      <a:pt x="0" y="446"/>
                    </a:cubicBezTo>
                    <a:cubicBezTo>
                      <a:pt x="10" y="446"/>
                      <a:pt x="19" y="447"/>
                      <a:pt x="31" y="447"/>
                    </a:cubicBezTo>
                    <a:cubicBezTo>
                      <a:pt x="66" y="447"/>
                      <a:pt x="85" y="443"/>
                      <a:pt x="96" y="439"/>
                    </a:cubicBezTo>
                    <a:cubicBezTo>
                      <a:pt x="96" y="9"/>
                      <a:pt x="96" y="9"/>
                      <a:pt x="96" y="9"/>
                    </a:cubicBezTo>
                    <a:cubicBezTo>
                      <a:pt x="85" y="4"/>
                      <a:pt x="66" y="0"/>
                      <a:pt x="31" y="0"/>
                    </a:cubicBezTo>
                    <a:cubicBezTo>
                      <a:pt x="19" y="0"/>
                      <a:pt x="10" y="1"/>
                      <a:pt x="0" y="1"/>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23" name="Freeform 172"/>
              <p:cNvSpPr>
                <a:spLocks/>
              </p:cNvSpPr>
              <p:nvPr/>
            </p:nvSpPr>
            <p:spPr bwMode="auto">
              <a:xfrm>
                <a:off x="6127750" y="2924175"/>
                <a:ext cx="212725" cy="993775"/>
              </a:xfrm>
              <a:custGeom>
                <a:avLst/>
                <a:gdLst>
                  <a:gd name="T0" fmla="*/ 67 w 96"/>
                  <a:gd name="T1" fmla="*/ 0 h 447"/>
                  <a:gd name="T2" fmla="*/ 0 w 96"/>
                  <a:gd name="T3" fmla="*/ 10 h 447"/>
                  <a:gd name="T4" fmla="*/ 0 w 96"/>
                  <a:gd name="T5" fmla="*/ 438 h 447"/>
                  <a:gd name="T6" fmla="*/ 67 w 96"/>
                  <a:gd name="T7" fmla="*/ 447 h 447"/>
                  <a:gd name="T8" fmla="*/ 96 w 96"/>
                  <a:gd name="T9" fmla="*/ 446 h 447"/>
                  <a:gd name="T10" fmla="*/ 96 w 96"/>
                  <a:gd name="T11" fmla="*/ 1 h 447"/>
                  <a:gd name="T12" fmla="*/ 67 w 96"/>
                  <a:gd name="T13" fmla="*/ 0 h 447"/>
                </a:gdLst>
                <a:ahLst/>
                <a:cxnLst>
                  <a:cxn ang="0">
                    <a:pos x="T0" y="T1"/>
                  </a:cxn>
                  <a:cxn ang="0">
                    <a:pos x="T2" y="T3"/>
                  </a:cxn>
                  <a:cxn ang="0">
                    <a:pos x="T4" y="T5"/>
                  </a:cxn>
                  <a:cxn ang="0">
                    <a:pos x="T6" y="T7"/>
                  </a:cxn>
                  <a:cxn ang="0">
                    <a:pos x="T8" y="T9"/>
                  </a:cxn>
                  <a:cxn ang="0">
                    <a:pos x="T10" y="T11"/>
                  </a:cxn>
                  <a:cxn ang="0">
                    <a:pos x="T12" y="T13"/>
                  </a:cxn>
                </a:cxnLst>
                <a:rect l="0" t="0" r="r" b="b"/>
                <a:pathLst>
                  <a:path w="96" h="447">
                    <a:moveTo>
                      <a:pt x="67" y="0"/>
                    </a:moveTo>
                    <a:cubicBezTo>
                      <a:pt x="31" y="0"/>
                      <a:pt x="10" y="5"/>
                      <a:pt x="0" y="10"/>
                    </a:cubicBezTo>
                    <a:cubicBezTo>
                      <a:pt x="0" y="438"/>
                      <a:pt x="0" y="438"/>
                      <a:pt x="0" y="438"/>
                    </a:cubicBezTo>
                    <a:cubicBezTo>
                      <a:pt x="10" y="442"/>
                      <a:pt x="31" y="447"/>
                      <a:pt x="67" y="447"/>
                    </a:cubicBezTo>
                    <a:cubicBezTo>
                      <a:pt x="78" y="447"/>
                      <a:pt x="87" y="446"/>
                      <a:pt x="96" y="446"/>
                    </a:cubicBezTo>
                    <a:cubicBezTo>
                      <a:pt x="96" y="1"/>
                      <a:pt x="96" y="1"/>
                      <a:pt x="96" y="1"/>
                    </a:cubicBezTo>
                    <a:cubicBezTo>
                      <a:pt x="87" y="1"/>
                      <a:pt x="78" y="0"/>
                      <a:pt x="67" y="0"/>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24" name="Freeform 173"/>
              <p:cNvSpPr>
                <a:spLocks/>
              </p:cNvSpPr>
              <p:nvPr/>
            </p:nvSpPr>
            <p:spPr bwMode="auto">
              <a:xfrm>
                <a:off x="6069013" y="2944813"/>
                <a:ext cx="58738" cy="952500"/>
              </a:xfrm>
              <a:custGeom>
                <a:avLst/>
                <a:gdLst>
                  <a:gd name="T0" fmla="*/ 0 w 26"/>
                  <a:gd name="T1" fmla="*/ 429 h 429"/>
                  <a:gd name="T2" fmla="*/ 14 w 26"/>
                  <a:gd name="T3" fmla="*/ 421 h 429"/>
                  <a:gd name="T4" fmla="*/ 26 w 26"/>
                  <a:gd name="T5" fmla="*/ 428 h 429"/>
                  <a:gd name="T6" fmla="*/ 26 w 26"/>
                  <a:gd name="T7" fmla="*/ 1 h 429"/>
                  <a:gd name="T8" fmla="*/ 14 w 26"/>
                  <a:gd name="T9" fmla="*/ 7 h 429"/>
                  <a:gd name="T10" fmla="*/ 0 w 26"/>
                  <a:gd name="T11" fmla="*/ 0 h 429"/>
                  <a:gd name="T12" fmla="*/ 0 w 26"/>
                  <a:gd name="T13" fmla="*/ 429 h 429"/>
                </a:gdLst>
                <a:ahLst/>
                <a:cxnLst>
                  <a:cxn ang="0">
                    <a:pos x="T0" y="T1"/>
                  </a:cxn>
                  <a:cxn ang="0">
                    <a:pos x="T2" y="T3"/>
                  </a:cxn>
                  <a:cxn ang="0">
                    <a:pos x="T4" y="T5"/>
                  </a:cxn>
                  <a:cxn ang="0">
                    <a:pos x="T6" y="T7"/>
                  </a:cxn>
                  <a:cxn ang="0">
                    <a:pos x="T8" y="T9"/>
                  </a:cxn>
                  <a:cxn ang="0">
                    <a:pos x="T10" y="T11"/>
                  </a:cxn>
                  <a:cxn ang="0">
                    <a:pos x="T12" y="T13"/>
                  </a:cxn>
                </a:cxnLst>
                <a:rect l="0" t="0" r="r" b="b"/>
                <a:pathLst>
                  <a:path w="26" h="429">
                    <a:moveTo>
                      <a:pt x="0" y="429"/>
                    </a:moveTo>
                    <a:cubicBezTo>
                      <a:pt x="12" y="425"/>
                      <a:pt x="14" y="421"/>
                      <a:pt x="14" y="421"/>
                    </a:cubicBezTo>
                    <a:cubicBezTo>
                      <a:pt x="14" y="421"/>
                      <a:pt x="17" y="424"/>
                      <a:pt x="26" y="428"/>
                    </a:cubicBezTo>
                    <a:cubicBezTo>
                      <a:pt x="26" y="1"/>
                      <a:pt x="26" y="1"/>
                      <a:pt x="26" y="1"/>
                    </a:cubicBezTo>
                    <a:cubicBezTo>
                      <a:pt x="17" y="4"/>
                      <a:pt x="14" y="7"/>
                      <a:pt x="14" y="7"/>
                    </a:cubicBezTo>
                    <a:cubicBezTo>
                      <a:pt x="14" y="7"/>
                      <a:pt x="12" y="4"/>
                      <a:pt x="0" y="0"/>
                    </a:cubicBezTo>
                    <a:cubicBezTo>
                      <a:pt x="0" y="429"/>
                      <a:pt x="0" y="429"/>
                      <a:pt x="0" y="429"/>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25" name="Freeform 174"/>
              <p:cNvSpPr>
                <a:spLocks/>
              </p:cNvSpPr>
              <p:nvPr/>
            </p:nvSpPr>
            <p:spPr bwMode="auto">
              <a:xfrm>
                <a:off x="5335588" y="3017838"/>
                <a:ext cx="255588" cy="265113"/>
              </a:xfrm>
              <a:custGeom>
                <a:avLst/>
                <a:gdLst>
                  <a:gd name="T0" fmla="*/ 115 w 115"/>
                  <a:gd name="T1" fmla="*/ 118 h 119"/>
                  <a:gd name="T2" fmla="*/ 0 w 115"/>
                  <a:gd name="T3" fmla="*/ 119 h 119"/>
                  <a:gd name="T4" fmla="*/ 0 w 115"/>
                  <a:gd name="T5" fmla="*/ 4 h 119"/>
                  <a:gd name="T6" fmla="*/ 115 w 115"/>
                  <a:gd name="T7" fmla="*/ 0 h 119"/>
                  <a:gd name="T8" fmla="*/ 115 w 115"/>
                  <a:gd name="T9" fmla="*/ 118 h 119"/>
                </a:gdLst>
                <a:ahLst/>
                <a:cxnLst>
                  <a:cxn ang="0">
                    <a:pos x="T0" y="T1"/>
                  </a:cxn>
                  <a:cxn ang="0">
                    <a:pos x="T2" y="T3"/>
                  </a:cxn>
                  <a:cxn ang="0">
                    <a:pos x="T4" y="T5"/>
                  </a:cxn>
                  <a:cxn ang="0">
                    <a:pos x="T6" y="T7"/>
                  </a:cxn>
                  <a:cxn ang="0">
                    <a:pos x="T8" y="T9"/>
                  </a:cxn>
                </a:cxnLst>
                <a:rect l="0" t="0" r="r" b="b"/>
                <a:pathLst>
                  <a:path w="115" h="119">
                    <a:moveTo>
                      <a:pt x="115" y="118"/>
                    </a:moveTo>
                    <a:cubicBezTo>
                      <a:pt x="77" y="119"/>
                      <a:pt x="38" y="119"/>
                      <a:pt x="0" y="119"/>
                    </a:cubicBezTo>
                    <a:cubicBezTo>
                      <a:pt x="0" y="80"/>
                      <a:pt x="0" y="42"/>
                      <a:pt x="0" y="4"/>
                    </a:cubicBezTo>
                    <a:cubicBezTo>
                      <a:pt x="39" y="4"/>
                      <a:pt x="77" y="2"/>
                      <a:pt x="115" y="0"/>
                    </a:cubicBezTo>
                    <a:cubicBezTo>
                      <a:pt x="115" y="40"/>
                      <a:pt x="115" y="79"/>
                      <a:pt x="115" y="118"/>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26" name="Freeform 175"/>
              <p:cNvSpPr>
                <a:spLocks noEditPoints="1"/>
              </p:cNvSpPr>
              <p:nvPr/>
            </p:nvSpPr>
            <p:spPr bwMode="auto">
              <a:xfrm>
                <a:off x="5400675" y="3060700"/>
                <a:ext cx="127000" cy="184150"/>
              </a:xfrm>
              <a:custGeom>
                <a:avLst/>
                <a:gdLst>
                  <a:gd name="T0" fmla="*/ 28 w 57"/>
                  <a:gd name="T1" fmla="*/ 83 h 83"/>
                  <a:gd name="T2" fmla="*/ 0 w 57"/>
                  <a:gd name="T3" fmla="*/ 43 h 83"/>
                  <a:gd name="T4" fmla="*/ 8 w 57"/>
                  <a:gd name="T5" fmla="*/ 12 h 83"/>
                  <a:gd name="T6" fmla="*/ 30 w 57"/>
                  <a:gd name="T7" fmla="*/ 1 h 83"/>
                  <a:gd name="T8" fmla="*/ 57 w 57"/>
                  <a:gd name="T9" fmla="*/ 40 h 83"/>
                  <a:gd name="T10" fmla="*/ 49 w 57"/>
                  <a:gd name="T11" fmla="*/ 72 h 83"/>
                  <a:gd name="T12" fmla="*/ 28 w 57"/>
                  <a:gd name="T13" fmla="*/ 83 h 83"/>
                  <a:gd name="T14" fmla="*/ 29 w 57"/>
                  <a:gd name="T15" fmla="*/ 14 h 83"/>
                  <a:gd name="T16" fmla="*/ 18 w 57"/>
                  <a:gd name="T17" fmla="*/ 43 h 83"/>
                  <a:gd name="T18" fmla="*/ 28 w 57"/>
                  <a:gd name="T19" fmla="*/ 69 h 83"/>
                  <a:gd name="T20" fmla="*/ 39 w 57"/>
                  <a:gd name="T21" fmla="*/ 42 h 83"/>
                  <a:gd name="T22" fmla="*/ 29 w 57"/>
                  <a:gd name="T23" fmla="*/ 14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83">
                    <a:moveTo>
                      <a:pt x="28" y="83"/>
                    </a:moveTo>
                    <a:cubicBezTo>
                      <a:pt x="10" y="83"/>
                      <a:pt x="0" y="70"/>
                      <a:pt x="0" y="43"/>
                    </a:cubicBezTo>
                    <a:cubicBezTo>
                      <a:pt x="0" y="30"/>
                      <a:pt x="3" y="20"/>
                      <a:pt x="8" y="12"/>
                    </a:cubicBezTo>
                    <a:cubicBezTo>
                      <a:pt x="13" y="5"/>
                      <a:pt x="20" y="1"/>
                      <a:pt x="30" y="1"/>
                    </a:cubicBezTo>
                    <a:cubicBezTo>
                      <a:pt x="48" y="0"/>
                      <a:pt x="57" y="13"/>
                      <a:pt x="57" y="40"/>
                    </a:cubicBezTo>
                    <a:cubicBezTo>
                      <a:pt x="57" y="54"/>
                      <a:pt x="55" y="64"/>
                      <a:pt x="49" y="72"/>
                    </a:cubicBezTo>
                    <a:cubicBezTo>
                      <a:pt x="45" y="79"/>
                      <a:pt x="37" y="83"/>
                      <a:pt x="28" y="83"/>
                    </a:cubicBezTo>
                    <a:close/>
                    <a:moveTo>
                      <a:pt x="29" y="14"/>
                    </a:moveTo>
                    <a:cubicBezTo>
                      <a:pt x="22" y="14"/>
                      <a:pt x="18" y="24"/>
                      <a:pt x="18" y="43"/>
                    </a:cubicBezTo>
                    <a:cubicBezTo>
                      <a:pt x="18" y="60"/>
                      <a:pt x="21" y="69"/>
                      <a:pt x="28" y="69"/>
                    </a:cubicBezTo>
                    <a:cubicBezTo>
                      <a:pt x="36" y="69"/>
                      <a:pt x="39" y="60"/>
                      <a:pt x="39" y="42"/>
                    </a:cubicBezTo>
                    <a:cubicBezTo>
                      <a:pt x="39" y="23"/>
                      <a:pt x="36" y="14"/>
                      <a:pt x="29" y="14"/>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27" name="Freeform 176"/>
              <p:cNvSpPr>
                <a:spLocks noEditPoints="1"/>
              </p:cNvSpPr>
              <p:nvPr/>
            </p:nvSpPr>
            <p:spPr bwMode="auto">
              <a:xfrm>
                <a:off x="5351463" y="3327400"/>
                <a:ext cx="44450" cy="58738"/>
              </a:xfrm>
              <a:custGeom>
                <a:avLst/>
                <a:gdLst>
                  <a:gd name="T0" fmla="*/ 10 w 20"/>
                  <a:gd name="T1" fmla="*/ 27 h 27"/>
                  <a:gd name="T2" fmla="*/ 0 w 20"/>
                  <a:gd name="T3" fmla="*/ 13 h 27"/>
                  <a:gd name="T4" fmla="*/ 3 w 20"/>
                  <a:gd name="T5" fmla="*/ 3 h 27"/>
                  <a:gd name="T6" fmla="*/ 10 w 20"/>
                  <a:gd name="T7" fmla="*/ 0 h 27"/>
                  <a:gd name="T8" fmla="*/ 20 w 20"/>
                  <a:gd name="T9" fmla="*/ 13 h 27"/>
                  <a:gd name="T10" fmla="*/ 17 w 20"/>
                  <a:gd name="T11" fmla="*/ 23 h 27"/>
                  <a:gd name="T12" fmla="*/ 10 w 20"/>
                  <a:gd name="T13" fmla="*/ 27 h 27"/>
                  <a:gd name="T14" fmla="*/ 10 w 20"/>
                  <a:gd name="T15" fmla="*/ 4 h 27"/>
                  <a:gd name="T16" fmla="*/ 7 w 20"/>
                  <a:gd name="T17" fmla="*/ 13 h 27"/>
                  <a:gd name="T18" fmla="*/ 10 w 20"/>
                  <a:gd name="T19" fmla="*/ 22 h 27"/>
                  <a:gd name="T20" fmla="*/ 14 w 20"/>
                  <a:gd name="T21" fmla="*/ 13 h 27"/>
                  <a:gd name="T22" fmla="*/ 10 w 20"/>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7">
                    <a:moveTo>
                      <a:pt x="10" y="27"/>
                    </a:moveTo>
                    <a:cubicBezTo>
                      <a:pt x="3" y="27"/>
                      <a:pt x="0" y="22"/>
                      <a:pt x="0" y="13"/>
                    </a:cubicBezTo>
                    <a:cubicBezTo>
                      <a:pt x="0" y="9"/>
                      <a:pt x="1" y="6"/>
                      <a:pt x="3" y="3"/>
                    </a:cubicBezTo>
                    <a:cubicBezTo>
                      <a:pt x="5" y="1"/>
                      <a:pt x="7" y="0"/>
                      <a:pt x="10" y="0"/>
                    </a:cubicBezTo>
                    <a:cubicBezTo>
                      <a:pt x="17" y="0"/>
                      <a:pt x="20" y="4"/>
                      <a:pt x="20" y="13"/>
                    </a:cubicBezTo>
                    <a:cubicBezTo>
                      <a:pt x="20" y="17"/>
                      <a:pt x="19" y="21"/>
                      <a:pt x="17" y="23"/>
                    </a:cubicBezTo>
                    <a:cubicBezTo>
                      <a:pt x="16" y="25"/>
                      <a:pt x="13" y="27"/>
                      <a:pt x="10" y="27"/>
                    </a:cubicBezTo>
                    <a:close/>
                    <a:moveTo>
                      <a:pt x="10" y="4"/>
                    </a:moveTo>
                    <a:cubicBezTo>
                      <a:pt x="8" y="4"/>
                      <a:pt x="7" y="7"/>
                      <a:pt x="7" y="13"/>
                    </a:cubicBezTo>
                    <a:cubicBezTo>
                      <a:pt x="7" y="19"/>
                      <a:pt x="8" y="22"/>
                      <a:pt x="10" y="22"/>
                    </a:cubicBezTo>
                    <a:cubicBezTo>
                      <a:pt x="12" y="22"/>
                      <a:pt x="14" y="19"/>
                      <a:pt x="14" y="13"/>
                    </a:cubicBezTo>
                    <a:cubicBezTo>
                      <a:pt x="14"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28" name="Freeform 177"/>
              <p:cNvSpPr>
                <a:spLocks noEditPoints="1"/>
              </p:cNvSpPr>
              <p:nvPr/>
            </p:nvSpPr>
            <p:spPr bwMode="auto">
              <a:xfrm>
                <a:off x="5400675" y="3324225"/>
                <a:ext cx="42863" cy="61913"/>
              </a:xfrm>
              <a:custGeom>
                <a:avLst/>
                <a:gdLst>
                  <a:gd name="T0" fmla="*/ 10 w 19"/>
                  <a:gd name="T1" fmla="*/ 28 h 28"/>
                  <a:gd name="T2" fmla="*/ 0 w 19"/>
                  <a:gd name="T3" fmla="*/ 14 h 28"/>
                  <a:gd name="T4" fmla="*/ 3 w 19"/>
                  <a:gd name="T5" fmla="*/ 4 h 28"/>
                  <a:gd name="T6" fmla="*/ 10 w 19"/>
                  <a:gd name="T7" fmla="*/ 0 h 28"/>
                  <a:gd name="T8" fmla="*/ 19 w 19"/>
                  <a:gd name="T9" fmla="*/ 14 h 28"/>
                  <a:gd name="T10" fmla="*/ 17 w 19"/>
                  <a:gd name="T11" fmla="*/ 24 h 28"/>
                  <a:gd name="T12" fmla="*/ 10 w 19"/>
                  <a:gd name="T13" fmla="*/ 28 h 28"/>
                  <a:gd name="T14" fmla="*/ 10 w 19"/>
                  <a:gd name="T15" fmla="*/ 5 h 28"/>
                  <a:gd name="T16" fmla="*/ 6 w 19"/>
                  <a:gd name="T17" fmla="*/ 14 h 28"/>
                  <a:gd name="T18" fmla="*/ 10 w 19"/>
                  <a:gd name="T19" fmla="*/ 23 h 28"/>
                  <a:gd name="T20" fmla="*/ 13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3"/>
                      <a:pt x="0" y="14"/>
                    </a:cubicBezTo>
                    <a:cubicBezTo>
                      <a:pt x="0" y="10"/>
                      <a:pt x="1" y="6"/>
                      <a:pt x="3" y="4"/>
                    </a:cubicBezTo>
                    <a:cubicBezTo>
                      <a:pt x="4" y="2"/>
                      <a:pt x="7" y="0"/>
                      <a:pt x="10" y="0"/>
                    </a:cubicBezTo>
                    <a:cubicBezTo>
                      <a:pt x="16" y="0"/>
                      <a:pt x="19" y="5"/>
                      <a:pt x="19" y="14"/>
                    </a:cubicBezTo>
                    <a:cubicBezTo>
                      <a:pt x="19" y="18"/>
                      <a:pt x="18" y="21"/>
                      <a:pt x="17" y="24"/>
                    </a:cubicBezTo>
                    <a:cubicBezTo>
                      <a:pt x="15" y="26"/>
                      <a:pt x="13" y="28"/>
                      <a:pt x="10" y="28"/>
                    </a:cubicBezTo>
                    <a:close/>
                    <a:moveTo>
                      <a:pt x="10" y="5"/>
                    </a:moveTo>
                    <a:cubicBezTo>
                      <a:pt x="8" y="5"/>
                      <a:pt x="6" y="8"/>
                      <a:pt x="6" y="14"/>
                    </a:cubicBezTo>
                    <a:cubicBezTo>
                      <a:pt x="6" y="20"/>
                      <a:pt x="8" y="23"/>
                      <a:pt x="10" y="23"/>
                    </a:cubicBezTo>
                    <a:cubicBezTo>
                      <a:pt x="12" y="23"/>
                      <a:pt x="13" y="20"/>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29" name="Freeform 178"/>
              <p:cNvSpPr>
                <a:spLocks noEditPoints="1"/>
              </p:cNvSpPr>
              <p:nvPr/>
            </p:nvSpPr>
            <p:spPr bwMode="auto">
              <a:xfrm>
                <a:off x="5449888" y="3324225"/>
                <a:ext cx="41275" cy="61913"/>
              </a:xfrm>
              <a:custGeom>
                <a:avLst/>
                <a:gdLst>
                  <a:gd name="T0" fmla="*/ 9 w 19"/>
                  <a:gd name="T1" fmla="*/ 28 h 28"/>
                  <a:gd name="T2" fmla="*/ 0 w 19"/>
                  <a:gd name="T3" fmla="*/ 14 h 28"/>
                  <a:gd name="T4" fmla="*/ 2 w 19"/>
                  <a:gd name="T5" fmla="*/ 4 h 28"/>
                  <a:gd name="T6" fmla="*/ 10 w 19"/>
                  <a:gd name="T7" fmla="*/ 0 h 28"/>
                  <a:gd name="T8" fmla="*/ 19 w 19"/>
                  <a:gd name="T9" fmla="*/ 14 h 28"/>
                  <a:gd name="T10" fmla="*/ 16 w 19"/>
                  <a:gd name="T11" fmla="*/ 24 h 28"/>
                  <a:gd name="T12" fmla="*/ 9 w 19"/>
                  <a:gd name="T13" fmla="*/ 28 h 28"/>
                  <a:gd name="T14" fmla="*/ 10 w 19"/>
                  <a:gd name="T15" fmla="*/ 5 h 28"/>
                  <a:gd name="T16" fmla="*/ 6 w 19"/>
                  <a:gd name="T17" fmla="*/ 14 h 28"/>
                  <a:gd name="T18" fmla="*/ 10 w 19"/>
                  <a:gd name="T19" fmla="*/ 23 h 28"/>
                  <a:gd name="T20" fmla="*/ 13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10"/>
                      <a:pt x="1" y="6"/>
                      <a:pt x="2" y="4"/>
                    </a:cubicBezTo>
                    <a:cubicBezTo>
                      <a:pt x="4" y="2"/>
                      <a:pt x="6" y="0"/>
                      <a:pt x="10" y="0"/>
                    </a:cubicBezTo>
                    <a:cubicBezTo>
                      <a:pt x="16" y="0"/>
                      <a:pt x="19" y="5"/>
                      <a:pt x="19" y="14"/>
                    </a:cubicBezTo>
                    <a:cubicBezTo>
                      <a:pt x="19" y="18"/>
                      <a:pt x="18" y="21"/>
                      <a:pt x="16" y="24"/>
                    </a:cubicBezTo>
                    <a:cubicBezTo>
                      <a:pt x="15" y="26"/>
                      <a:pt x="12" y="28"/>
                      <a:pt x="9" y="28"/>
                    </a:cubicBezTo>
                    <a:close/>
                    <a:moveTo>
                      <a:pt x="10" y="5"/>
                    </a:moveTo>
                    <a:cubicBezTo>
                      <a:pt x="7" y="5"/>
                      <a:pt x="6" y="8"/>
                      <a:pt x="6" y="14"/>
                    </a:cubicBezTo>
                    <a:cubicBezTo>
                      <a:pt x="6" y="20"/>
                      <a:pt x="7" y="23"/>
                      <a:pt x="10" y="23"/>
                    </a:cubicBezTo>
                    <a:cubicBezTo>
                      <a:pt x="12" y="23"/>
                      <a:pt x="13" y="20"/>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30" name="Freeform 179"/>
              <p:cNvSpPr>
                <a:spLocks/>
              </p:cNvSpPr>
              <p:nvPr/>
            </p:nvSpPr>
            <p:spPr bwMode="auto">
              <a:xfrm>
                <a:off x="5502275" y="3324225"/>
                <a:ext cx="26988" cy="60325"/>
              </a:xfrm>
              <a:custGeom>
                <a:avLst/>
                <a:gdLst>
                  <a:gd name="T0" fmla="*/ 12 w 12"/>
                  <a:gd name="T1" fmla="*/ 0 h 27"/>
                  <a:gd name="T2" fmla="*/ 12 w 12"/>
                  <a:gd name="T3" fmla="*/ 27 h 27"/>
                  <a:gd name="T4" fmla="*/ 6 w 12"/>
                  <a:gd name="T5" fmla="*/ 27 h 27"/>
                  <a:gd name="T6" fmla="*/ 6 w 12"/>
                  <a:gd name="T7" fmla="*/ 7 h 27"/>
                  <a:gd name="T8" fmla="*/ 5 w 12"/>
                  <a:gd name="T9" fmla="*/ 7 h 27"/>
                  <a:gd name="T10" fmla="*/ 3 w 12"/>
                  <a:gd name="T11" fmla="*/ 8 h 27"/>
                  <a:gd name="T12" fmla="*/ 2 w 12"/>
                  <a:gd name="T13" fmla="*/ 8 h 27"/>
                  <a:gd name="T14" fmla="*/ 0 w 12"/>
                  <a:gd name="T15" fmla="*/ 9 h 27"/>
                  <a:gd name="T16" fmla="*/ 0 w 12"/>
                  <a:gd name="T17" fmla="*/ 4 h 27"/>
                  <a:gd name="T18" fmla="*/ 4 w 12"/>
                  <a:gd name="T19" fmla="*/ 2 h 27"/>
                  <a:gd name="T20" fmla="*/ 8 w 12"/>
                  <a:gd name="T21" fmla="*/ 0 h 27"/>
                  <a:gd name="T22" fmla="*/ 12 w 1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7">
                    <a:moveTo>
                      <a:pt x="12" y="0"/>
                    </a:moveTo>
                    <a:cubicBezTo>
                      <a:pt x="12" y="11"/>
                      <a:pt x="12" y="16"/>
                      <a:pt x="12" y="27"/>
                    </a:cubicBezTo>
                    <a:cubicBezTo>
                      <a:pt x="9" y="27"/>
                      <a:pt x="8" y="27"/>
                      <a:pt x="6" y="27"/>
                    </a:cubicBezTo>
                    <a:cubicBezTo>
                      <a:pt x="6" y="19"/>
                      <a:pt x="6" y="15"/>
                      <a:pt x="6" y="7"/>
                    </a:cubicBezTo>
                    <a:cubicBezTo>
                      <a:pt x="5" y="7"/>
                      <a:pt x="5" y="7"/>
                      <a:pt x="5" y="7"/>
                    </a:cubicBezTo>
                    <a:cubicBezTo>
                      <a:pt x="4" y="8"/>
                      <a:pt x="4" y="8"/>
                      <a:pt x="3" y="8"/>
                    </a:cubicBezTo>
                    <a:cubicBezTo>
                      <a:pt x="3" y="8"/>
                      <a:pt x="2" y="8"/>
                      <a:pt x="2" y="8"/>
                    </a:cubicBezTo>
                    <a:cubicBezTo>
                      <a:pt x="1" y="9"/>
                      <a:pt x="1" y="9"/>
                      <a:pt x="0" y="9"/>
                    </a:cubicBezTo>
                    <a:cubicBezTo>
                      <a:pt x="0" y="7"/>
                      <a:pt x="0" y="6"/>
                      <a:pt x="0" y="4"/>
                    </a:cubicBezTo>
                    <a:cubicBezTo>
                      <a:pt x="2" y="4"/>
                      <a:pt x="3" y="3"/>
                      <a:pt x="4" y="2"/>
                    </a:cubicBezTo>
                    <a:cubicBezTo>
                      <a:pt x="6" y="2"/>
                      <a:pt x="7" y="0"/>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31" name="Freeform 180"/>
              <p:cNvSpPr>
                <a:spLocks noEditPoints="1"/>
              </p:cNvSpPr>
              <p:nvPr/>
            </p:nvSpPr>
            <p:spPr bwMode="auto">
              <a:xfrm>
                <a:off x="5545138" y="3324225"/>
                <a:ext cx="42863" cy="61913"/>
              </a:xfrm>
              <a:custGeom>
                <a:avLst/>
                <a:gdLst>
                  <a:gd name="T0" fmla="*/ 10 w 19"/>
                  <a:gd name="T1" fmla="*/ 28 h 28"/>
                  <a:gd name="T2" fmla="*/ 0 w 19"/>
                  <a:gd name="T3" fmla="*/ 14 h 28"/>
                  <a:gd name="T4" fmla="*/ 3 w 19"/>
                  <a:gd name="T5" fmla="*/ 4 h 28"/>
                  <a:gd name="T6" fmla="*/ 10 w 19"/>
                  <a:gd name="T7" fmla="*/ 0 h 28"/>
                  <a:gd name="T8" fmla="*/ 19 w 19"/>
                  <a:gd name="T9" fmla="*/ 14 h 28"/>
                  <a:gd name="T10" fmla="*/ 17 w 19"/>
                  <a:gd name="T11" fmla="*/ 24 h 28"/>
                  <a:gd name="T12" fmla="*/ 10 w 19"/>
                  <a:gd name="T13" fmla="*/ 28 h 28"/>
                  <a:gd name="T14" fmla="*/ 10 w 19"/>
                  <a:gd name="T15" fmla="*/ 4 h 28"/>
                  <a:gd name="T16" fmla="*/ 6 w 19"/>
                  <a:gd name="T17" fmla="*/ 14 h 28"/>
                  <a:gd name="T18" fmla="*/ 10 w 19"/>
                  <a:gd name="T19" fmla="*/ 23 h 28"/>
                  <a:gd name="T20" fmla="*/ 14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3"/>
                      <a:pt x="0" y="14"/>
                    </a:cubicBezTo>
                    <a:cubicBezTo>
                      <a:pt x="0" y="9"/>
                      <a:pt x="1" y="6"/>
                      <a:pt x="3" y="4"/>
                    </a:cubicBezTo>
                    <a:cubicBezTo>
                      <a:pt x="4" y="1"/>
                      <a:pt x="7" y="0"/>
                      <a:pt x="10" y="0"/>
                    </a:cubicBezTo>
                    <a:cubicBezTo>
                      <a:pt x="16" y="0"/>
                      <a:pt x="19" y="4"/>
                      <a:pt x="19" y="14"/>
                    </a:cubicBezTo>
                    <a:cubicBezTo>
                      <a:pt x="19" y="18"/>
                      <a:pt x="18" y="21"/>
                      <a:pt x="17" y="24"/>
                    </a:cubicBezTo>
                    <a:cubicBezTo>
                      <a:pt x="15" y="26"/>
                      <a:pt x="13" y="28"/>
                      <a:pt x="10" y="28"/>
                    </a:cubicBezTo>
                    <a:close/>
                    <a:moveTo>
                      <a:pt x="10" y="4"/>
                    </a:moveTo>
                    <a:cubicBezTo>
                      <a:pt x="7" y="5"/>
                      <a:pt x="6" y="8"/>
                      <a:pt x="6" y="14"/>
                    </a:cubicBezTo>
                    <a:cubicBezTo>
                      <a:pt x="6" y="20"/>
                      <a:pt x="7" y="23"/>
                      <a:pt x="10" y="23"/>
                    </a:cubicBezTo>
                    <a:cubicBezTo>
                      <a:pt x="12" y="23"/>
                      <a:pt x="14" y="20"/>
                      <a:pt x="14" y="14"/>
                    </a:cubicBezTo>
                    <a:cubicBezTo>
                      <a:pt x="14"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32" name="Freeform 181"/>
              <p:cNvSpPr>
                <a:spLocks noEditPoints="1"/>
              </p:cNvSpPr>
              <p:nvPr/>
            </p:nvSpPr>
            <p:spPr bwMode="auto">
              <a:xfrm>
                <a:off x="5594350" y="3322638"/>
                <a:ext cx="41275" cy="63500"/>
              </a:xfrm>
              <a:custGeom>
                <a:avLst/>
                <a:gdLst>
                  <a:gd name="T0" fmla="*/ 9 w 19"/>
                  <a:gd name="T1" fmla="*/ 29 h 29"/>
                  <a:gd name="T2" fmla="*/ 0 w 19"/>
                  <a:gd name="T3" fmla="*/ 15 h 29"/>
                  <a:gd name="T4" fmla="*/ 3 w 19"/>
                  <a:gd name="T5" fmla="*/ 5 h 29"/>
                  <a:gd name="T6" fmla="*/ 10 w 19"/>
                  <a:gd name="T7" fmla="*/ 1 h 29"/>
                  <a:gd name="T8" fmla="*/ 19 w 19"/>
                  <a:gd name="T9" fmla="*/ 15 h 29"/>
                  <a:gd name="T10" fmla="*/ 17 w 19"/>
                  <a:gd name="T11" fmla="*/ 25 h 29"/>
                  <a:gd name="T12" fmla="*/ 9 w 19"/>
                  <a:gd name="T13" fmla="*/ 29 h 29"/>
                  <a:gd name="T14" fmla="*/ 9 w 19"/>
                  <a:gd name="T15" fmla="*/ 5 h 29"/>
                  <a:gd name="T16" fmla="*/ 6 w 19"/>
                  <a:gd name="T17" fmla="*/ 15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5"/>
                    </a:cubicBezTo>
                    <a:cubicBezTo>
                      <a:pt x="0" y="10"/>
                      <a:pt x="1" y="7"/>
                      <a:pt x="3" y="5"/>
                    </a:cubicBezTo>
                    <a:cubicBezTo>
                      <a:pt x="4" y="2"/>
                      <a:pt x="7" y="1"/>
                      <a:pt x="10" y="1"/>
                    </a:cubicBezTo>
                    <a:cubicBezTo>
                      <a:pt x="16" y="0"/>
                      <a:pt x="19" y="5"/>
                      <a:pt x="19" y="15"/>
                    </a:cubicBezTo>
                    <a:cubicBezTo>
                      <a:pt x="19" y="19"/>
                      <a:pt x="18" y="22"/>
                      <a:pt x="17" y="25"/>
                    </a:cubicBezTo>
                    <a:cubicBezTo>
                      <a:pt x="15" y="27"/>
                      <a:pt x="13" y="29"/>
                      <a:pt x="9" y="29"/>
                    </a:cubicBezTo>
                    <a:close/>
                    <a:moveTo>
                      <a:pt x="9" y="5"/>
                    </a:moveTo>
                    <a:cubicBezTo>
                      <a:pt x="7" y="5"/>
                      <a:pt x="6" y="8"/>
                      <a:pt x="6" y="15"/>
                    </a:cubicBezTo>
                    <a:cubicBezTo>
                      <a:pt x="6" y="21"/>
                      <a:pt x="7" y="24"/>
                      <a:pt x="9" y="24"/>
                    </a:cubicBezTo>
                    <a:cubicBezTo>
                      <a:pt x="12" y="24"/>
                      <a:pt x="13" y="21"/>
                      <a:pt x="13" y="15"/>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33" name="Freeform 182"/>
              <p:cNvSpPr>
                <a:spLocks/>
              </p:cNvSpPr>
              <p:nvPr/>
            </p:nvSpPr>
            <p:spPr bwMode="auto">
              <a:xfrm>
                <a:off x="5646738" y="3322638"/>
                <a:ext cx="26988" cy="61913"/>
              </a:xfrm>
              <a:custGeom>
                <a:avLst/>
                <a:gdLst>
                  <a:gd name="T0" fmla="*/ 12 w 12"/>
                  <a:gd name="T1" fmla="*/ 0 h 28"/>
                  <a:gd name="T2" fmla="*/ 12 w 12"/>
                  <a:gd name="T3" fmla="*/ 28 h 28"/>
                  <a:gd name="T4" fmla="*/ 6 w 12"/>
                  <a:gd name="T5" fmla="*/ 28 h 28"/>
                  <a:gd name="T6" fmla="*/ 6 w 12"/>
                  <a:gd name="T7" fmla="*/ 7 h 28"/>
                  <a:gd name="T8" fmla="*/ 5 w 12"/>
                  <a:gd name="T9" fmla="*/ 8 h 28"/>
                  <a:gd name="T10" fmla="*/ 3 w 12"/>
                  <a:gd name="T11" fmla="*/ 9 h 28"/>
                  <a:gd name="T12" fmla="*/ 2 w 12"/>
                  <a:gd name="T13" fmla="*/ 9 h 28"/>
                  <a:gd name="T14" fmla="*/ 0 w 12"/>
                  <a:gd name="T15" fmla="*/ 9 h 28"/>
                  <a:gd name="T16" fmla="*/ 0 w 12"/>
                  <a:gd name="T17" fmla="*/ 5 h 28"/>
                  <a:gd name="T18" fmla="*/ 5 w 12"/>
                  <a:gd name="T19" fmla="*/ 3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7"/>
                      <a:pt x="12" y="28"/>
                    </a:cubicBezTo>
                    <a:cubicBezTo>
                      <a:pt x="10" y="28"/>
                      <a:pt x="8" y="28"/>
                      <a:pt x="6" y="28"/>
                    </a:cubicBezTo>
                    <a:cubicBezTo>
                      <a:pt x="6" y="20"/>
                      <a:pt x="6" y="16"/>
                      <a:pt x="6" y="7"/>
                    </a:cubicBezTo>
                    <a:cubicBezTo>
                      <a:pt x="5" y="7"/>
                      <a:pt x="5" y="8"/>
                      <a:pt x="5" y="8"/>
                    </a:cubicBezTo>
                    <a:cubicBezTo>
                      <a:pt x="4" y="8"/>
                      <a:pt x="4" y="8"/>
                      <a:pt x="3" y="9"/>
                    </a:cubicBezTo>
                    <a:cubicBezTo>
                      <a:pt x="3" y="9"/>
                      <a:pt x="2" y="9"/>
                      <a:pt x="2" y="9"/>
                    </a:cubicBezTo>
                    <a:cubicBezTo>
                      <a:pt x="1" y="9"/>
                      <a:pt x="1" y="9"/>
                      <a:pt x="0" y="9"/>
                    </a:cubicBezTo>
                    <a:cubicBezTo>
                      <a:pt x="0" y="8"/>
                      <a:pt x="0" y="7"/>
                      <a:pt x="0" y="5"/>
                    </a:cubicBezTo>
                    <a:cubicBezTo>
                      <a:pt x="2" y="4"/>
                      <a:pt x="3" y="4"/>
                      <a:pt x="5" y="3"/>
                    </a:cubicBezTo>
                    <a:cubicBezTo>
                      <a:pt x="6" y="2"/>
                      <a:pt x="7" y="2"/>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34" name="Freeform 183"/>
              <p:cNvSpPr>
                <a:spLocks/>
              </p:cNvSpPr>
              <p:nvPr/>
            </p:nvSpPr>
            <p:spPr bwMode="auto">
              <a:xfrm>
                <a:off x="5695950" y="3322638"/>
                <a:ext cx="26988" cy="61913"/>
              </a:xfrm>
              <a:custGeom>
                <a:avLst/>
                <a:gdLst>
                  <a:gd name="T0" fmla="*/ 11 w 12"/>
                  <a:gd name="T1" fmla="*/ 0 h 28"/>
                  <a:gd name="T2" fmla="*/ 12 w 12"/>
                  <a:gd name="T3" fmla="*/ 28 h 28"/>
                  <a:gd name="T4" fmla="*/ 5 w 12"/>
                  <a:gd name="T5" fmla="*/ 28 h 28"/>
                  <a:gd name="T6" fmla="*/ 5 w 12"/>
                  <a:gd name="T7" fmla="*/ 7 h 28"/>
                  <a:gd name="T8" fmla="*/ 4 w 12"/>
                  <a:gd name="T9" fmla="*/ 8 h 28"/>
                  <a:gd name="T10" fmla="*/ 3 w 12"/>
                  <a:gd name="T11" fmla="*/ 9 h 28"/>
                  <a:gd name="T12" fmla="*/ 2 w 12"/>
                  <a:gd name="T13" fmla="*/ 9 h 28"/>
                  <a:gd name="T14" fmla="*/ 0 w 12"/>
                  <a:gd name="T15" fmla="*/ 9 h 28"/>
                  <a:gd name="T16" fmla="*/ 0 w 12"/>
                  <a:gd name="T17" fmla="*/ 5 h 28"/>
                  <a:gd name="T18" fmla="*/ 4 w 12"/>
                  <a:gd name="T19" fmla="*/ 3 h 28"/>
                  <a:gd name="T20" fmla="*/ 8 w 12"/>
                  <a:gd name="T21" fmla="*/ 1 h 28"/>
                  <a:gd name="T22" fmla="*/ 11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1" y="0"/>
                    </a:moveTo>
                    <a:cubicBezTo>
                      <a:pt x="11" y="12"/>
                      <a:pt x="11" y="17"/>
                      <a:pt x="12" y="28"/>
                    </a:cubicBezTo>
                    <a:cubicBezTo>
                      <a:pt x="9" y="28"/>
                      <a:pt x="8" y="28"/>
                      <a:pt x="5" y="28"/>
                    </a:cubicBezTo>
                    <a:cubicBezTo>
                      <a:pt x="5" y="20"/>
                      <a:pt x="5" y="16"/>
                      <a:pt x="5" y="7"/>
                    </a:cubicBezTo>
                    <a:cubicBezTo>
                      <a:pt x="5" y="7"/>
                      <a:pt x="5" y="8"/>
                      <a:pt x="4" y="8"/>
                    </a:cubicBezTo>
                    <a:cubicBezTo>
                      <a:pt x="4" y="8"/>
                      <a:pt x="3" y="8"/>
                      <a:pt x="3" y="9"/>
                    </a:cubicBezTo>
                    <a:cubicBezTo>
                      <a:pt x="3" y="9"/>
                      <a:pt x="2" y="9"/>
                      <a:pt x="2" y="9"/>
                    </a:cubicBezTo>
                    <a:cubicBezTo>
                      <a:pt x="1" y="9"/>
                      <a:pt x="1" y="9"/>
                      <a:pt x="0" y="9"/>
                    </a:cubicBezTo>
                    <a:cubicBezTo>
                      <a:pt x="0" y="7"/>
                      <a:pt x="0" y="6"/>
                      <a:pt x="0" y="5"/>
                    </a:cubicBezTo>
                    <a:cubicBezTo>
                      <a:pt x="2" y="4"/>
                      <a:pt x="3" y="3"/>
                      <a:pt x="4" y="3"/>
                    </a:cubicBezTo>
                    <a:cubicBezTo>
                      <a:pt x="5" y="2"/>
                      <a:pt x="7" y="1"/>
                      <a:pt x="8" y="1"/>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35" name="Freeform 184"/>
              <p:cNvSpPr>
                <a:spLocks noEditPoints="1"/>
              </p:cNvSpPr>
              <p:nvPr/>
            </p:nvSpPr>
            <p:spPr bwMode="auto">
              <a:xfrm>
                <a:off x="5738813" y="3322638"/>
                <a:ext cx="41275" cy="61913"/>
              </a:xfrm>
              <a:custGeom>
                <a:avLst/>
                <a:gdLst>
                  <a:gd name="T0" fmla="*/ 9 w 19"/>
                  <a:gd name="T1" fmla="*/ 28 h 28"/>
                  <a:gd name="T2" fmla="*/ 0 w 19"/>
                  <a:gd name="T3" fmla="*/ 15 h 28"/>
                  <a:gd name="T4" fmla="*/ 3 w 19"/>
                  <a:gd name="T5" fmla="*/ 4 h 28"/>
                  <a:gd name="T6" fmla="*/ 10 w 19"/>
                  <a:gd name="T7" fmla="*/ 0 h 28"/>
                  <a:gd name="T8" fmla="*/ 19 w 19"/>
                  <a:gd name="T9" fmla="*/ 14 h 28"/>
                  <a:gd name="T10" fmla="*/ 17 w 19"/>
                  <a:gd name="T11" fmla="*/ 25 h 28"/>
                  <a:gd name="T12" fmla="*/ 9 w 19"/>
                  <a:gd name="T13" fmla="*/ 28 h 28"/>
                  <a:gd name="T14" fmla="*/ 10 w 19"/>
                  <a:gd name="T15" fmla="*/ 5 h 28"/>
                  <a:gd name="T16" fmla="*/ 6 w 19"/>
                  <a:gd name="T17" fmla="*/ 15 h 28"/>
                  <a:gd name="T18" fmla="*/ 10 w 19"/>
                  <a:gd name="T19" fmla="*/ 24 h 28"/>
                  <a:gd name="T20" fmla="*/ 13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4"/>
                      <a:pt x="0" y="15"/>
                    </a:cubicBezTo>
                    <a:cubicBezTo>
                      <a:pt x="0" y="10"/>
                      <a:pt x="1" y="6"/>
                      <a:pt x="3" y="4"/>
                    </a:cubicBezTo>
                    <a:cubicBezTo>
                      <a:pt x="4" y="2"/>
                      <a:pt x="7" y="0"/>
                      <a:pt x="10" y="0"/>
                    </a:cubicBezTo>
                    <a:cubicBezTo>
                      <a:pt x="16" y="0"/>
                      <a:pt x="19" y="5"/>
                      <a:pt x="19" y="14"/>
                    </a:cubicBezTo>
                    <a:cubicBezTo>
                      <a:pt x="19" y="19"/>
                      <a:pt x="18" y="23"/>
                      <a:pt x="17" y="25"/>
                    </a:cubicBezTo>
                    <a:cubicBezTo>
                      <a:pt x="15" y="27"/>
                      <a:pt x="12" y="28"/>
                      <a:pt x="9" y="28"/>
                    </a:cubicBezTo>
                    <a:close/>
                    <a:moveTo>
                      <a:pt x="10" y="5"/>
                    </a:moveTo>
                    <a:cubicBezTo>
                      <a:pt x="7" y="5"/>
                      <a:pt x="6" y="8"/>
                      <a:pt x="6" y="15"/>
                    </a:cubicBezTo>
                    <a:cubicBezTo>
                      <a:pt x="6" y="21"/>
                      <a:pt x="7" y="24"/>
                      <a:pt x="10" y="24"/>
                    </a:cubicBezTo>
                    <a:cubicBezTo>
                      <a:pt x="12" y="24"/>
                      <a:pt x="13" y="21"/>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36" name="Freeform 185"/>
              <p:cNvSpPr>
                <a:spLocks/>
              </p:cNvSpPr>
              <p:nvPr/>
            </p:nvSpPr>
            <p:spPr bwMode="auto">
              <a:xfrm>
                <a:off x="5791200" y="3322638"/>
                <a:ext cx="26988" cy="61913"/>
              </a:xfrm>
              <a:custGeom>
                <a:avLst/>
                <a:gdLst>
                  <a:gd name="T0" fmla="*/ 11 w 12"/>
                  <a:gd name="T1" fmla="*/ 0 h 28"/>
                  <a:gd name="T2" fmla="*/ 12 w 12"/>
                  <a:gd name="T3" fmla="*/ 28 h 28"/>
                  <a:gd name="T4" fmla="*/ 6 w 12"/>
                  <a:gd name="T5" fmla="*/ 28 h 28"/>
                  <a:gd name="T6" fmla="*/ 6 w 12"/>
                  <a:gd name="T7" fmla="*/ 7 h 28"/>
                  <a:gd name="T8" fmla="*/ 5 w 12"/>
                  <a:gd name="T9" fmla="*/ 7 h 28"/>
                  <a:gd name="T10" fmla="*/ 3 w 12"/>
                  <a:gd name="T11" fmla="*/ 8 h 28"/>
                  <a:gd name="T12" fmla="*/ 2 w 12"/>
                  <a:gd name="T13" fmla="*/ 9 h 28"/>
                  <a:gd name="T14" fmla="*/ 0 w 12"/>
                  <a:gd name="T15" fmla="*/ 9 h 28"/>
                  <a:gd name="T16" fmla="*/ 0 w 12"/>
                  <a:gd name="T17" fmla="*/ 4 h 28"/>
                  <a:gd name="T18" fmla="*/ 5 w 12"/>
                  <a:gd name="T19" fmla="*/ 2 h 28"/>
                  <a:gd name="T20" fmla="*/ 8 w 12"/>
                  <a:gd name="T21" fmla="*/ 0 h 28"/>
                  <a:gd name="T22" fmla="*/ 11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1" y="0"/>
                    </a:moveTo>
                    <a:cubicBezTo>
                      <a:pt x="11" y="11"/>
                      <a:pt x="11" y="17"/>
                      <a:pt x="12" y="28"/>
                    </a:cubicBezTo>
                    <a:cubicBezTo>
                      <a:pt x="9" y="28"/>
                      <a:pt x="8" y="28"/>
                      <a:pt x="6" y="28"/>
                    </a:cubicBezTo>
                    <a:cubicBezTo>
                      <a:pt x="6" y="19"/>
                      <a:pt x="6" y="15"/>
                      <a:pt x="6" y="7"/>
                    </a:cubicBezTo>
                    <a:cubicBezTo>
                      <a:pt x="6" y="7"/>
                      <a:pt x="5" y="7"/>
                      <a:pt x="5" y="7"/>
                    </a:cubicBezTo>
                    <a:cubicBezTo>
                      <a:pt x="4" y="8"/>
                      <a:pt x="4" y="8"/>
                      <a:pt x="3" y="8"/>
                    </a:cubicBezTo>
                    <a:cubicBezTo>
                      <a:pt x="3" y="8"/>
                      <a:pt x="2" y="8"/>
                      <a:pt x="2" y="9"/>
                    </a:cubicBezTo>
                    <a:cubicBezTo>
                      <a:pt x="1" y="9"/>
                      <a:pt x="1" y="9"/>
                      <a:pt x="0" y="9"/>
                    </a:cubicBezTo>
                    <a:cubicBezTo>
                      <a:pt x="0" y="7"/>
                      <a:pt x="0" y="6"/>
                      <a:pt x="0" y="4"/>
                    </a:cubicBezTo>
                    <a:cubicBezTo>
                      <a:pt x="1" y="4"/>
                      <a:pt x="3" y="3"/>
                      <a:pt x="5"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37" name="Freeform 186"/>
              <p:cNvSpPr>
                <a:spLocks noEditPoints="1"/>
              </p:cNvSpPr>
              <p:nvPr/>
            </p:nvSpPr>
            <p:spPr bwMode="auto">
              <a:xfrm>
                <a:off x="5834063" y="3322638"/>
                <a:ext cx="44450" cy="61913"/>
              </a:xfrm>
              <a:custGeom>
                <a:avLst/>
                <a:gdLst>
                  <a:gd name="T0" fmla="*/ 10 w 20"/>
                  <a:gd name="T1" fmla="*/ 28 h 28"/>
                  <a:gd name="T2" fmla="*/ 0 w 20"/>
                  <a:gd name="T3" fmla="*/ 15 h 28"/>
                  <a:gd name="T4" fmla="*/ 3 w 20"/>
                  <a:gd name="T5" fmla="*/ 4 h 28"/>
                  <a:gd name="T6" fmla="*/ 10 w 20"/>
                  <a:gd name="T7" fmla="*/ 0 h 28"/>
                  <a:gd name="T8" fmla="*/ 20 w 20"/>
                  <a:gd name="T9" fmla="*/ 14 h 28"/>
                  <a:gd name="T10" fmla="*/ 17 w 20"/>
                  <a:gd name="T11" fmla="*/ 25 h 28"/>
                  <a:gd name="T12" fmla="*/ 10 w 20"/>
                  <a:gd name="T13" fmla="*/ 28 h 28"/>
                  <a:gd name="T14" fmla="*/ 10 w 20"/>
                  <a:gd name="T15" fmla="*/ 4 h 28"/>
                  <a:gd name="T16" fmla="*/ 6 w 20"/>
                  <a:gd name="T17" fmla="*/ 15 h 28"/>
                  <a:gd name="T18" fmla="*/ 10 w 20"/>
                  <a:gd name="T19" fmla="*/ 24 h 28"/>
                  <a:gd name="T20" fmla="*/ 13 w 20"/>
                  <a:gd name="T21" fmla="*/ 14 h 28"/>
                  <a:gd name="T22" fmla="*/ 10 w 20"/>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8">
                    <a:moveTo>
                      <a:pt x="10" y="28"/>
                    </a:moveTo>
                    <a:cubicBezTo>
                      <a:pt x="3" y="28"/>
                      <a:pt x="0" y="24"/>
                      <a:pt x="0" y="15"/>
                    </a:cubicBezTo>
                    <a:cubicBezTo>
                      <a:pt x="0" y="10"/>
                      <a:pt x="1" y="6"/>
                      <a:pt x="3" y="4"/>
                    </a:cubicBezTo>
                    <a:cubicBezTo>
                      <a:pt x="5" y="1"/>
                      <a:pt x="7" y="0"/>
                      <a:pt x="10" y="0"/>
                    </a:cubicBezTo>
                    <a:cubicBezTo>
                      <a:pt x="17" y="0"/>
                      <a:pt x="20" y="4"/>
                      <a:pt x="20" y="14"/>
                    </a:cubicBezTo>
                    <a:cubicBezTo>
                      <a:pt x="20" y="18"/>
                      <a:pt x="19" y="22"/>
                      <a:pt x="17" y="25"/>
                    </a:cubicBezTo>
                    <a:cubicBezTo>
                      <a:pt x="16" y="27"/>
                      <a:pt x="13" y="28"/>
                      <a:pt x="10" y="28"/>
                    </a:cubicBezTo>
                    <a:close/>
                    <a:moveTo>
                      <a:pt x="10" y="4"/>
                    </a:moveTo>
                    <a:cubicBezTo>
                      <a:pt x="8" y="4"/>
                      <a:pt x="6" y="8"/>
                      <a:pt x="6" y="15"/>
                    </a:cubicBezTo>
                    <a:cubicBezTo>
                      <a:pt x="6" y="20"/>
                      <a:pt x="8" y="24"/>
                      <a:pt x="10" y="24"/>
                    </a:cubicBezTo>
                    <a:cubicBezTo>
                      <a:pt x="12" y="24"/>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38" name="Freeform 187"/>
              <p:cNvSpPr>
                <a:spLocks noEditPoints="1"/>
              </p:cNvSpPr>
              <p:nvPr/>
            </p:nvSpPr>
            <p:spPr bwMode="auto">
              <a:xfrm>
                <a:off x="5883275" y="3322638"/>
                <a:ext cx="41275" cy="61913"/>
              </a:xfrm>
              <a:custGeom>
                <a:avLst/>
                <a:gdLst>
                  <a:gd name="T0" fmla="*/ 10 w 19"/>
                  <a:gd name="T1" fmla="*/ 28 h 28"/>
                  <a:gd name="T2" fmla="*/ 0 w 19"/>
                  <a:gd name="T3" fmla="*/ 15 h 28"/>
                  <a:gd name="T4" fmla="*/ 2 w 19"/>
                  <a:gd name="T5" fmla="*/ 3 h 28"/>
                  <a:gd name="T6" fmla="*/ 10 w 19"/>
                  <a:gd name="T7" fmla="*/ 0 h 28"/>
                  <a:gd name="T8" fmla="*/ 19 w 19"/>
                  <a:gd name="T9" fmla="*/ 14 h 28"/>
                  <a:gd name="T10" fmla="*/ 17 w 19"/>
                  <a:gd name="T11" fmla="*/ 25 h 28"/>
                  <a:gd name="T12" fmla="*/ 10 w 19"/>
                  <a:gd name="T13" fmla="*/ 28 h 28"/>
                  <a:gd name="T14" fmla="*/ 10 w 19"/>
                  <a:gd name="T15" fmla="*/ 4 h 28"/>
                  <a:gd name="T16" fmla="*/ 6 w 19"/>
                  <a:gd name="T17" fmla="*/ 14 h 28"/>
                  <a:gd name="T18" fmla="*/ 10 w 19"/>
                  <a:gd name="T19" fmla="*/ 24 h 28"/>
                  <a:gd name="T20" fmla="*/ 13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4"/>
                      <a:pt x="0" y="15"/>
                    </a:cubicBezTo>
                    <a:cubicBezTo>
                      <a:pt x="0" y="9"/>
                      <a:pt x="1" y="6"/>
                      <a:pt x="2" y="3"/>
                    </a:cubicBezTo>
                    <a:cubicBezTo>
                      <a:pt x="4" y="1"/>
                      <a:pt x="7" y="0"/>
                      <a:pt x="10" y="0"/>
                    </a:cubicBezTo>
                    <a:cubicBezTo>
                      <a:pt x="16" y="0"/>
                      <a:pt x="19" y="4"/>
                      <a:pt x="19" y="14"/>
                    </a:cubicBezTo>
                    <a:cubicBezTo>
                      <a:pt x="19" y="18"/>
                      <a:pt x="19" y="22"/>
                      <a:pt x="17" y="25"/>
                    </a:cubicBezTo>
                    <a:cubicBezTo>
                      <a:pt x="15" y="27"/>
                      <a:pt x="13" y="28"/>
                      <a:pt x="10" y="28"/>
                    </a:cubicBezTo>
                    <a:close/>
                    <a:moveTo>
                      <a:pt x="10" y="4"/>
                    </a:moveTo>
                    <a:cubicBezTo>
                      <a:pt x="7" y="4"/>
                      <a:pt x="6" y="8"/>
                      <a:pt x="6" y="14"/>
                    </a:cubicBezTo>
                    <a:cubicBezTo>
                      <a:pt x="6" y="20"/>
                      <a:pt x="7" y="24"/>
                      <a:pt x="10" y="24"/>
                    </a:cubicBezTo>
                    <a:cubicBezTo>
                      <a:pt x="12" y="24"/>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39" name="Freeform 188"/>
              <p:cNvSpPr>
                <a:spLocks/>
              </p:cNvSpPr>
              <p:nvPr/>
            </p:nvSpPr>
            <p:spPr bwMode="auto">
              <a:xfrm>
                <a:off x="5935663" y="3319463"/>
                <a:ext cx="26988" cy="65088"/>
              </a:xfrm>
              <a:custGeom>
                <a:avLst/>
                <a:gdLst>
                  <a:gd name="T0" fmla="*/ 12 w 12"/>
                  <a:gd name="T1" fmla="*/ 0 h 29"/>
                  <a:gd name="T2" fmla="*/ 12 w 12"/>
                  <a:gd name="T3" fmla="*/ 29 h 29"/>
                  <a:gd name="T4" fmla="*/ 6 w 12"/>
                  <a:gd name="T5" fmla="*/ 29 h 29"/>
                  <a:gd name="T6" fmla="*/ 6 w 12"/>
                  <a:gd name="T7" fmla="*/ 7 h 29"/>
                  <a:gd name="T8" fmla="*/ 5 w 12"/>
                  <a:gd name="T9" fmla="*/ 8 h 29"/>
                  <a:gd name="T10" fmla="*/ 4 w 12"/>
                  <a:gd name="T11" fmla="*/ 9 h 29"/>
                  <a:gd name="T12" fmla="*/ 2 w 12"/>
                  <a:gd name="T13" fmla="*/ 9 h 29"/>
                  <a:gd name="T14" fmla="*/ 0 w 12"/>
                  <a:gd name="T15" fmla="*/ 10 h 29"/>
                  <a:gd name="T16" fmla="*/ 0 w 12"/>
                  <a:gd name="T17" fmla="*/ 5 h 29"/>
                  <a:gd name="T18" fmla="*/ 5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2"/>
                      <a:pt x="12" y="18"/>
                      <a:pt x="12" y="29"/>
                    </a:cubicBezTo>
                    <a:cubicBezTo>
                      <a:pt x="10" y="29"/>
                      <a:pt x="8" y="29"/>
                      <a:pt x="6" y="29"/>
                    </a:cubicBezTo>
                    <a:cubicBezTo>
                      <a:pt x="6" y="20"/>
                      <a:pt x="6" y="16"/>
                      <a:pt x="6" y="7"/>
                    </a:cubicBezTo>
                    <a:cubicBezTo>
                      <a:pt x="6" y="7"/>
                      <a:pt x="6" y="8"/>
                      <a:pt x="5" y="8"/>
                    </a:cubicBezTo>
                    <a:cubicBezTo>
                      <a:pt x="5" y="8"/>
                      <a:pt x="4" y="9"/>
                      <a:pt x="4" y="9"/>
                    </a:cubicBezTo>
                    <a:cubicBezTo>
                      <a:pt x="3" y="9"/>
                      <a:pt x="2" y="9"/>
                      <a:pt x="2" y="9"/>
                    </a:cubicBezTo>
                    <a:cubicBezTo>
                      <a:pt x="1" y="9"/>
                      <a:pt x="1" y="10"/>
                      <a:pt x="0" y="10"/>
                    </a:cubicBezTo>
                    <a:cubicBezTo>
                      <a:pt x="0" y="8"/>
                      <a:pt x="0" y="7"/>
                      <a:pt x="0" y="5"/>
                    </a:cubicBezTo>
                    <a:cubicBezTo>
                      <a:pt x="2" y="4"/>
                      <a:pt x="4" y="3"/>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40" name="Freeform 189"/>
              <p:cNvSpPr>
                <a:spLocks noEditPoints="1"/>
              </p:cNvSpPr>
              <p:nvPr/>
            </p:nvSpPr>
            <p:spPr bwMode="auto">
              <a:xfrm>
                <a:off x="5351463" y="3408363"/>
                <a:ext cx="44450" cy="60325"/>
              </a:xfrm>
              <a:custGeom>
                <a:avLst/>
                <a:gdLst>
                  <a:gd name="T0" fmla="*/ 10 w 20"/>
                  <a:gd name="T1" fmla="*/ 27 h 27"/>
                  <a:gd name="T2" fmla="*/ 0 w 20"/>
                  <a:gd name="T3" fmla="*/ 14 h 27"/>
                  <a:gd name="T4" fmla="*/ 3 w 20"/>
                  <a:gd name="T5" fmla="*/ 3 h 27"/>
                  <a:gd name="T6" fmla="*/ 10 w 20"/>
                  <a:gd name="T7" fmla="*/ 0 h 27"/>
                  <a:gd name="T8" fmla="*/ 20 w 20"/>
                  <a:gd name="T9" fmla="*/ 13 h 27"/>
                  <a:gd name="T10" fmla="*/ 17 w 20"/>
                  <a:gd name="T11" fmla="*/ 24 h 27"/>
                  <a:gd name="T12" fmla="*/ 10 w 20"/>
                  <a:gd name="T13" fmla="*/ 27 h 27"/>
                  <a:gd name="T14" fmla="*/ 10 w 20"/>
                  <a:gd name="T15" fmla="*/ 4 h 27"/>
                  <a:gd name="T16" fmla="*/ 7 w 20"/>
                  <a:gd name="T17" fmla="*/ 14 h 27"/>
                  <a:gd name="T18" fmla="*/ 10 w 20"/>
                  <a:gd name="T19" fmla="*/ 23 h 27"/>
                  <a:gd name="T20" fmla="*/ 14 w 20"/>
                  <a:gd name="T21" fmla="*/ 14 h 27"/>
                  <a:gd name="T22" fmla="*/ 10 w 20"/>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7">
                    <a:moveTo>
                      <a:pt x="10" y="27"/>
                    </a:moveTo>
                    <a:cubicBezTo>
                      <a:pt x="3" y="27"/>
                      <a:pt x="0" y="23"/>
                      <a:pt x="0" y="14"/>
                    </a:cubicBezTo>
                    <a:cubicBezTo>
                      <a:pt x="0" y="10"/>
                      <a:pt x="1" y="6"/>
                      <a:pt x="3" y="3"/>
                    </a:cubicBezTo>
                    <a:cubicBezTo>
                      <a:pt x="5" y="1"/>
                      <a:pt x="7" y="0"/>
                      <a:pt x="10" y="0"/>
                    </a:cubicBezTo>
                    <a:cubicBezTo>
                      <a:pt x="17" y="0"/>
                      <a:pt x="20" y="4"/>
                      <a:pt x="20" y="13"/>
                    </a:cubicBezTo>
                    <a:cubicBezTo>
                      <a:pt x="20" y="18"/>
                      <a:pt x="19" y="21"/>
                      <a:pt x="17" y="24"/>
                    </a:cubicBezTo>
                    <a:cubicBezTo>
                      <a:pt x="16" y="26"/>
                      <a:pt x="13" y="27"/>
                      <a:pt x="10" y="27"/>
                    </a:cubicBezTo>
                    <a:close/>
                    <a:moveTo>
                      <a:pt x="10" y="4"/>
                    </a:moveTo>
                    <a:cubicBezTo>
                      <a:pt x="8" y="4"/>
                      <a:pt x="7" y="8"/>
                      <a:pt x="7" y="14"/>
                    </a:cubicBezTo>
                    <a:cubicBezTo>
                      <a:pt x="7" y="20"/>
                      <a:pt x="8" y="23"/>
                      <a:pt x="10" y="23"/>
                    </a:cubicBezTo>
                    <a:cubicBezTo>
                      <a:pt x="12" y="23"/>
                      <a:pt x="14" y="20"/>
                      <a:pt x="14" y="14"/>
                    </a:cubicBezTo>
                    <a:cubicBezTo>
                      <a:pt x="14"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41" name="Freeform 190"/>
              <p:cNvSpPr>
                <a:spLocks noEditPoints="1"/>
              </p:cNvSpPr>
              <p:nvPr/>
            </p:nvSpPr>
            <p:spPr bwMode="auto">
              <a:xfrm>
                <a:off x="5400675" y="3408363"/>
                <a:ext cx="42863" cy="60325"/>
              </a:xfrm>
              <a:custGeom>
                <a:avLst/>
                <a:gdLst>
                  <a:gd name="T0" fmla="*/ 10 w 19"/>
                  <a:gd name="T1" fmla="*/ 27 h 27"/>
                  <a:gd name="T2" fmla="*/ 0 w 19"/>
                  <a:gd name="T3" fmla="*/ 14 h 27"/>
                  <a:gd name="T4" fmla="*/ 3 w 19"/>
                  <a:gd name="T5" fmla="*/ 3 h 27"/>
                  <a:gd name="T6" fmla="*/ 10 w 19"/>
                  <a:gd name="T7" fmla="*/ 0 h 27"/>
                  <a:gd name="T8" fmla="*/ 19 w 19"/>
                  <a:gd name="T9" fmla="*/ 13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10"/>
                      <a:pt x="1" y="6"/>
                      <a:pt x="3" y="3"/>
                    </a:cubicBezTo>
                    <a:cubicBezTo>
                      <a:pt x="4" y="1"/>
                      <a:pt x="7" y="0"/>
                      <a:pt x="10" y="0"/>
                    </a:cubicBezTo>
                    <a:cubicBezTo>
                      <a:pt x="16" y="0"/>
                      <a:pt x="19" y="4"/>
                      <a:pt x="19" y="13"/>
                    </a:cubicBezTo>
                    <a:cubicBezTo>
                      <a:pt x="19" y="18"/>
                      <a:pt x="18" y="21"/>
                      <a:pt x="17" y="24"/>
                    </a:cubicBezTo>
                    <a:cubicBezTo>
                      <a:pt x="15" y="26"/>
                      <a:pt x="13" y="27"/>
                      <a:pt x="10" y="27"/>
                    </a:cubicBezTo>
                    <a:close/>
                    <a:moveTo>
                      <a:pt x="10" y="4"/>
                    </a:moveTo>
                    <a:cubicBezTo>
                      <a:pt x="8" y="4"/>
                      <a:pt x="6" y="8"/>
                      <a:pt x="6" y="14"/>
                    </a:cubicBezTo>
                    <a:cubicBezTo>
                      <a:pt x="6" y="20"/>
                      <a:pt x="8" y="23"/>
                      <a:pt x="10" y="23"/>
                    </a:cubicBezTo>
                    <a:cubicBezTo>
                      <a:pt x="12" y="23"/>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42" name="Freeform 191"/>
              <p:cNvSpPr>
                <a:spLocks noEditPoints="1"/>
              </p:cNvSpPr>
              <p:nvPr/>
            </p:nvSpPr>
            <p:spPr bwMode="auto">
              <a:xfrm>
                <a:off x="5449888" y="3408363"/>
                <a:ext cx="41275" cy="60325"/>
              </a:xfrm>
              <a:custGeom>
                <a:avLst/>
                <a:gdLst>
                  <a:gd name="T0" fmla="*/ 9 w 19"/>
                  <a:gd name="T1" fmla="*/ 27 h 27"/>
                  <a:gd name="T2" fmla="*/ 0 w 19"/>
                  <a:gd name="T3" fmla="*/ 14 h 27"/>
                  <a:gd name="T4" fmla="*/ 2 w 19"/>
                  <a:gd name="T5" fmla="*/ 3 h 27"/>
                  <a:gd name="T6" fmla="*/ 10 w 19"/>
                  <a:gd name="T7" fmla="*/ 0 h 27"/>
                  <a:gd name="T8" fmla="*/ 19 w 19"/>
                  <a:gd name="T9" fmla="*/ 13 h 27"/>
                  <a:gd name="T10" fmla="*/ 16 w 19"/>
                  <a:gd name="T11" fmla="*/ 24 h 27"/>
                  <a:gd name="T12" fmla="*/ 9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9" y="27"/>
                    </a:moveTo>
                    <a:cubicBezTo>
                      <a:pt x="3" y="27"/>
                      <a:pt x="0" y="23"/>
                      <a:pt x="0" y="14"/>
                    </a:cubicBezTo>
                    <a:cubicBezTo>
                      <a:pt x="0" y="10"/>
                      <a:pt x="1" y="6"/>
                      <a:pt x="2" y="3"/>
                    </a:cubicBezTo>
                    <a:cubicBezTo>
                      <a:pt x="4" y="1"/>
                      <a:pt x="6" y="0"/>
                      <a:pt x="10" y="0"/>
                    </a:cubicBezTo>
                    <a:cubicBezTo>
                      <a:pt x="16" y="0"/>
                      <a:pt x="19" y="4"/>
                      <a:pt x="19" y="13"/>
                    </a:cubicBezTo>
                    <a:cubicBezTo>
                      <a:pt x="19" y="18"/>
                      <a:pt x="18" y="21"/>
                      <a:pt x="16" y="24"/>
                    </a:cubicBezTo>
                    <a:cubicBezTo>
                      <a:pt x="15" y="26"/>
                      <a:pt x="12" y="27"/>
                      <a:pt x="9" y="27"/>
                    </a:cubicBezTo>
                    <a:close/>
                    <a:moveTo>
                      <a:pt x="10" y="4"/>
                    </a:moveTo>
                    <a:cubicBezTo>
                      <a:pt x="7" y="4"/>
                      <a:pt x="6" y="8"/>
                      <a:pt x="6" y="14"/>
                    </a:cubicBezTo>
                    <a:cubicBezTo>
                      <a:pt x="6" y="20"/>
                      <a:pt x="7" y="23"/>
                      <a:pt x="10" y="23"/>
                    </a:cubicBezTo>
                    <a:cubicBezTo>
                      <a:pt x="12" y="23"/>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43" name="Freeform 192"/>
              <p:cNvSpPr>
                <a:spLocks noEditPoints="1"/>
              </p:cNvSpPr>
              <p:nvPr/>
            </p:nvSpPr>
            <p:spPr bwMode="auto">
              <a:xfrm>
                <a:off x="5499100" y="3408363"/>
                <a:ext cx="41275" cy="60325"/>
              </a:xfrm>
              <a:custGeom>
                <a:avLst/>
                <a:gdLst>
                  <a:gd name="T0" fmla="*/ 9 w 19"/>
                  <a:gd name="T1" fmla="*/ 27 h 27"/>
                  <a:gd name="T2" fmla="*/ 0 w 19"/>
                  <a:gd name="T3" fmla="*/ 14 h 27"/>
                  <a:gd name="T4" fmla="*/ 2 w 19"/>
                  <a:gd name="T5" fmla="*/ 3 h 27"/>
                  <a:gd name="T6" fmla="*/ 10 w 19"/>
                  <a:gd name="T7" fmla="*/ 0 h 27"/>
                  <a:gd name="T8" fmla="*/ 19 w 19"/>
                  <a:gd name="T9" fmla="*/ 13 h 27"/>
                  <a:gd name="T10" fmla="*/ 16 w 19"/>
                  <a:gd name="T11" fmla="*/ 24 h 27"/>
                  <a:gd name="T12" fmla="*/ 9 w 19"/>
                  <a:gd name="T13" fmla="*/ 27 h 27"/>
                  <a:gd name="T14" fmla="*/ 9 w 19"/>
                  <a:gd name="T15" fmla="*/ 4 h 27"/>
                  <a:gd name="T16" fmla="*/ 5 w 19"/>
                  <a:gd name="T17" fmla="*/ 14 h 27"/>
                  <a:gd name="T18" fmla="*/ 9 w 19"/>
                  <a:gd name="T19" fmla="*/ 23 h 27"/>
                  <a:gd name="T20" fmla="*/ 13 w 19"/>
                  <a:gd name="T21" fmla="*/ 14 h 27"/>
                  <a:gd name="T22" fmla="*/ 9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9" y="27"/>
                    </a:moveTo>
                    <a:cubicBezTo>
                      <a:pt x="3" y="27"/>
                      <a:pt x="0" y="23"/>
                      <a:pt x="0" y="14"/>
                    </a:cubicBezTo>
                    <a:cubicBezTo>
                      <a:pt x="0" y="10"/>
                      <a:pt x="1" y="6"/>
                      <a:pt x="2" y="3"/>
                    </a:cubicBezTo>
                    <a:cubicBezTo>
                      <a:pt x="4" y="1"/>
                      <a:pt x="6" y="0"/>
                      <a:pt x="10" y="0"/>
                    </a:cubicBezTo>
                    <a:cubicBezTo>
                      <a:pt x="16" y="0"/>
                      <a:pt x="19" y="4"/>
                      <a:pt x="19" y="13"/>
                    </a:cubicBezTo>
                    <a:cubicBezTo>
                      <a:pt x="19" y="18"/>
                      <a:pt x="18" y="22"/>
                      <a:pt x="16" y="24"/>
                    </a:cubicBezTo>
                    <a:cubicBezTo>
                      <a:pt x="15" y="26"/>
                      <a:pt x="12" y="27"/>
                      <a:pt x="9" y="27"/>
                    </a:cubicBezTo>
                    <a:close/>
                    <a:moveTo>
                      <a:pt x="9" y="4"/>
                    </a:moveTo>
                    <a:cubicBezTo>
                      <a:pt x="7" y="4"/>
                      <a:pt x="5" y="8"/>
                      <a:pt x="5" y="14"/>
                    </a:cubicBezTo>
                    <a:cubicBezTo>
                      <a:pt x="5" y="20"/>
                      <a:pt x="7" y="23"/>
                      <a:pt x="9" y="23"/>
                    </a:cubicBezTo>
                    <a:cubicBezTo>
                      <a:pt x="12" y="23"/>
                      <a:pt x="13" y="20"/>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44" name="Freeform 193"/>
              <p:cNvSpPr>
                <a:spLocks/>
              </p:cNvSpPr>
              <p:nvPr/>
            </p:nvSpPr>
            <p:spPr bwMode="auto">
              <a:xfrm>
                <a:off x="5551488" y="3408363"/>
                <a:ext cx="25400" cy="60325"/>
              </a:xfrm>
              <a:custGeom>
                <a:avLst/>
                <a:gdLst>
                  <a:gd name="T0" fmla="*/ 11 w 11"/>
                  <a:gd name="T1" fmla="*/ 0 h 27"/>
                  <a:gd name="T2" fmla="*/ 11 w 11"/>
                  <a:gd name="T3" fmla="*/ 27 h 27"/>
                  <a:gd name="T4" fmla="*/ 6 w 11"/>
                  <a:gd name="T5" fmla="*/ 27 h 27"/>
                  <a:gd name="T6" fmla="*/ 6 w 11"/>
                  <a:gd name="T7" fmla="*/ 7 h 27"/>
                  <a:gd name="T8" fmla="*/ 4 w 11"/>
                  <a:gd name="T9" fmla="*/ 7 h 27"/>
                  <a:gd name="T10" fmla="*/ 3 w 11"/>
                  <a:gd name="T11" fmla="*/ 8 h 27"/>
                  <a:gd name="T12" fmla="*/ 1 w 11"/>
                  <a:gd name="T13" fmla="*/ 9 h 27"/>
                  <a:gd name="T14" fmla="*/ 0 w 11"/>
                  <a:gd name="T15" fmla="*/ 9 h 27"/>
                  <a:gd name="T16" fmla="*/ 0 w 11"/>
                  <a:gd name="T17" fmla="*/ 4 h 27"/>
                  <a:gd name="T18" fmla="*/ 4 w 11"/>
                  <a:gd name="T19" fmla="*/ 2 h 27"/>
                  <a:gd name="T20" fmla="*/ 8 w 11"/>
                  <a:gd name="T21" fmla="*/ 0 h 27"/>
                  <a:gd name="T22" fmla="*/ 11 w 11"/>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7">
                    <a:moveTo>
                      <a:pt x="11" y="0"/>
                    </a:moveTo>
                    <a:cubicBezTo>
                      <a:pt x="11" y="11"/>
                      <a:pt x="11" y="16"/>
                      <a:pt x="11" y="27"/>
                    </a:cubicBezTo>
                    <a:cubicBezTo>
                      <a:pt x="9" y="27"/>
                      <a:pt x="8" y="27"/>
                      <a:pt x="6" y="27"/>
                    </a:cubicBezTo>
                    <a:cubicBezTo>
                      <a:pt x="6" y="19"/>
                      <a:pt x="6" y="14"/>
                      <a:pt x="6" y="7"/>
                    </a:cubicBezTo>
                    <a:cubicBezTo>
                      <a:pt x="6" y="7"/>
                      <a:pt x="5" y="7"/>
                      <a:pt x="4" y="7"/>
                    </a:cubicBezTo>
                    <a:cubicBezTo>
                      <a:pt x="4" y="8"/>
                      <a:pt x="3" y="8"/>
                      <a:pt x="3" y="8"/>
                    </a:cubicBezTo>
                    <a:cubicBezTo>
                      <a:pt x="2" y="8"/>
                      <a:pt x="2" y="8"/>
                      <a:pt x="1" y="9"/>
                    </a:cubicBezTo>
                    <a:cubicBezTo>
                      <a:pt x="1" y="9"/>
                      <a:pt x="0" y="9"/>
                      <a:pt x="0" y="9"/>
                    </a:cubicBezTo>
                    <a:cubicBezTo>
                      <a:pt x="0" y="7"/>
                      <a:pt x="0" y="6"/>
                      <a:pt x="0" y="4"/>
                    </a:cubicBezTo>
                    <a:cubicBezTo>
                      <a:pt x="1" y="4"/>
                      <a:pt x="3" y="3"/>
                      <a:pt x="4" y="2"/>
                    </a:cubicBezTo>
                    <a:cubicBezTo>
                      <a:pt x="6"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45" name="Freeform 194"/>
              <p:cNvSpPr>
                <a:spLocks noEditPoints="1"/>
              </p:cNvSpPr>
              <p:nvPr/>
            </p:nvSpPr>
            <p:spPr bwMode="auto">
              <a:xfrm>
                <a:off x="5594350" y="3408363"/>
                <a:ext cx="41275" cy="60325"/>
              </a:xfrm>
              <a:custGeom>
                <a:avLst/>
                <a:gdLst>
                  <a:gd name="T0" fmla="*/ 9 w 19"/>
                  <a:gd name="T1" fmla="*/ 27 h 27"/>
                  <a:gd name="T2" fmla="*/ 0 w 19"/>
                  <a:gd name="T3" fmla="*/ 14 h 27"/>
                  <a:gd name="T4" fmla="*/ 3 w 19"/>
                  <a:gd name="T5" fmla="*/ 3 h 27"/>
                  <a:gd name="T6" fmla="*/ 10 w 19"/>
                  <a:gd name="T7" fmla="*/ 0 h 27"/>
                  <a:gd name="T8" fmla="*/ 19 w 19"/>
                  <a:gd name="T9" fmla="*/ 13 h 27"/>
                  <a:gd name="T10" fmla="*/ 17 w 19"/>
                  <a:gd name="T11" fmla="*/ 24 h 27"/>
                  <a:gd name="T12" fmla="*/ 9 w 19"/>
                  <a:gd name="T13" fmla="*/ 27 h 27"/>
                  <a:gd name="T14" fmla="*/ 9 w 19"/>
                  <a:gd name="T15" fmla="*/ 4 h 27"/>
                  <a:gd name="T16" fmla="*/ 6 w 19"/>
                  <a:gd name="T17" fmla="*/ 14 h 27"/>
                  <a:gd name="T18" fmla="*/ 9 w 19"/>
                  <a:gd name="T19" fmla="*/ 23 h 27"/>
                  <a:gd name="T20" fmla="*/ 13 w 19"/>
                  <a:gd name="T21" fmla="*/ 14 h 27"/>
                  <a:gd name="T22" fmla="*/ 9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9" y="27"/>
                    </a:moveTo>
                    <a:cubicBezTo>
                      <a:pt x="3" y="27"/>
                      <a:pt x="0" y="23"/>
                      <a:pt x="0" y="14"/>
                    </a:cubicBezTo>
                    <a:cubicBezTo>
                      <a:pt x="0" y="10"/>
                      <a:pt x="1" y="6"/>
                      <a:pt x="3" y="3"/>
                    </a:cubicBezTo>
                    <a:cubicBezTo>
                      <a:pt x="4" y="1"/>
                      <a:pt x="7" y="0"/>
                      <a:pt x="10" y="0"/>
                    </a:cubicBezTo>
                    <a:cubicBezTo>
                      <a:pt x="16" y="0"/>
                      <a:pt x="19" y="4"/>
                      <a:pt x="19" y="13"/>
                    </a:cubicBezTo>
                    <a:cubicBezTo>
                      <a:pt x="19" y="18"/>
                      <a:pt x="18" y="22"/>
                      <a:pt x="17" y="24"/>
                    </a:cubicBezTo>
                    <a:cubicBezTo>
                      <a:pt x="15" y="26"/>
                      <a:pt x="13" y="27"/>
                      <a:pt x="9" y="27"/>
                    </a:cubicBezTo>
                    <a:close/>
                    <a:moveTo>
                      <a:pt x="9" y="4"/>
                    </a:moveTo>
                    <a:cubicBezTo>
                      <a:pt x="7" y="4"/>
                      <a:pt x="6" y="8"/>
                      <a:pt x="6" y="14"/>
                    </a:cubicBezTo>
                    <a:cubicBezTo>
                      <a:pt x="6" y="20"/>
                      <a:pt x="7" y="23"/>
                      <a:pt x="9" y="23"/>
                    </a:cubicBezTo>
                    <a:cubicBezTo>
                      <a:pt x="12" y="23"/>
                      <a:pt x="13" y="20"/>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46" name="Freeform 195"/>
              <p:cNvSpPr>
                <a:spLocks noEditPoints="1"/>
              </p:cNvSpPr>
              <p:nvPr/>
            </p:nvSpPr>
            <p:spPr bwMode="auto">
              <a:xfrm>
                <a:off x="5640388" y="3408363"/>
                <a:ext cx="44450" cy="63500"/>
              </a:xfrm>
              <a:custGeom>
                <a:avLst/>
                <a:gdLst>
                  <a:gd name="T0" fmla="*/ 10 w 20"/>
                  <a:gd name="T1" fmla="*/ 28 h 28"/>
                  <a:gd name="T2" fmla="*/ 0 w 20"/>
                  <a:gd name="T3" fmla="*/ 14 h 28"/>
                  <a:gd name="T4" fmla="*/ 3 w 20"/>
                  <a:gd name="T5" fmla="*/ 3 h 28"/>
                  <a:gd name="T6" fmla="*/ 10 w 20"/>
                  <a:gd name="T7" fmla="*/ 0 h 28"/>
                  <a:gd name="T8" fmla="*/ 20 w 20"/>
                  <a:gd name="T9" fmla="*/ 13 h 28"/>
                  <a:gd name="T10" fmla="*/ 17 w 20"/>
                  <a:gd name="T11" fmla="*/ 24 h 28"/>
                  <a:gd name="T12" fmla="*/ 10 w 20"/>
                  <a:gd name="T13" fmla="*/ 28 h 28"/>
                  <a:gd name="T14" fmla="*/ 10 w 20"/>
                  <a:gd name="T15" fmla="*/ 5 h 28"/>
                  <a:gd name="T16" fmla="*/ 7 w 20"/>
                  <a:gd name="T17" fmla="*/ 14 h 28"/>
                  <a:gd name="T18" fmla="*/ 10 w 20"/>
                  <a:gd name="T19" fmla="*/ 23 h 28"/>
                  <a:gd name="T20" fmla="*/ 14 w 20"/>
                  <a:gd name="T21" fmla="*/ 14 h 28"/>
                  <a:gd name="T22" fmla="*/ 10 w 20"/>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8">
                    <a:moveTo>
                      <a:pt x="10" y="28"/>
                    </a:moveTo>
                    <a:cubicBezTo>
                      <a:pt x="4" y="28"/>
                      <a:pt x="0" y="23"/>
                      <a:pt x="0" y="14"/>
                    </a:cubicBezTo>
                    <a:cubicBezTo>
                      <a:pt x="0" y="10"/>
                      <a:pt x="1" y="6"/>
                      <a:pt x="3" y="3"/>
                    </a:cubicBezTo>
                    <a:cubicBezTo>
                      <a:pt x="5" y="1"/>
                      <a:pt x="7" y="0"/>
                      <a:pt x="10" y="0"/>
                    </a:cubicBezTo>
                    <a:cubicBezTo>
                      <a:pt x="17" y="0"/>
                      <a:pt x="20" y="5"/>
                      <a:pt x="20" y="13"/>
                    </a:cubicBezTo>
                    <a:cubicBezTo>
                      <a:pt x="20" y="18"/>
                      <a:pt x="19" y="22"/>
                      <a:pt x="17" y="24"/>
                    </a:cubicBezTo>
                    <a:cubicBezTo>
                      <a:pt x="16" y="27"/>
                      <a:pt x="13" y="28"/>
                      <a:pt x="10" y="28"/>
                    </a:cubicBezTo>
                    <a:close/>
                    <a:moveTo>
                      <a:pt x="10" y="5"/>
                    </a:moveTo>
                    <a:cubicBezTo>
                      <a:pt x="8" y="5"/>
                      <a:pt x="7" y="8"/>
                      <a:pt x="7" y="14"/>
                    </a:cubicBezTo>
                    <a:cubicBezTo>
                      <a:pt x="7" y="20"/>
                      <a:pt x="8" y="23"/>
                      <a:pt x="10" y="23"/>
                    </a:cubicBezTo>
                    <a:cubicBezTo>
                      <a:pt x="12" y="23"/>
                      <a:pt x="14" y="20"/>
                      <a:pt x="14" y="14"/>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47" name="Freeform 196"/>
              <p:cNvSpPr>
                <a:spLocks/>
              </p:cNvSpPr>
              <p:nvPr/>
            </p:nvSpPr>
            <p:spPr bwMode="auto">
              <a:xfrm>
                <a:off x="5695950" y="3408363"/>
                <a:ext cx="26988" cy="60325"/>
              </a:xfrm>
              <a:custGeom>
                <a:avLst/>
                <a:gdLst>
                  <a:gd name="T0" fmla="*/ 12 w 12"/>
                  <a:gd name="T1" fmla="*/ 0 h 27"/>
                  <a:gd name="T2" fmla="*/ 12 w 12"/>
                  <a:gd name="T3" fmla="*/ 27 h 27"/>
                  <a:gd name="T4" fmla="*/ 6 w 12"/>
                  <a:gd name="T5" fmla="*/ 27 h 27"/>
                  <a:gd name="T6" fmla="*/ 6 w 12"/>
                  <a:gd name="T7" fmla="*/ 7 h 27"/>
                  <a:gd name="T8" fmla="*/ 4 w 12"/>
                  <a:gd name="T9" fmla="*/ 7 h 27"/>
                  <a:gd name="T10" fmla="*/ 3 w 12"/>
                  <a:gd name="T11" fmla="*/ 8 h 27"/>
                  <a:gd name="T12" fmla="*/ 2 w 12"/>
                  <a:gd name="T13" fmla="*/ 9 h 27"/>
                  <a:gd name="T14" fmla="*/ 0 w 12"/>
                  <a:gd name="T15" fmla="*/ 9 h 27"/>
                  <a:gd name="T16" fmla="*/ 0 w 12"/>
                  <a:gd name="T17" fmla="*/ 4 h 27"/>
                  <a:gd name="T18" fmla="*/ 4 w 12"/>
                  <a:gd name="T19" fmla="*/ 2 h 27"/>
                  <a:gd name="T20" fmla="*/ 8 w 12"/>
                  <a:gd name="T21" fmla="*/ 0 h 27"/>
                  <a:gd name="T22" fmla="*/ 12 w 1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7">
                    <a:moveTo>
                      <a:pt x="12" y="0"/>
                    </a:moveTo>
                    <a:cubicBezTo>
                      <a:pt x="12" y="11"/>
                      <a:pt x="12" y="16"/>
                      <a:pt x="12" y="27"/>
                    </a:cubicBezTo>
                    <a:cubicBezTo>
                      <a:pt x="9" y="27"/>
                      <a:pt x="8" y="27"/>
                      <a:pt x="6" y="27"/>
                    </a:cubicBezTo>
                    <a:cubicBezTo>
                      <a:pt x="6" y="19"/>
                      <a:pt x="6" y="15"/>
                      <a:pt x="6" y="7"/>
                    </a:cubicBezTo>
                    <a:cubicBezTo>
                      <a:pt x="5" y="7"/>
                      <a:pt x="5" y="7"/>
                      <a:pt x="4" y="7"/>
                    </a:cubicBezTo>
                    <a:cubicBezTo>
                      <a:pt x="4" y="8"/>
                      <a:pt x="4" y="8"/>
                      <a:pt x="3" y="8"/>
                    </a:cubicBezTo>
                    <a:cubicBezTo>
                      <a:pt x="3" y="8"/>
                      <a:pt x="2" y="8"/>
                      <a:pt x="2" y="9"/>
                    </a:cubicBezTo>
                    <a:cubicBezTo>
                      <a:pt x="1" y="9"/>
                      <a:pt x="1" y="9"/>
                      <a:pt x="0" y="9"/>
                    </a:cubicBezTo>
                    <a:cubicBezTo>
                      <a:pt x="0" y="7"/>
                      <a:pt x="0" y="6"/>
                      <a:pt x="0" y="4"/>
                    </a:cubicBezTo>
                    <a:cubicBezTo>
                      <a:pt x="2" y="3"/>
                      <a:pt x="3" y="3"/>
                      <a:pt x="4" y="2"/>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48" name="Freeform 197"/>
              <p:cNvSpPr>
                <a:spLocks/>
              </p:cNvSpPr>
              <p:nvPr/>
            </p:nvSpPr>
            <p:spPr bwMode="auto">
              <a:xfrm>
                <a:off x="5743575" y="3408363"/>
                <a:ext cx="25400" cy="60325"/>
              </a:xfrm>
              <a:custGeom>
                <a:avLst/>
                <a:gdLst>
                  <a:gd name="T0" fmla="*/ 12 w 12"/>
                  <a:gd name="T1" fmla="*/ 0 h 27"/>
                  <a:gd name="T2" fmla="*/ 12 w 12"/>
                  <a:gd name="T3" fmla="*/ 27 h 27"/>
                  <a:gd name="T4" fmla="*/ 6 w 12"/>
                  <a:gd name="T5" fmla="*/ 27 h 27"/>
                  <a:gd name="T6" fmla="*/ 6 w 12"/>
                  <a:gd name="T7" fmla="*/ 7 h 27"/>
                  <a:gd name="T8" fmla="*/ 5 w 12"/>
                  <a:gd name="T9" fmla="*/ 7 h 27"/>
                  <a:gd name="T10" fmla="*/ 4 w 12"/>
                  <a:gd name="T11" fmla="*/ 8 h 27"/>
                  <a:gd name="T12" fmla="*/ 2 w 12"/>
                  <a:gd name="T13" fmla="*/ 9 h 27"/>
                  <a:gd name="T14" fmla="*/ 0 w 12"/>
                  <a:gd name="T15" fmla="*/ 9 h 27"/>
                  <a:gd name="T16" fmla="*/ 0 w 12"/>
                  <a:gd name="T17" fmla="*/ 4 h 27"/>
                  <a:gd name="T18" fmla="*/ 5 w 12"/>
                  <a:gd name="T19" fmla="*/ 2 h 27"/>
                  <a:gd name="T20" fmla="*/ 8 w 12"/>
                  <a:gd name="T21" fmla="*/ 0 h 27"/>
                  <a:gd name="T22" fmla="*/ 12 w 1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7">
                    <a:moveTo>
                      <a:pt x="12" y="0"/>
                    </a:moveTo>
                    <a:cubicBezTo>
                      <a:pt x="12" y="11"/>
                      <a:pt x="12" y="16"/>
                      <a:pt x="12" y="27"/>
                    </a:cubicBezTo>
                    <a:cubicBezTo>
                      <a:pt x="10" y="27"/>
                      <a:pt x="8" y="27"/>
                      <a:pt x="6" y="27"/>
                    </a:cubicBezTo>
                    <a:cubicBezTo>
                      <a:pt x="6" y="19"/>
                      <a:pt x="6" y="15"/>
                      <a:pt x="6" y="7"/>
                    </a:cubicBezTo>
                    <a:cubicBezTo>
                      <a:pt x="6" y="7"/>
                      <a:pt x="6" y="7"/>
                      <a:pt x="5" y="7"/>
                    </a:cubicBezTo>
                    <a:cubicBezTo>
                      <a:pt x="5" y="8"/>
                      <a:pt x="4" y="8"/>
                      <a:pt x="4" y="8"/>
                    </a:cubicBezTo>
                    <a:cubicBezTo>
                      <a:pt x="3" y="8"/>
                      <a:pt x="3" y="8"/>
                      <a:pt x="2" y="9"/>
                    </a:cubicBezTo>
                    <a:cubicBezTo>
                      <a:pt x="2" y="9"/>
                      <a:pt x="1" y="9"/>
                      <a:pt x="0" y="9"/>
                    </a:cubicBezTo>
                    <a:cubicBezTo>
                      <a:pt x="0" y="7"/>
                      <a:pt x="0" y="6"/>
                      <a:pt x="0" y="4"/>
                    </a:cubicBezTo>
                    <a:cubicBezTo>
                      <a:pt x="2" y="3"/>
                      <a:pt x="4" y="3"/>
                      <a:pt x="5" y="2"/>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49" name="Freeform 198"/>
              <p:cNvSpPr>
                <a:spLocks noEditPoints="1"/>
              </p:cNvSpPr>
              <p:nvPr/>
            </p:nvSpPr>
            <p:spPr bwMode="auto">
              <a:xfrm>
                <a:off x="5786438" y="3408363"/>
                <a:ext cx="42863" cy="63500"/>
              </a:xfrm>
              <a:custGeom>
                <a:avLst/>
                <a:gdLst>
                  <a:gd name="T0" fmla="*/ 9 w 19"/>
                  <a:gd name="T1" fmla="*/ 28 h 28"/>
                  <a:gd name="T2" fmla="*/ 0 w 19"/>
                  <a:gd name="T3" fmla="*/ 14 h 28"/>
                  <a:gd name="T4" fmla="*/ 2 w 19"/>
                  <a:gd name="T5" fmla="*/ 3 h 28"/>
                  <a:gd name="T6" fmla="*/ 10 w 19"/>
                  <a:gd name="T7" fmla="*/ 0 h 28"/>
                  <a:gd name="T8" fmla="*/ 19 w 19"/>
                  <a:gd name="T9" fmla="*/ 14 h 28"/>
                  <a:gd name="T10" fmla="*/ 17 w 19"/>
                  <a:gd name="T11" fmla="*/ 24 h 28"/>
                  <a:gd name="T12" fmla="*/ 9 w 19"/>
                  <a:gd name="T13" fmla="*/ 28 h 28"/>
                  <a:gd name="T14" fmla="*/ 9 w 19"/>
                  <a:gd name="T15" fmla="*/ 5 h 28"/>
                  <a:gd name="T16" fmla="*/ 6 w 19"/>
                  <a:gd name="T17" fmla="*/ 14 h 28"/>
                  <a:gd name="T18" fmla="*/ 9 w 19"/>
                  <a:gd name="T19" fmla="*/ 23 h 28"/>
                  <a:gd name="T20" fmla="*/ 13 w 19"/>
                  <a:gd name="T21" fmla="*/ 14 h 28"/>
                  <a:gd name="T22" fmla="*/ 9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10"/>
                      <a:pt x="0" y="6"/>
                      <a:pt x="2" y="3"/>
                    </a:cubicBezTo>
                    <a:cubicBezTo>
                      <a:pt x="4" y="1"/>
                      <a:pt x="7" y="0"/>
                      <a:pt x="10" y="0"/>
                    </a:cubicBezTo>
                    <a:cubicBezTo>
                      <a:pt x="16" y="0"/>
                      <a:pt x="19" y="5"/>
                      <a:pt x="19" y="14"/>
                    </a:cubicBezTo>
                    <a:cubicBezTo>
                      <a:pt x="19" y="19"/>
                      <a:pt x="18" y="22"/>
                      <a:pt x="17" y="24"/>
                    </a:cubicBezTo>
                    <a:cubicBezTo>
                      <a:pt x="14" y="27"/>
                      <a:pt x="12" y="28"/>
                      <a:pt x="9" y="28"/>
                    </a:cubicBezTo>
                    <a:close/>
                    <a:moveTo>
                      <a:pt x="9" y="5"/>
                    </a:moveTo>
                    <a:cubicBezTo>
                      <a:pt x="7" y="5"/>
                      <a:pt x="6" y="8"/>
                      <a:pt x="6" y="14"/>
                    </a:cubicBezTo>
                    <a:cubicBezTo>
                      <a:pt x="6" y="20"/>
                      <a:pt x="7" y="23"/>
                      <a:pt x="9" y="23"/>
                    </a:cubicBezTo>
                    <a:cubicBezTo>
                      <a:pt x="12" y="23"/>
                      <a:pt x="13" y="20"/>
                      <a:pt x="13" y="14"/>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50" name="Freeform 199"/>
              <p:cNvSpPr>
                <a:spLocks/>
              </p:cNvSpPr>
              <p:nvPr/>
            </p:nvSpPr>
            <p:spPr bwMode="auto">
              <a:xfrm>
                <a:off x="5840413" y="3408363"/>
                <a:ext cx="23813" cy="63500"/>
              </a:xfrm>
              <a:custGeom>
                <a:avLst/>
                <a:gdLst>
                  <a:gd name="T0" fmla="*/ 11 w 11"/>
                  <a:gd name="T1" fmla="*/ 0 h 28"/>
                  <a:gd name="T2" fmla="*/ 11 w 11"/>
                  <a:gd name="T3" fmla="*/ 28 h 28"/>
                  <a:gd name="T4" fmla="*/ 6 w 11"/>
                  <a:gd name="T5" fmla="*/ 28 h 28"/>
                  <a:gd name="T6" fmla="*/ 6 w 11"/>
                  <a:gd name="T7" fmla="*/ 7 h 28"/>
                  <a:gd name="T8" fmla="*/ 5 w 11"/>
                  <a:gd name="T9" fmla="*/ 7 h 28"/>
                  <a:gd name="T10" fmla="*/ 3 w 11"/>
                  <a:gd name="T11" fmla="*/ 8 h 28"/>
                  <a:gd name="T12" fmla="*/ 1 w 11"/>
                  <a:gd name="T13" fmla="*/ 9 h 28"/>
                  <a:gd name="T14" fmla="*/ 0 w 11"/>
                  <a:gd name="T15" fmla="*/ 9 h 28"/>
                  <a:gd name="T16" fmla="*/ 0 w 11"/>
                  <a:gd name="T17" fmla="*/ 4 h 28"/>
                  <a:gd name="T18" fmla="*/ 4 w 11"/>
                  <a:gd name="T19" fmla="*/ 2 h 28"/>
                  <a:gd name="T20" fmla="*/ 8 w 11"/>
                  <a:gd name="T21" fmla="*/ 0 h 28"/>
                  <a:gd name="T22" fmla="*/ 11 w 11"/>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8">
                    <a:moveTo>
                      <a:pt x="11" y="0"/>
                    </a:moveTo>
                    <a:cubicBezTo>
                      <a:pt x="11" y="11"/>
                      <a:pt x="11" y="17"/>
                      <a:pt x="11" y="28"/>
                    </a:cubicBezTo>
                    <a:cubicBezTo>
                      <a:pt x="9" y="28"/>
                      <a:pt x="8" y="28"/>
                      <a:pt x="6" y="28"/>
                    </a:cubicBezTo>
                    <a:cubicBezTo>
                      <a:pt x="6" y="19"/>
                      <a:pt x="6" y="15"/>
                      <a:pt x="6" y="7"/>
                    </a:cubicBezTo>
                    <a:cubicBezTo>
                      <a:pt x="5" y="7"/>
                      <a:pt x="5" y="7"/>
                      <a:pt x="5" y="7"/>
                    </a:cubicBezTo>
                    <a:cubicBezTo>
                      <a:pt x="4" y="8"/>
                      <a:pt x="3" y="8"/>
                      <a:pt x="3" y="8"/>
                    </a:cubicBezTo>
                    <a:cubicBezTo>
                      <a:pt x="2" y="8"/>
                      <a:pt x="2" y="9"/>
                      <a:pt x="1" y="9"/>
                    </a:cubicBezTo>
                    <a:cubicBezTo>
                      <a:pt x="1" y="9"/>
                      <a:pt x="0" y="9"/>
                      <a:pt x="0" y="9"/>
                    </a:cubicBezTo>
                    <a:cubicBezTo>
                      <a:pt x="0" y="7"/>
                      <a:pt x="0" y="6"/>
                      <a:pt x="0" y="4"/>
                    </a:cubicBezTo>
                    <a:cubicBezTo>
                      <a:pt x="1" y="4"/>
                      <a:pt x="3" y="3"/>
                      <a:pt x="4" y="2"/>
                    </a:cubicBezTo>
                    <a:cubicBezTo>
                      <a:pt x="6"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51" name="Freeform 200"/>
              <p:cNvSpPr>
                <a:spLocks/>
              </p:cNvSpPr>
              <p:nvPr/>
            </p:nvSpPr>
            <p:spPr bwMode="auto">
              <a:xfrm>
                <a:off x="5889625" y="3408363"/>
                <a:ext cx="23813" cy="63500"/>
              </a:xfrm>
              <a:custGeom>
                <a:avLst/>
                <a:gdLst>
                  <a:gd name="T0" fmla="*/ 11 w 11"/>
                  <a:gd name="T1" fmla="*/ 0 h 28"/>
                  <a:gd name="T2" fmla="*/ 11 w 11"/>
                  <a:gd name="T3" fmla="*/ 28 h 28"/>
                  <a:gd name="T4" fmla="*/ 5 w 11"/>
                  <a:gd name="T5" fmla="*/ 28 h 28"/>
                  <a:gd name="T6" fmla="*/ 5 w 11"/>
                  <a:gd name="T7" fmla="*/ 7 h 28"/>
                  <a:gd name="T8" fmla="*/ 4 w 11"/>
                  <a:gd name="T9" fmla="*/ 7 h 28"/>
                  <a:gd name="T10" fmla="*/ 3 w 11"/>
                  <a:gd name="T11" fmla="*/ 8 h 28"/>
                  <a:gd name="T12" fmla="*/ 2 w 11"/>
                  <a:gd name="T13" fmla="*/ 9 h 28"/>
                  <a:gd name="T14" fmla="*/ 0 w 11"/>
                  <a:gd name="T15" fmla="*/ 9 h 28"/>
                  <a:gd name="T16" fmla="*/ 0 w 11"/>
                  <a:gd name="T17" fmla="*/ 4 h 28"/>
                  <a:gd name="T18" fmla="*/ 4 w 11"/>
                  <a:gd name="T19" fmla="*/ 2 h 28"/>
                  <a:gd name="T20" fmla="*/ 8 w 11"/>
                  <a:gd name="T21" fmla="*/ 0 h 28"/>
                  <a:gd name="T22" fmla="*/ 11 w 11"/>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8">
                    <a:moveTo>
                      <a:pt x="11" y="0"/>
                    </a:moveTo>
                    <a:cubicBezTo>
                      <a:pt x="11" y="11"/>
                      <a:pt x="11" y="17"/>
                      <a:pt x="11" y="28"/>
                    </a:cubicBezTo>
                    <a:cubicBezTo>
                      <a:pt x="9" y="28"/>
                      <a:pt x="8" y="28"/>
                      <a:pt x="5" y="28"/>
                    </a:cubicBezTo>
                    <a:cubicBezTo>
                      <a:pt x="5" y="19"/>
                      <a:pt x="5" y="15"/>
                      <a:pt x="5" y="7"/>
                    </a:cubicBezTo>
                    <a:cubicBezTo>
                      <a:pt x="5" y="7"/>
                      <a:pt x="5" y="7"/>
                      <a:pt x="4" y="7"/>
                    </a:cubicBezTo>
                    <a:cubicBezTo>
                      <a:pt x="4" y="8"/>
                      <a:pt x="4" y="8"/>
                      <a:pt x="3" y="8"/>
                    </a:cubicBezTo>
                    <a:cubicBezTo>
                      <a:pt x="3" y="8"/>
                      <a:pt x="2" y="9"/>
                      <a:pt x="2" y="9"/>
                    </a:cubicBezTo>
                    <a:cubicBezTo>
                      <a:pt x="1" y="9"/>
                      <a:pt x="0" y="9"/>
                      <a:pt x="0" y="9"/>
                    </a:cubicBezTo>
                    <a:cubicBezTo>
                      <a:pt x="0" y="7"/>
                      <a:pt x="0" y="6"/>
                      <a:pt x="0" y="4"/>
                    </a:cubicBezTo>
                    <a:cubicBezTo>
                      <a:pt x="2" y="4"/>
                      <a:pt x="3" y="3"/>
                      <a:pt x="4" y="2"/>
                    </a:cubicBezTo>
                    <a:cubicBezTo>
                      <a:pt x="5"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52" name="Freeform 201"/>
              <p:cNvSpPr>
                <a:spLocks noEditPoints="1"/>
              </p:cNvSpPr>
              <p:nvPr/>
            </p:nvSpPr>
            <p:spPr bwMode="auto">
              <a:xfrm>
                <a:off x="5930900" y="3408363"/>
                <a:ext cx="42863" cy="65088"/>
              </a:xfrm>
              <a:custGeom>
                <a:avLst/>
                <a:gdLst>
                  <a:gd name="T0" fmla="*/ 9 w 19"/>
                  <a:gd name="T1" fmla="*/ 29 h 29"/>
                  <a:gd name="T2" fmla="*/ 0 w 19"/>
                  <a:gd name="T3" fmla="*/ 14 h 29"/>
                  <a:gd name="T4" fmla="*/ 2 w 19"/>
                  <a:gd name="T5" fmla="*/ 3 h 29"/>
                  <a:gd name="T6" fmla="*/ 10 w 19"/>
                  <a:gd name="T7" fmla="*/ 0 h 29"/>
                  <a:gd name="T8" fmla="*/ 19 w 19"/>
                  <a:gd name="T9" fmla="*/ 14 h 29"/>
                  <a:gd name="T10" fmla="*/ 16 w 19"/>
                  <a:gd name="T11" fmla="*/ 24 h 29"/>
                  <a:gd name="T12" fmla="*/ 9 w 19"/>
                  <a:gd name="T13" fmla="*/ 29 h 29"/>
                  <a:gd name="T14" fmla="*/ 10 w 19"/>
                  <a:gd name="T15" fmla="*/ 4 h 29"/>
                  <a:gd name="T16" fmla="*/ 5 w 19"/>
                  <a:gd name="T17" fmla="*/ 14 h 29"/>
                  <a:gd name="T18" fmla="*/ 10 w 19"/>
                  <a:gd name="T19" fmla="*/ 24 h 29"/>
                  <a:gd name="T20" fmla="*/ 13 w 19"/>
                  <a:gd name="T21" fmla="*/ 14 h 29"/>
                  <a:gd name="T22" fmla="*/ 10 w 19"/>
                  <a:gd name="T23"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4"/>
                    </a:cubicBezTo>
                    <a:cubicBezTo>
                      <a:pt x="0" y="10"/>
                      <a:pt x="1" y="6"/>
                      <a:pt x="2" y="3"/>
                    </a:cubicBezTo>
                    <a:cubicBezTo>
                      <a:pt x="4" y="1"/>
                      <a:pt x="7" y="0"/>
                      <a:pt x="10" y="0"/>
                    </a:cubicBezTo>
                    <a:cubicBezTo>
                      <a:pt x="16" y="0"/>
                      <a:pt x="19" y="4"/>
                      <a:pt x="19" y="14"/>
                    </a:cubicBezTo>
                    <a:cubicBezTo>
                      <a:pt x="19" y="19"/>
                      <a:pt x="18" y="22"/>
                      <a:pt x="16" y="24"/>
                    </a:cubicBezTo>
                    <a:cubicBezTo>
                      <a:pt x="15" y="27"/>
                      <a:pt x="12" y="29"/>
                      <a:pt x="9" y="29"/>
                    </a:cubicBezTo>
                    <a:close/>
                    <a:moveTo>
                      <a:pt x="10" y="4"/>
                    </a:moveTo>
                    <a:cubicBezTo>
                      <a:pt x="7" y="4"/>
                      <a:pt x="5" y="8"/>
                      <a:pt x="5" y="14"/>
                    </a:cubicBezTo>
                    <a:cubicBezTo>
                      <a:pt x="5" y="20"/>
                      <a:pt x="7" y="24"/>
                      <a:pt x="10" y="24"/>
                    </a:cubicBezTo>
                    <a:cubicBezTo>
                      <a:pt x="12" y="24"/>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53" name="Freeform 202"/>
              <p:cNvSpPr>
                <a:spLocks/>
              </p:cNvSpPr>
              <p:nvPr/>
            </p:nvSpPr>
            <p:spPr bwMode="auto">
              <a:xfrm>
                <a:off x="5360988" y="3494088"/>
                <a:ext cx="22225" cy="58738"/>
              </a:xfrm>
              <a:custGeom>
                <a:avLst/>
                <a:gdLst>
                  <a:gd name="T0" fmla="*/ 10 w 10"/>
                  <a:gd name="T1" fmla="*/ 0 h 27"/>
                  <a:gd name="T2" fmla="*/ 10 w 10"/>
                  <a:gd name="T3" fmla="*/ 27 h 27"/>
                  <a:gd name="T4" fmla="*/ 5 w 10"/>
                  <a:gd name="T5" fmla="*/ 27 h 27"/>
                  <a:gd name="T6" fmla="*/ 5 w 10"/>
                  <a:gd name="T7" fmla="*/ 6 h 27"/>
                  <a:gd name="T8" fmla="*/ 4 w 10"/>
                  <a:gd name="T9" fmla="*/ 7 h 27"/>
                  <a:gd name="T10" fmla="*/ 2 w 10"/>
                  <a:gd name="T11" fmla="*/ 8 h 27"/>
                  <a:gd name="T12" fmla="*/ 1 w 10"/>
                  <a:gd name="T13" fmla="*/ 8 h 27"/>
                  <a:gd name="T14" fmla="*/ 0 w 10"/>
                  <a:gd name="T15" fmla="*/ 8 h 27"/>
                  <a:gd name="T16" fmla="*/ 0 w 10"/>
                  <a:gd name="T17" fmla="*/ 4 h 27"/>
                  <a:gd name="T18" fmla="*/ 4 w 10"/>
                  <a:gd name="T19" fmla="*/ 2 h 27"/>
                  <a:gd name="T20" fmla="*/ 7 w 10"/>
                  <a:gd name="T21" fmla="*/ 0 h 27"/>
                  <a:gd name="T22" fmla="*/ 10 w 10"/>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7">
                    <a:moveTo>
                      <a:pt x="10" y="0"/>
                    </a:moveTo>
                    <a:cubicBezTo>
                      <a:pt x="10" y="11"/>
                      <a:pt x="10" y="16"/>
                      <a:pt x="10" y="27"/>
                    </a:cubicBezTo>
                    <a:cubicBezTo>
                      <a:pt x="8" y="27"/>
                      <a:pt x="7" y="27"/>
                      <a:pt x="5" y="27"/>
                    </a:cubicBezTo>
                    <a:cubicBezTo>
                      <a:pt x="5" y="18"/>
                      <a:pt x="5" y="15"/>
                      <a:pt x="5" y="6"/>
                    </a:cubicBezTo>
                    <a:cubicBezTo>
                      <a:pt x="5" y="6"/>
                      <a:pt x="4" y="7"/>
                      <a:pt x="4" y="7"/>
                    </a:cubicBezTo>
                    <a:cubicBezTo>
                      <a:pt x="3" y="7"/>
                      <a:pt x="3" y="7"/>
                      <a:pt x="2" y="8"/>
                    </a:cubicBezTo>
                    <a:cubicBezTo>
                      <a:pt x="2" y="8"/>
                      <a:pt x="2" y="8"/>
                      <a:pt x="1" y="8"/>
                    </a:cubicBezTo>
                    <a:cubicBezTo>
                      <a:pt x="0" y="8"/>
                      <a:pt x="0" y="8"/>
                      <a:pt x="0" y="8"/>
                    </a:cubicBezTo>
                    <a:cubicBezTo>
                      <a:pt x="0" y="7"/>
                      <a:pt x="0" y="6"/>
                      <a:pt x="0" y="4"/>
                    </a:cubicBezTo>
                    <a:cubicBezTo>
                      <a:pt x="1" y="3"/>
                      <a:pt x="2" y="3"/>
                      <a:pt x="4" y="2"/>
                    </a:cubicBezTo>
                    <a:cubicBezTo>
                      <a:pt x="5" y="1"/>
                      <a:pt x="6" y="1"/>
                      <a:pt x="7" y="0"/>
                    </a:cubicBezTo>
                    <a:cubicBezTo>
                      <a:pt x="8" y="0"/>
                      <a:pt x="9" y="0"/>
                      <a:pt x="10"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54" name="Freeform 203"/>
              <p:cNvSpPr>
                <a:spLocks noEditPoints="1"/>
              </p:cNvSpPr>
              <p:nvPr/>
            </p:nvSpPr>
            <p:spPr bwMode="auto">
              <a:xfrm>
                <a:off x="5400675" y="3494088"/>
                <a:ext cx="42863" cy="58738"/>
              </a:xfrm>
              <a:custGeom>
                <a:avLst/>
                <a:gdLst>
                  <a:gd name="T0" fmla="*/ 10 w 19"/>
                  <a:gd name="T1" fmla="*/ 27 h 27"/>
                  <a:gd name="T2" fmla="*/ 0 w 19"/>
                  <a:gd name="T3" fmla="*/ 14 h 27"/>
                  <a:gd name="T4" fmla="*/ 3 w 19"/>
                  <a:gd name="T5" fmla="*/ 4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9"/>
                      <a:pt x="1" y="6"/>
                      <a:pt x="3" y="4"/>
                    </a:cubicBezTo>
                    <a:cubicBezTo>
                      <a:pt x="4" y="1"/>
                      <a:pt x="7" y="0"/>
                      <a:pt x="10" y="0"/>
                    </a:cubicBezTo>
                    <a:cubicBezTo>
                      <a:pt x="16" y="0"/>
                      <a:pt x="19" y="4"/>
                      <a:pt x="19" y="14"/>
                    </a:cubicBezTo>
                    <a:cubicBezTo>
                      <a:pt x="19" y="18"/>
                      <a:pt x="18" y="22"/>
                      <a:pt x="17" y="24"/>
                    </a:cubicBezTo>
                    <a:cubicBezTo>
                      <a:pt x="15" y="26"/>
                      <a:pt x="13" y="27"/>
                      <a:pt x="10" y="27"/>
                    </a:cubicBezTo>
                    <a:close/>
                    <a:moveTo>
                      <a:pt x="10" y="4"/>
                    </a:moveTo>
                    <a:cubicBezTo>
                      <a:pt x="8" y="4"/>
                      <a:pt x="6" y="7"/>
                      <a:pt x="6" y="14"/>
                    </a:cubicBezTo>
                    <a:cubicBezTo>
                      <a:pt x="6" y="20"/>
                      <a:pt x="8" y="23"/>
                      <a:pt x="10" y="23"/>
                    </a:cubicBezTo>
                    <a:cubicBezTo>
                      <a:pt x="12" y="23"/>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55" name="Freeform 204"/>
              <p:cNvSpPr>
                <a:spLocks noEditPoints="1"/>
              </p:cNvSpPr>
              <p:nvPr/>
            </p:nvSpPr>
            <p:spPr bwMode="auto">
              <a:xfrm>
                <a:off x="5449888" y="3494088"/>
                <a:ext cx="41275" cy="61913"/>
              </a:xfrm>
              <a:custGeom>
                <a:avLst/>
                <a:gdLst>
                  <a:gd name="T0" fmla="*/ 9 w 19"/>
                  <a:gd name="T1" fmla="*/ 28 h 28"/>
                  <a:gd name="T2" fmla="*/ 0 w 19"/>
                  <a:gd name="T3" fmla="*/ 14 h 28"/>
                  <a:gd name="T4" fmla="*/ 2 w 19"/>
                  <a:gd name="T5" fmla="*/ 4 h 28"/>
                  <a:gd name="T6" fmla="*/ 10 w 19"/>
                  <a:gd name="T7" fmla="*/ 0 h 28"/>
                  <a:gd name="T8" fmla="*/ 19 w 19"/>
                  <a:gd name="T9" fmla="*/ 14 h 28"/>
                  <a:gd name="T10" fmla="*/ 16 w 19"/>
                  <a:gd name="T11" fmla="*/ 24 h 28"/>
                  <a:gd name="T12" fmla="*/ 9 w 19"/>
                  <a:gd name="T13" fmla="*/ 28 h 28"/>
                  <a:gd name="T14" fmla="*/ 10 w 19"/>
                  <a:gd name="T15" fmla="*/ 4 h 28"/>
                  <a:gd name="T16" fmla="*/ 6 w 19"/>
                  <a:gd name="T17" fmla="*/ 14 h 28"/>
                  <a:gd name="T18" fmla="*/ 10 w 19"/>
                  <a:gd name="T19" fmla="*/ 23 h 28"/>
                  <a:gd name="T20" fmla="*/ 13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9"/>
                      <a:pt x="1" y="6"/>
                      <a:pt x="2" y="4"/>
                    </a:cubicBezTo>
                    <a:cubicBezTo>
                      <a:pt x="4" y="1"/>
                      <a:pt x="6" y="0"/>
                      <a:pt x="10" y="0"/>
                    </a:cubicBezTo>
                    <a:cubicBezTo>
                      <a:pt x="16" y="0"/>
                      <a:pt x="19" y="5"/>
                      <a:pt x="19" y="14"/>
                    </a:cubicBezTo>
                    <a:cubicBezTo>
                      <a:pt x="19" y="18"/>
                      <a:pt x="18" y="21"/>
                      <a:pt x="16" y="24"/>
                    </a:cubicBezTo>
                    <a:cubicBezTo>
                      <a:pt x="15" y="27"/>
                      <a:pt x="12" y="28"/>
                      <a:pt x="9" y="28"/>
                    </a:cubicBezTo>
                    <a:close/>
                    <a:moveTo>
                      <a:pt x="10" y="4"/>
                    </a:moveTo>
                    <a:cubicBezTo>
                      <a:pt x="7" y="4"/>
                      <a:pt x="6" y="7"/>
                      <a:pt x="6" y="14"/>
                    </a:cubicBezTo>
                    <a:cubicBezTo>
                      <a:pt x="6" y="20"/>
                      <a:pt x="7" y="23"/>
                      <a:pt x="10" y="23"/>
                    </a:cubicBezTo>
                    <a:cubicBezTo>
                      <a:pt x="12" y="23"/>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56" name="Freeform 205"/>
              <p:cNvSpPr>
                <a:spLocks/>
              </p:cNvSpPr>
              <p:nvPr/>
            </p:nvSpPr>
            <p:spPr bwMode="auto">
              <a:xfrm>
                <a:off x="5502275" y="3494088"/>
                <a:ext cx="26988" cy="61913"/>
              </a:xfrm>
              <a:custGeom>
                <a:avLst/>
                <a:gdLst>
                  <a:gd name="T0" fmla="*/ 12 w 12"/>
                  <a:gd name="T1" fmla="*/ 0 h 28"/>
                  <a:gd name="T2" fmla="*/ 12 w 12"/>
                  <a:gd name="T3" fmla="*/ 28 h 28"/>
                  <a:gd name="T4" fmla="*/ 6 w 12"/>
                  <a:gd name="T5" fmla="*/ 27 h 28"/>
                  <a:gd name="T6" fmla="*/ 6 w 12"/>
                  <a:gd name="T7" fmla="*/ 7 h 28"/>
                  <a:gd name="T8" fmla="*/ 5 w 12"/>
                  <a:gd name="T9" fmla="*/ 7 h 28"/>
                  <a:gd name="T10" fmla="*/ 3 w 12"/>
                  <a:gd name="T11" fmla="*/ 8 h 28"/>
                  <a:gd name="T12" fmla="*/ 2 w 12"/>
                  <a:gd name="T13" fmla="*/ 8 h 28"/>
                  <a:gd name="T14" fmla="*/ 0 w 12"/>
                  <a:gd name="T15" fmla="*/ 9 h 28"/>
                  <a:gd name="T16" fmla="*/ 0 w 12"/>
                  <a:gd name="T17" fmla="*/ 4 h 28"/>
                  <a:gd name="T18" fmla="*/ 4 w 12"/>
                  <a:gd name="T19" fmla="*/ 2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6"/>
                      <a:pt x="12" y="28"/>
                    </a:cubicBezTo>
                    <a:cubicBezTo>
                      <a:pt x="9" y="28"/>
                      <a:pt x="8" y="28"/>
                      <a:pt x="6" y="27"/>
                    </a:cubicBezTo>
                    <a:cubicBezTo>
                      <a:pt x="6" y="19"/>
                      <a:pt x="6" y="15"/>
                      <a:pt x="6" y="7"/>
                    </a:cubicBezTo>
                    <a:cubicBezTo>
                      <a:pt x="5" y="7"/>
                      <a:pt x="5" y="7"/>
                      <a:pt x="5" y="7"/>
                    </a:cubicBezTo>
                    <a:cubicBezTo>
                      <a:pt x="4" y="8"/>
                      <a:pt x="4" y="8"/>
                      <a:pt x="3" y="8"/>
                    </a:cubicBezTo>
                    <a:cubicBezTo>
                      <a:pt x="3" y="8"/>
                      <a:pt x="2" y="8"/>
                      <a:pt x="2" y="8"/>
                    </a:cubicBezTo>
                    <a:cubicBezTo>
                      <a:pt x="1" y="9"/>
                      <a:pt x="1" y="9"/>
                      <a:pt x="0" y="9"/>
                    </a:cubicBezTo>
                    <a:cubicBezTo>
                      <a:pt x="0" y="7"/>
                      <a:pt x="0" y="6"/>
                      <a:pt x="0" y="4"/>
                    </a:cubicBezTo>
                    <a:cubicBezTo>
                      <a:pt x="2" y="4"/>
                      <a:pt x="3" y="3"/>
                      <a:pt x="4" y="2"/>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57" name="Freeform 206"/>
              <p:cNvSpPr>
                <a:spLocks noEditPoints="1"/>
              </p:cNvSpPr>
              <p:nvPr/>
            </p:nvSpPr>
            <p:spPr bwMode="auto">
              <a:xfrm>
                <a:off x="5545138" y="3494088"/>
                <a:ext cx="42863" cy="61913"/>
              </a:xfrm>
              <a:custGeom>
                <a:avLst/>
                <a:gdLst>
                  <a:gd name="T0" fmla="*/ 10 w 19"/>
                  <a:gd name="T1" fmla="*/ 28 h 28"/>
                  <a:gd name="T2" fmla="*/ 0 w 19"/>
                  <a:gd name="T3" fmla="*/ 15 h 28"/>
                  <a:gd name="T4" fmla="*/ 3 w 19"/>
                  <a:gd name="T5" fmla="*/ 4 h 28"/>
                  <a:gd name="T6" fmla="*/ 10 w 19"/>
                  <a:gd name="T7" fmla="*/ 0 h 28"/>
                  <a:gd name="T8" fmla="*/ 19 w 19"/>
                  <a:gd name="T9" fmla="*/ 14 h 28"/>
                  <a:gd name="T10" fmla="*/ 17 w 19"/>
                  <a:gd name="T11" fmla="*/ 25 h 28"/>
                  <a:gd name="T12" fmla="*/ 10 w 19"/>
                  <a:gd name="T13" fmla="*/ 28 h 28"/>
                  <a:gd name="T14" fmla="*/ 10 w 19"/>
                  <a:gd name="T15" fmla="*/ 5 h 28"/>
                  <a:gd name="T16" fmla="*/ 6 w 19"/>
                  <a:gd name="T17" fmla="*/ 15 h 28"/>
                  <a:gd name="T18" fmla="*/ 10 w 19"/>
                  <a:gd name="T19" fmla="*/ 24 h 28"/>
                  <a:gd name="T20" fmla="*/ 14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8"/>
                      <a:pt x="0" y="24"/>
                      <a:pt x="0" y="15"/>
                    </a:cubicBezTo>
                    <a:cubicBezTo>
                      <a:pt x="0" y="10"/>
                      <a:pt x="1" y="6"/>
                      <a:pt x="3" y="4"/>
                    </a:cubicBezTo>
                    <a:cubicBezTo>
                      <a:pt x="4" y="2"/>
                      <a:pt x="7" y="0"/>
                      <a:pt x="10" y="0"/>
                    </a:cubicBezTo>
                    <a:cubicBezTo>
                      <a:pt x="16" y="1"/>
                      <a:pt x="19" y="5"/>
                      <a:pt x="19" y="14"/>
                    </a:cubicBezTo>
                    <a:cubicBezTo>
                      <a:pt x="19" y="19"/>
                      <a:pt x="18" y="22"/>
                      <a:pt x="17" y="25"/>
                    </a:cubicBezTo>
                    <a:cubicBezTo>
                      <a:pt x="15" y="27"/>
                      <a:pt x="13" y="28"/>
                      <a:pt x="10" y="28"/>
                    </a:cubicBezTo>
                    <a:close/>
                    <a:moveTo>
                      <a:pt x="10" y="5"/>
                    </a:moveTo>
                    <a:cubicBezTo>
                      <a:pt x="7" y="5"/>
                      <a:pt x="6" y="8"/>
                      <a:pt x="6" y="15"/>
                    </a:cubicBezTo>
                    <a:cubicBezTo>
                      <a:pt x="6" y="20"/>
                      <a:pt x="7" y="24"/>
                      <a:pt x="10" y="24"/>
                    </a:cubicBezTo>
                    <a:cubicBezTo>
                      <a:pt x="12" y="24"/>
                      <a:pt x="14" y="20"/>
                      <a:pt x="14" y="14"/>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58" name="Freeform 207"/>
              <p:cNvSpPr>
                <a:spLocks noEditPoints="1"/>
              </p:cNvSpPr>
              <p:nvPr/>
            </p:nvSpPr>
            <p:spPr bwMode="auto">
              <a:xfrm>
                <a:off x="5594350" y="3494088"/>
                <a:ext cx="41275" cy="63500"/>
              </a:xfrm>
              <a:custGeom>
                <a:avLst/>
                <a:gdLst>
                  <a:gd name="T0" fmla="*/ 9 w 19"/>
                  <a:gd name="T1" fmla="*/ 29 h 29"/>
                  <a:gd name="T2" fmla="*/ 0 w 19"/>
                  <a:gd name="T3" fmla="*/ 15 h 29"/>
                  <a:gd name="T4" fmla="*/ 3 w 19"/>
                  <a:gd name="T5" fmla="*/ 4 h 29"/>
                  <a:gd name="T6" fmla="*/ 10 w 19"/>
                  <a:gd name="T7" fmla="*/ 0 h 29"/>
                  <a:gd name="T8" fmla="*/ 19 w 19"/>
                  <a:gd name="T9" fmla="*/ 15 h 29"/>
                  <a:gd name="T10" fmla="*/ 17 w 19"/>
                  <a:gd name="T11" fmla="*/ 25 h 29"/>
                  <a:gd name="T12" fmla="*/ 9 w 19"/>
                  <a:gd name="T13" fmla="*/ 29 h 29"/>
                  <a:gd name="T14" fmla="*/ 9 w 19"/>
                  <a:gd name="T15" fmla="*/ 5 h 29"/>
                  <a:gd name="T16" fmla="*/ 6 w 19"/>
                  <a:gd name="T17" fmla="*/ 15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5"/>
                    </a:cubicBezTo>
                    <a:cubicBezTo>
                      <a:pt x="0" y="10"/>
                      <a:pt x="1" y="6"/>
                      <a:pt x="3" y="4"/>
                    </a:cubicBezTo>
                    <a:cubicBezTo>
                      <a:pt x="4" y="2"/>
                      <a:pt x="7" y="0"/>
                      <a:pt x="10" y="0"/>
                    </a:cubicBezTo>
                    <a:cubicBezTo>
                      <a:pt x="16" y="0"/>
                      <a:pt x="19" y="5"/>
                      <a:pt x="19" y="15"/>
                    </a:cubicBezTo>
                    <a:cubicBezTo>
                      <a:pt x="19" y="19"/>
                      <a:pt x="18" y="22"/>
                      <a:pt x="17" y="25"/>
                    </a:cubicBezTo>
                    <a:cubicBezTo>
                      <a:pt x="15" y="28"/>
                      <a:pt x="13" y="29"/>
                      <a:pt x="9" y="29"/>
                    </a:cubicBezTo>
                    <a:close/>
                    <a:moveTo>
                      <a:pt x="9" y="5"/>
                    </a:moveTo>
                    <a:cubicBezTo>
                      <a:pt x="7" y="5"/>
                      <a:pt x="6" y="8"/>
                      <a:pt x="6" y="15"/>
                    </a:cubicBezTo>
                    <a:cubicBezTo>
                      <a:pt x="6" y="21"/>
                      <a:pt x="7" y="24"/>
                      <a:pt x="9" y="24"/>
                    </a:cubicBezTo>
                    <a:cubicBezTo>
                      <a:pt x="12" y="24"/>
                      <a:pt x="13" y="21"/>
                      <a:pt x="13" y="15"/>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59" name="Freeform 208"/>
              <p:cNvSpPr>
                <a:spLocks/>
              </p:cNvSpPr>
              <p:nvPr/>
            </p:nvSpPr>
            <p:spPr bwMode="auto">
              <a:xfrm>
                <a:off x="5646738" y="3494088"/>
                <a:ext cx="26988" cy="63500"/>
              </a:xfrm>
              <a:custGeom>
                <a:avLst/>
                <a:gdLst>
                  <a:gd name="T0" fmla="*/ 12 w 12"/>
                  <a:gd name="T1" fmla="*/ 0 h 29"/>
                  <a:gd name="T2" fmla="*/ 12 w 12"/>
                  <a:gd name="T3" fmla="*/ 29 h 29"/>
                  <a:gd name="T4" fmla="*/ 6 w 12"/>
                  <a:gd name="T5" fmla="*/ 29 h 29"/>
                  <a:gd name="T6" fmla="*/ 6 w 12"/>
                  <a:gd name="T7" fmla="*/ 7 h 29"/>
                  <a:gd name="T8" fmla="*/ 5 w 12"/>
                  <a:gd name="T9" fmla="*/ 8 h 29"/>
                  <a:gd name="T10" fmla="*/ 3 w 12"/>
                  <a:gd name="T11" fmla="*/ 9 h 29"/>
                  <a:gd name="T12" fmla="*/ 2 w 12"/>
                  <a:gd name="T13" fmla="*/ 9 h 29"/>
                  <a:gd name="T14" fmla="*/ 0 w 12"/>
                  <a:gd name="T15" fmla="*/ 9 h 29"/>
                  <a:gd name="T16" fmla="*/ 0 w 12"/>
                  <a:gd name="T17" fmla="*/ 5 h 29"/>
                  <a:gd name="T18" fmla="*/ 5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1"/>
                      <a:pt x="12" y="17"/>
                      <a:pt x="12" y="29"/>
                    </a:cubicBezTo>
                    <a:cubicBezTo>
                      <a:pt x="10" y="29"/>
                      <a:pt x="9" y="29"/>
                      <a:pt x="6" y="29"/>
                    </a:cubicBezTo>
                    <a:cubicBezTo>
                      <a:pt x="6" y="20"/>
                      <a:pt x="6" y="16"/>
                      <a:pt x="6" y="7"/>
                    </a:cubicBezTo>
                    <a:cubicBezTo>
                      <a:pt x="5" y="7"/>
                      <a:pt x="5" y="8"/>
                      <a:pt x="5" y="8"/>
                    </a:cubicBezTo>
                    <a:cubicBezTo>
                      <a:pt x="4" y="8"/>
                      <a:pt x="4" y="8"/>
                      <a:pt x="3" y="9"/>
                    </a:cubicBezTo>
                    <a:cubicBezTo>
                      <a:pt x="3" y="9"/>
                      <a:pt x="2" y="9"/>
                      <a:pt x="2" y="9"/>
                    </a:cubicBezTo>
                    <a:cubicBezTo>
                      <a:pt x="1" y="9"/>
                      <a:pt x="1" y="9"/>
                      <a:pt x="0" y="9"/>
                    </a:cubicBezTo>
                    <a:cubicBezTo>
                      <a:pt x="0" y="7"/>
                      <a:pt x="0" y="6"/>
                      <a:pt x="0" y="5"/>
                    </a:cubicBezTo>
                    <a:cubicBezTo>
                      <a:pt x="2" y="4"/>
                      <a:pt x="3" y="4"/>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60" name="Freeform 209"/>
              <p:cNvSpPr>
                <a:spLocks/>
              </p:cNvSpPr>
              <p:nvPr/>
            </p:nvSpPr>
            <p:spPr bwMode="auto">
              <a:xfrm>
                <a:off x="5695950" y="3494088"/>
                <a:ext cx="26988" cy="63500"/>
              </a:xfrm>
              <a:custGeom>
                <a:avLst/>
                <a:gdLst>
                  <a:gd name="T0" fmla="*/ 12 w 12"/>
                  <a:gd name="T1" fmla="*/ 0 h 29"/>
                  <a:gd name="T2" fmla="*/ 12 w 12"/>
                  <a:gd name="T3" fmla="*/ 29 h 29"/>
                  <a:gd name="T4" fmla="*/ 6 w 12"/>
                  <a:gd name="T5" fmla="*/ 29 h 29"/>
                  <a:gd name="T6" fmla="*/ 6 w 12"/>
                  <a:gd name="T7" fmla="*/ 7 h 29"/>
                  <a:gd name="T8" fmla="*/ 4 w 12"/>
                  <a:gd name="T9" fmla="*/ 8 h 29"/>
                  <a:gd name="T10" fmla="*/ 3 w 12"/>
                  <a:gd name="T11" fmla="*/ 9 h 29"/>
                  <a:gd name="T12" fmla="*/ 2 w 12"/>
                  <a:gd name="T13" fmla="*/ 9 h 29"/>
                  <a:gd name="T14" fmla="*/ 0 w 12"/>
                  <a:gd name="T15" fmla="*/ 10 h 29"/>
                  <a:gd name="T16" fmla="*/ 0 w 12"/>
                  <a:gd name="T17" fmla="*/ 5 h 29"/>
                  <a:gd name="T18" fmla="*/ 4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2"/>
                      <a:pt x="12" y="18"/>
                      <a:pt x="12" y="29"/>
                    </a:cubicBezTo>
                    <a:cubicBezTo>
                      <a:pt x="9" y="29"/>
                      <a:pt x="8" y="29"/>
                      <a:pt x="6" y="29"/>
                    </a:cubicBezTo>
                    <a:cubicBezTo>
                      <a:pt x="6" y="20"/>
                      <a:pt x="6" y="16"/>
                      <a:pt x="6" y="7"/>
                    </a:cubicBezTo>
                    <a:cubicBezTo>
                      <a:pt x="5" y="8"/>
                      <a:pt x="5" y="8"/>
                      <a:pt x="4" y="8"/>
                    </a:cubicBezTo>
                    <a:cubicBezTo>
                      <a:pt x="4" y="8"/>
                      <a:pt x="4" y="9"/>
                      <a:pt x="3" y="9"/>
                    </a:cubicBezTo>
                    <a:cubicBezTo>
                      <a:pt x="3" y="9"/>
                      <a:pt x="2" y="9"/>
                      <a:pt x="2" y="9"/>
                    </a:cubicBezTo>
                    <a:cubicBezTo>
                      <a:pt x="1" y="9"/>
                      <a:pt x="1" y="10"/>
                      <a:pt x="0" y="10"/>
                    </a:cubicBezTo>
                    <a:cubicBezTo>
                      <a:pt x="0" y="8"/>
                      <a:pt x="0" y="7"/>
                      <a:pt x="0" y="5"/>
                    </a:cubicBezTo>
                    <a:cubicBezTo>
                      <a:pt x="2" y="4"/>
                      <a:pt x="3" y="4"/>
                      <a:pt x="4" y="3"/>
                    </a:cubicBezTo>
                    <a:cubicBezTo>
                      <a:pt x="6" y="2"/>
                      <a:pt x="7" y="2"/>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61" name="Freeform 210"/>
              <p:cNvSpPr>
                <a:spLocks noEditPoints="1"/>
              </p:cNvSpPr>
              <p:nvPr/>
            </p:nvSpPr>
            <p:spPr bwMode="auto">
              <a:xfrm>
                <a:off x="5738813" y="3495675"/>
                <a:ext cx="41275" cy="65088"/>
              </a:xfrm>
              <a:custGeom>
                <a:avLst/>
                <a:gdLst>
                  <a:gd name="T0" fmla="*/ 9 w 19"/>
                  <a:gd name="T1" fmla="*/ 29 h 29"/>
                  <a:gd name="T2" fmla="*/ 0 w 19"/>
                  <a:gd name="T3" fmla="*/ 15 h 29"/>
                  <a:gd name="T4" fmla="*/ 3 w 19"/>
                  <a:gd name="T5" fmla="*/ 4 h 29"/>
                  <a:gd name="T6" fmla="*/ 10 w 19"/>
                  <a:gd name="T7" fmla="*/ 0 h 29"/>
                  <a:gd name="T8" fmla="*/ 19 w 19"/>
                  <a:gd name="T9" fmla="*/ 15 h 29"/>
                  <a:gd name="T10" fmla="*/ 17 w 19"/>
                  <a:gd name="T11" fmla="*/ 26 h 29"/>
                  <a:gd name="T12" fmla="*/ 9 w 19"/>
                  <a:gd name="T13" fmla="*/ 29 h 29"/>
                  <a:gd name="T14" fmla="*/ 10 w 19"/>
                  <a:gd name="T15" fmla="*/ 5 h 29"/>
                  <a:gd name="T16" fmla="*/ 6 w 19"/>
                  <a:gd name="T17" fmla="*/ 15 h 29"/>
                  <a:gd name="T18" fmla="*/ 10 w 19"/>
                  <a:gd name="T19" fmla="*/ 25 h 29"/>
                  <a:gd name="T20" fmla="*/ 13 w 19"/>
                  <a:gd name="T21" fmla="*/ 15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5"/>
                    </a:cubicBezTo>
                    <a:cubicBezTo>
                      <a:pt x="0" y="10"/>
                      <a:pt x="1" y="6"/>
                      <a:pt x="3" y="4"/>
                    </a:cubicBezTo>
                    <a:cubicBezTo>
                      <a:pt x="4" y="1"/>
                      <a:pt x="7" y="0"/>
                      <a:pt x="10" y="0"/>
                    </a:cubicBezTo>
                    <a:cubicBezTo>
                      <a:pt x="16" y="0"/>
                      <a:pt x="19" y="5"/>
                      <a:pt x="19" y="15"/>
                    </a:cubicBezTo>
                    <a:cubicBezTo>
                      <a:pt x="19" y="19"/>
                      <a:pt x="18" y="23"/>
                      <a:pt x="17" y="26"/>
                    </a:cubicBezTo>
                    <a:cubicBezTo>
                      <a:pt x="15" y="28"/>
                      <a:pt x="12" y="29"/>
                      <a:pt x="9" y="29"/>
                    </a:cubicBezTo>
                    <a:close/>
                    <a:moveTo>
                      <a:pt x="10" y="5"/>
                    </a:moveTo>
                    <a:cubicBezTo>
                      <a:pt x="7" y="5"/>
                      <a:pt x="6" y="8"/>
                      <a:pt x="6" y="15"/>
                    </a:cubicBezTo>
                    <a:cubicBezTo>
                      <a:pt x="6" y="21"/>
                      <a:pt x="7" y="25"/>
                      <a:pt x="10" y="25"/>
                    </a:cubicBezTo>
                    <a:cubicBezTo>
                      <a:pt x="12" y="25"/>
                      <a:pt x="13" y="21"/>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62" name="Freeform 211"/>
              <p:cNvSpPr>
                <a:spLocks/>
              </p:cNvSpPr>
              <p:nvPr/>
            </p:nvSpPr>
            <p:spPr bwMode="auto">
              <a:xfrm>
                <a:off x="5791200" y="3495675"/>
                <a:ext cx="26988" cy="66675"/>
              </a:xfrm>
              <a:custGeom>
                <a:avLst/>
                <a:gdLst>
                  <a:gd name="T0" fmla="*/ 12 w 12"/>
                  <a:gd name="T1" fmla="*/ 0 h 30"/>
                  <a:gd name="T2" fmla="*/ 12 w 12"/>
                  <a:gd name="T3" fmla="*/ 30 h 30"/>
                  <a:gd name="T4" fmla="*/ 6 w 12"/>
                  <a:gd name="T5" fmla="*/ 29 h 30"/>
                  <a:gd name="T6" fmla="*/ 6 w 12"/>
                  <a:gd name="T7" fmla="*/ 7 h 30"/>
                  <a:gd name="T8" fmla="*/ 5 w 12"/>
                  <a:gd name="T9" fmla="*/ 8 h 30"/>
                  <a:gd name="T10" fmla="*/ 4 w 12"/>
                  <a:gd name="T11" fmla="*/ 9 h 30"/>
                  <a:gd name="T12" fmla="*/ 2 w 12"/>
                  <a:gd name="T13" fmla="*/ 9 h 30"/>
                  <a:gd name="T14" fmla="*/ 0 w 12"/>
                  <a:gd name="T15" fmla="*/ 9 h 30"/>
                  <a:gd name="T16" fmla="*/ 0 w 12"/>
                  <a:gd name="T17" fmla="*/ 4 h 30"/>
                  <a:gd name="T18" fmla="*/ 5 w 12"/>
                  <a:gd name="T19" fmla="*/ 3 h 30"/>
                  <a:gd name="T20" fmla="*/ 8 w 12"/>
                  <a:gd name="T21" fmla="*/ 0 h 30"/>
                  <a:gd name="T22" fmla="*/ 12 w 12"/>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0"/>
                    </a:moveTo>
                    <a:cubicBezTo>
                      <a:pt x="12" y="11"/>
                      <a:pt x="12" y="18"/>
                      <a:pt x="12" y="30"/>
                    </a:cubicBezTo>
                    <a:cubicBezTo>
                      <a:pt x="9" y="30"/>
                      <a:pt x="8" y="29"/>
                      <a:pt x="6" y="29"/>
                    </a:cubicBezTo>
                    <a:cubicBezTo>
                      <a:pt x="6" y="20"/>
                      <a:pt x="6" y="16"/>
                      <a:pt x="6" y="7"/>
                    </a:cubicBezTo>
                    <a:cubicBezTo>
                      <a:pt x="6" y="7"/>
                      <a:pt x="5" y="8"/>
                      <a:pt x="5" y="8"/>
                    </a:cubicBezTo>
                    <a:cubicBezTo>
                      <a:pt x="5" y="8"/>
                      <a:pt x="4" y="8"/>
                      <a:pt x="4" y="9"/>
                    </a:cubicBezTo>
                    <a:cubicBezTo>
                      <a:pt x="3" y="9"/>
                      <a:pt x="2" y="9"/>
                      <a:pt x="2" y="9"/>
                    </a:cubicBezTo>
                    <a:cubicBezTo>
                      <a:pt x="1" y="9"/>
                      <a:pt x="1" y="9"/>
                      <a:pt x="0" y="9"/>
                    </a:cubicBezTo>
                    <a:cubicBezTo>
                      <a:pt x="0" y="7"/>
                      <a:pt x="0" y="6"/>
                      <a:pt x="0" y="4"/>
                    </a:cubicBezTo>
                    <a:cubicBezTo>
                      <a:pt x="2" y="4"/>
                      <a:pt x="3" y="3"/>
                      <a:pt x="5" y="3"/>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63" name="Freeform 212"/>
              <p:cNvSpPr>
                <a:spLocks noEditPoints="1"/>
              </p:cNvSpPr>
              <p:nvPr/>
            </p:nvSpPr>
            <p:spPr bwMode="auto">
              <a:xfrm>
                <a:off x="5834063" y="3497263"/>
                <a:ext cx="44450" cy="66675"/>
              </a:xfrm>
              <a:custGeom>
                <a:avLst/>
                <a:gdLst>
                  <a:gd name="T0" fmla="*/ 10 w 20"/>
                  <a:gd name="T1" fmla="*/ 30 h 30"/>
                  <a:gd name="T2" fmla="*/ 0 w 20"/>
                  <a:gd name="T3" fmla="*/ 15 h 30"/>
                  <a:gd name="T4" fmla="*/ 3 w 20"/>
                  <a:gd name="T5" fmla="*/ 3 h 30"/>
                  <a:gd name="T6" fmla="*/ 10 w 20"/>
                  <a:gd name="T7" fmla="*/ 0 h 30"/>
                  <a:gd name="T8" fmla="*/ 20 w 20"/>
                  <a:gd name="T9" fmla="*/ 14 h 30"/>
                  <a:gd name="T10" fmla="*/ 17 w 20"/>
                  <a:gd name="T11" fmla="*/ 26 h 30"/>
                  <a:gd name="T12" fmla="*/ 10 w 20"/>
                  <a:gd name="T13" fmla="*/ 30 h 30"/>
                  <a:gd name="T14" fmla="*/ 10 w 20"/>
                  <a:gd name="T15" fmla="*/ 4 h 30"/>
                  <a:gd name="T16" fmla="*/ 7 w 20"/>
                  <a:gd name="T17" fmla="*/ 15 h 30"/>
                  <a:gd name="T18" fmla="*/ 10 w 20"/>
                  <a:gd name="T19" fmla="*/ 25 h 30"/>
                  <a:gd name="T20" fmla="*/ 13 w 20"/>
                  <a:gd name="T21" fmla="*/ 15 h 30"/>
                  <a:gd name="T22" fmla="*/ 10 w 20"/>
                  <a:gd name="T23"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30">
                    <a:moveTo>
                      <a:pt x="10" y="30"/>
                    </a:moveTo>
                    <a:cubicBezTo>
                      <a:pt x="3" y="30"/>
                      <a:pt x="0" y="25"/>
                      <a:pt x="0" y="15"/>
                    </a:cubicBezTo>
                    <a:cubicBezTo>
                      <a:pt x="0" y="10"/>
                      <a:pt x="1" y="6"/>
                      <a:pt x="3" y="3"/>
                    </a:cubicBezTo>
                    <a:cubicBezTo>
                      <a:pt x="5" y="1"/>
                      <a:pt x="7" y="0"/>
                      <a:pt x="10" y="0"/>
                    </a:cubicBezTo>
                    <a:cubicBezTo>
                      <a:pt x="17" y="0"/>
                      <a:pt x="20" y="4"/>
                      <a:pt x="20" y="14"/>
                    </a:cubicBezTo>
                    <a:cubicBezTo>
                      <a:pt x="20" y="20"/>
                      <a:pt x="19" y="23"/>
                      <a:pt x="17" y="26"/>
                    </a:cubicBezTo>
                    <a:cubicBezTo>
                      <a:pt x="16" y="28"/>
                      <a:pt x="13" y="30"/>
                      <a:pt x="10" y="30"/>
                    </a:cubicBezTo>
                    <a:close/>
                    <a:moveTo>
                      <a:pt x="10" y="4"/>
                    </a:moveTo>
                    <a:cubicBezTo>
                      <a:pt x="8" y="4"/>
                      <a:pt x="7" y="8"/>
                      <a:pt x="7" y="15"/>
                    </a:cubicBezTo>
                    <a:cubicBezTo>
                      <a:pt x="7" y="22"/>
                      <a:pt x="8" y="25"/>
                      <a:pt x="10" y="25"/>
                    </a:cubicBezTo>
                    <a:cubicBezTo>
                      <a:pt x="12" y="25"/>
                      <a:pt x="13" y="22"/>
                      <a:pt x="13" y="15"/>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64" name="Freeform 213"/>
              <p:cNvSpPr>
                <a:spLocks noEditPoints="1"/>
              </p:cNvSpPr>
              <p:nvPr/>
            </p:nvSpPr>
            <p:spPr bwMode="auto">
              <a:xfrm>
                <a:off x="5883275" y="3497263"/>
                <a:ext cx="41275" cy="69850"/>
              </a:xfrm>
              <a:custGeom>
                <a:avLst/>
                <a:gdLst>
                  <a:gd name="T0" fmla="*/ 10 w 19"/>
                  <a:gd name="T1" fmla="*/ 30 h 31"/>
                  <a:gd name="T2" fmla="*/ 0 w 19"/>
                  <a:gd name="T3" fmla="*/ 15 h 31"/>
                  <a:gd name="T4" fmla="*/ 3 w 19"/>
                  <a:gd name="T5" fmla="*/ 4 h 31"/>
                  <a:gd name="T6" fmla="*/ 10 w 19"/>
                  <a:gd name="T7" fmla="*/ 0 h 31"/>
                  <a:gd name="T8" fmla="*/ 19 w 19"/>
                  <a:gd name="T9" fmla="*/ 15 h 31"/>
                  <a:gd name="T10" fmla="*/ 17 w 19"/>
                  <a:gd name="T11" fmla="*/ 26 h 31"/>
                  <a:gd name="T12" fmla="*/ 10 w 19"/>
                  <a:gd name="T13" fmla="*/ 30 h 31"/>
                  <a:gd name="T14" fmla="*/ 10 w 19"/>
                  <a:gd name="T15" fmla="*/ 5 h 31"/>
                  <a:gd name="T16" fmla="*/ 6 w 19"/>
                  <a:gd name="T17" fmla="*/ 15 h 31"/>
                  <a:gd name="T18" fmla="*/ 10 w 19"/>
                  <a:gd name="T19" fmla="*/ 25 h 31"/>
                  <a:gd name="T20" fmla="*/ 13 w 19"/>
                  <a:gd name="T21" fmla="*/ 15 h 31"/>
                  <a:gd name="T22" fmla="*/ 10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10" y="30"/>
                    </a:moveTo>
                    <a:cubicBezTo>
                      <a:pt x="3" y="30"/>
                      <a:pt x="0" y="25"/>
                      <a:pt x="0" y="15"/>
                    </a:cubicBezTo>
                    <a:cubicBezTo>
                      <a:pt x="0" y="10"/>
                      <a:pt x="1" y="6"/>
                      <a:pt x="3" y="4"/>
                    </a:cubicBezTo>
                    <a:cubicBezTo>
                      <a:pt x="4" y="1"/>
                      <a:pt x="7" y="0"/>
                      <a:pt x="10" y="0"/>
                    </a:cubicBezTo>
                    <a:cubicBezTo>
                      <a:pt x="16" y="0"/>
                      <a:pt x="19" y="5"/>
                      <a:pt x="19" y="15"/>
                    </a:cubicBezTo>
                    <a:cubicBezTo>
                      <a:pt x="19" y="20"/>
                      <a:pt x="19" y="24"/>
                      <a:pt x="17" y="26"/>
                    </a:cubicBezTo>
                    <a:cubicBezTo>
                      <a:pt x="15" y="29"/>
                      <a:pt x="13" y="31"/>
                      <a:pt x="10" y="30"/>
                    </a:cubicBezTo>
                    <a:close/>
                    <a:moveTo>
                      <a:pt x="10" y="5"/>
                    </a:moveTo>
                    <a:cubicBezTo>
                      <a:pt x="7" y="5"/>
                      <a:pt x="6" y="8"/>
                      <a:pt x="6" y="15"/>
                    </a:cubicBezTo>
                    <a:cubicBezTo>
                      <a:pt x="6" y="22"/>
                      <a:pt x="7" y="25"/>
                      <a:pt x="10" y="25"/>
                    </a:cubicBezTo>
                    <a:cubicBezTo>
                      <a:pt x="12" y="25"/>
                      <a:pt x="13" y="22"/>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65" name="Freeform 214"/>
              <p:cNvSpPr>
                <a:spLocks/>
              </p:cNvSpPr>
              <p:nvPr/>
            </p:nvSpPr>
            <p:spPr bwMode="auto">
              <a:xfrm>
                <a:off x="5935663" y="3497263"/>
                <a:ext cx="26988" cy="66675"/>
              </a:xfrm>
              <a:custGeom>
                <a:avLst/>
                <a:gdLst>
                  <a:gd name="T0" fmla="*/ 12 w 12"/>
                  <a:gd name="T1" fmla="*/ 0 h 30"/>
                  <a:gd name="T2" fmla="*/ 12 w 12"/>
                  <a:gd name="T3" fmla="*/ 30 h 30"/>
                  <a:gd name="T4" fmla="*/ 6 w 12"/>
                  <a:gd name="T5" fmla="*/ 30 h 30"/>
                  <a:gd name="T6" fmla="*/ 6 w 12"/>
                  <a:gd name="T7" fmla="*/ 7 h 30"/>
                  <a:gd name="T8" fmla="*/ 5 w 12"/>
                  <a:gd name="T9" fmla="*/ 8 h 30"/>
                  <a:gd name="T10" fmla="*/ 4 w 12"/>
                  <a:gd name="T11" fmla="*/ 9 h 30"/>
                  <a:gd name="T12" fmla="*/ 2 w 12"/>
                  <a:gd name="T13" fmla="*/ 9 h 30"/>
                  <a:gd name="T14" fmla="*/ 0 w 12"/>
                  <a:gd name="T15" fmla="*/ 10 h 30"/>
                  <a:gd name="T16" fmla="*/ 0 w 12"/>
                  <a:gd name="T17" fmla="*/ 4 h 30"/>
                  <a:gd name="T18" fmla="*/ 5 w 12"/>
                  <a:gd name="T19" fmla="*/ 2 h 30"/>
                  <a:gd name="T20" fmla="*/ 8 w 12"/>
                  <a:gd name="T21" fmla="*/ 0 h 30"/>
                  <a:gd name="T22" fmla="*/ 12 w 12"/>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0"/>
                    </a:moveTo>
                    <a:cubicBezTo>
                      <a:pt x="12" y="12"/>
                      <a:pt x="12" y="17"/>
                      <a:pt x="12" y="30"/>
                    </a:cubicBezTo>
                    <a:cubicBezTo>
                      <a:pt x="10" y="30"/>
                      <a:pt x="8" y="30"/>
                      <a:pt x="6" y="30"/>
                    </a:cubicBezTo>
                    <a:cubicBezTo>
                      <a:pt x="6" y="21"/>
                      <a:pt x="6" y="16"/>
                      <a:pt x="6" y="7"/>
                    </a:cubicBezTo>
                    <a:cubicBezTo>
                      <a:pt x="6" y="7"/>
                      <a:pt x="6" y="7"/>
                      <a:pt x="5" y="8"/>
                    </a:cubicBezTo>
                    <a:cubicBezTo>
                      <a:pt x="5" y="8"/>
                      <a:pt x="4" y="9"/>
                      <a:pt x="4" y="9"/>
                    </a:cubicBezTo>
                    <a:cubicBezTo>
                      <a:pt x="3" y="9"/>
                      <a:pt x="2" y="9"/>
                      <a:pt x="2" y="9"/>
                    </a:cubicBezTo>
                    <a:cubicBezTo>
                      <a:pt x="1" y="9"/>
                      <a:pt x="1" y="10"/>
                      <a:pt x="0" y="10"/>
                    </a:cubicBezTo>
                    <a:cubicBezTo>
                      <a:pt x="0" y="7"/>
                      <a:pt x="0" y="6"/>
                      <a:pt x="0" y="4"/>
                    </a:cubicBezTo>
                    <a:cubicBezTo>
                      <a:pt x="2" y="3"/>
                      <a:pt x="4" y="3"/>
                      <a:pt x="5" y="2"/>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66" name="Freeform 215"/>
              <p:cNvSpPr>
                <a:spLocks noEditPoints="1"/>
              </p:cNvSpPr>
              <p:nvPr/>
            </p:nvSpPr>
            <p:spPr bwMode="auto">
              <a:xfrm>
                <a:off x="5351463" y="3578225"/>
                <a:ext cx="44450" cy="60325"/>
              </a:xfrm>
              <a:custGeom>
                <a:avLst/>
                <a:gdLst>
                  <a:gd name="T0" fmla="*/ 10 w 20"/>
                  <a:gd name="T1" fmla="*/ 27 h 27"/>
                  <a:gd name="T2" fmla="*/ 0 w 20"/>
                  <a:gd name="T3" fmla="*/ 14 h 27"/>
                  <a:gd name="T4" fmla="*/ 3 w 20"/>
                  <a:gd name="T5" fmla="*/ 3 h 27"/>
                  <a:gd name="T6" fmla="*/ 10 w 20"/>
                  <a:gd name="T7" fmla="*/ 0 h 27"/>
                  <a:gd name="T8" fmla="*/ 20 w 20"/>
                  <a:gd name="T9" fmla="*/ 13 h 27"/>
                  <a:gd name="T10" fmla="*/ 17 w 20"/>
                  <a:gd name="T11" fmla="*/ 24 h 27"/>
                  <a:gd name="T12" fmla="*/ 10 w 20"/>
                  <a:gd name="T13" fmla="*/ 27 h 27"/>
                  <a:gd name="T14" fmla="*/ 10 w 20"/>
                  <a:gd name="T15" fmla="*/ 4 h 27"/>
                  <a:gd name="T16" fmla="*/ 7 w 20"/>
                  <a:gd name="T17" fmla="*/ 14 h 27"/>
                  <a:gd name="T18" fmla="*/ 10 w 20"/>
                  <a:gd name="T19" fmla="*/ 23 h 27"/>
                  <a:gd name="T20" fmla="*/ 14 w 20"/>
                  <a:gd name="T21" fmla="*/ 13 h 27"/>
                  <a:gd name="T22" fmla="*/ 10 w 20"/>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7">
                    <a:moveTo>
                      <a:pt x="10" y="27"/>
                    </a:moveTo>
                    <a:cubicBezTo>
                      <a:pt x="3" y="27"/>
                      <a:pt x="0" y="23"/>
                      <a:pt x="0" y="14"/>
                    </a:cubicBezTo>
                    <a:cubicBezTo>
                      <a:pt x="0" y="9"/>
                      <a:pt x="1" y="5"/>
                      <a:pt x="3" y="3"/>
                    </a:cubicBezTo>
                    <a:cubicBezTo>
                      <a:pt x="5" y="1"/>
                      <a:pt x="7" y="0"/>
                      <a:pt x="10" y="0"/>
                    </a:cubicBezTo>
                    <a:cubicBezTo>
                      <a:pt x="17" y="0"/>
                      <a:pt x="20" y="4"/>
                      <a:pt x="20" y="13"/>
                    </a:cubicBezTo>
                    <a:cubicBezTo>
                      <a:pt x="20" y="17"/>
                      <a:pt x="19" y="21"/>
                      <a:pt x="17" y="24"/>
                    </a:cubicBezTo>
                    <a:cubicBezTo>
                      <a:pt x="16" y="26"/>
                      <a:pt x="13" y="27"/>
                      <a:pt x="10" y="27"/>
                    </a:cubicBezTo>
                    <a:close/>
                    <a:moveTo>
                      <a:pt x="10" y="4"/>
                    </a:moveTo>
                    <a:cubicBezTo>
                      <a:pt x="8" y="4"/>
                      <a:pt x="7" y="7"/>
                      <a:pt x="7" y="14"/>
                    </a:cubicBezTo>
                    <a:cubicBezTo>
                      <a:pt x="7" y="20"/>
                      <a:pt x="8" y="23"/>
                      <a:pt x="10" y="23"/>
                    </a:cubicBezTo>
                    <a:cubicBezTo>
                      <a:pt x="12" y="23"/>
                      <a:pt x="14" y="20"/>
                      <a:pt x="14" y="13"/>
                    </a:cubicBezTo>
                    <a:cubicBezTo>
                      <a:pt x="14"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67" name="Freeform 216"/>
              <p:cNvSpPr>
                <a:spLocks noEditPoints="1"/>
              </p:cNvSpPr>
              <p:nvPr/>
            </p:nvSpPr>
            <p:spPr bwMode="auto">
              <a:xfrm>
                <a:off x="5400675" y="3578225"/>
                <a:ext cx="42863" cy="60325"/>
              </a:xfrm>
              <a:custGeom>
                <a:avLst/>
                <a:gdLst>
                  <a:gd name="T0" fmla="*/ 10 w 19"/>
                  <a:gd name="T1" fmla="*/ 27 h 27"/>
                  <a:gd name="T2" fmla="*/ 0 w 19"/>
                  <a:gd name="T3" fmla="*/ 14 h 27"/>
                  <a:gd name="T4" fmla="*/ 3 w 19"/>
                  <a:gd name="T5" fmla="*/ 3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9"/>
                      <a:pt x="1" y="6"/>
                      <a:pt x="3" y="3"/>
                    </a:cubicBezTo>
                    <a:cubicBezTo>
                      <a:pt x="4" y="1"/>
                      <a:pt x="7" y="0"/>
                      <a:pt x="10" y="0"/>
                    </a:cubicBezTo>
                    <a:cubicBezTo>
                      <a:pt x="16" y="0"/>
                      <a:pt x="19" y="4"/>
                      <a:pt x="19" y="14"/>
                    </a:cubicBezTo>
                    <a:cubicBezTo>
                      <a:pt x="19" y="18"/>
                      <a:pt x="18" y="22"/>
                      <a:pt x="17" y="24"/>
                    </a:cubicBezTo>
                    <a:cubicBezTo>
                      <a:pt x="15" y="26"/>
                      <a:pt x="13" y="27"/>
                      <a:pt x="10" y="27"/>
                    </a:cubicBezTo>
                    <a:close/>
                    <a:moveTo>
                      <a:pt x="10" y="4"/>
                    </a:moveTo>
                    <a:cubicBezTo>
                      <a:pt x="8" y="4"/>
                      <a:pt x="6" y="8"/>
                      <a:pt x="6" y="14"/>
                    </a:cubicBezTo>
                    <a:cubicBezTo>
                      <a:pt x="6" y="20"/>
                      <a:pt x="8" y="23"/>
                      <a:pt x="10" y="23"/>
                    </a:cubicBezTo>
                    <a:cubicBezTo>
                      <a:pt x="12" y="23"/>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68" name="Freeform 217"/>
              <p:cNvSpPr>
                <a:spLocks noEditPoints="1"/>
              </p:cNvSpPr>
              <p:nvPr/>
            </p:nvSpPr>
            <p:spPr bwMode="auto">
              <a:xfrm>
                <a:off x="5449888" y="3578225"/>
                <a:ext cx="41275" cy="61913"/>
              </a:xfrm>
              <a:custGeom>
                <a:avLst/>
                <a:gdLst>
                  <a:gd name="T0" fmla="*/ 9 w 19"/>
                  <a:gd name="T1" fmla="*/ 28 h 28"/>
                  <a:gd name="T2" fmla="*/ 0 w 19"/>
                  <a:gd name="T3" fmla="*/ 14 h 28"/>
                  <a:gd name="T4" fmla="*/ 2 w 19"/>
                  <a:gd name="T5" fmla="*/ 4 h 28"/>
                  <a:gd name="T6" fmla="*/ 10 w 19"/>
                  <a:gd name="T7" fmla="*/ 0 h 28"/>
                  <a:gd name="T8" fmla="*/ 19 w 19"/>
                  <a:gd name="T9" fmla="*/ 14 h 28"/>
                  <a:gd name="T10" fmla="*/ 16 w 19"/>
                  <a:gd name="T11" fmla="*/ 25 h 28"/>
                  <a:gd name="T12" fmla="*/ 9 w 19"/>
                  <a:gd name="T13" fmla="*/ 28 h 28"/>
                  <a:gd name="T14" fmla="*/ 10 w 19"/>
                  <a:gd name="T15" fmla="*/ 5 h 28"/>
                  <a:gd name="T16" fmla="*/ 6 w 19"/>
                  <a:gd name="T17" fmla="*/ 14 h 28"/>
                  <a:gd name="T18" fmla="*/ 10 w 19"/>
                  <a:gd name="T19" fmla="*/ 23 h 28"/>
                  <a:gd name="T20" fmla="*/ 13 w 19"/>
                  <a:gd name="T21" fmla="*/ 14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10"/>
                      <a:pt x="1" y="6"/>
                      <a:pt x="2" y="4"/>
                    </a:cubicBezTo>
                    <a:cubicBezTo>
                      <a:pt x="4" y="1"/>
                      <a:pt x="6" y="0"/>
                      <a:pt x="10" y="0"/>
                    </a:cubicBezTo>
                    <a:cubicBezTo>
                      <a:pt x="16" y="0"/>
                      <a:pt x="19" y="5"/>
                      <a:pt x="19" y="14"/>
                    </a:cubicBezTo>
                    <a:cubicBezTo>
                      <a:pt x="19" y="19"/>
                      <a:pt x="18" y="22"/>
                      <a:pt x="16" y="25"/>
                    </a:cubicBezTo>
                    <a:cubicBezTo>
                      <a:pt x="15" y="27"/>
                      <a:pt x="12" y="28"/>
                      <a:pt x="9" y="28"/>
                    </a:cubicBezTo>
                    <a:close/>
                    <a:moveTo>
                      <a:pt x="10" y="5"/>
                    </a:moveTo>
                    <a:cubicBezTo>
                      <a:pt x="7" y="5"/>
                      <a:pt x="6" y="8"/>
                      <a:pt x="6" y="14"/>
                    </a:cubicBezTo>
                    <a:cubicBezTo>
                      <a:pt x="6" y="20"/>
                      <a:pt x="7" y="23"/>
                      <a:pt x="10" y="23"/>
                    </a:cubicBezTo>
                    <a:cubicBezTo>
                      <a:pt x="12" y="24"/>
                      <a:pt x="13" y="21"/>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69" name="Freeform 218"/>
              <p:cNvSpPr>
                <a:spLocks noEditPoints="1"/>
              </p:cNvSpPr>
              <p:nvPr/>
            </p:nvSpPr>
            <p:spPr bwMode="auto">
              <a:xfrm>
                <a:off x="5499100" y="3579813"/>
                <a:ext cx="41275" cy="61913"/>
              </a:xfrm>
              <a:custGeom>
                <a:avLst/>
                <a:gdLst>
                  <a:gd name="T0" fmla="*/ 9 w 19"/>
                  <a:gd name="T1" fmla="*/ 28 h 28"/>
                  <a:gd name="T2" fmla="*/ 0 w 19"/>
                  <a:gd name="T3" fmla="*/ 14 h 28"/>
                  <a:gd name="T4" fmla="*/ 2 w 19"/>
                  <a:gd name="T5" fmla="*/ 3 h 28"/>
                  <a:gd name="T6" fmla="*/ 10 w 19"/>
                  <a:gd name="T7" fmla="*/ 0 h 28"/>
                  <a:gd name="T8" fmla="*/ 19 w 19"/>
                  <a:gd name="T9" fmla="*/ 14 h 28"/>
                  <a:gd name="T10" fmla="*/ 16 w 19"/>
                  <a:gd name="T11" fmla="*/ 24 h 28"/>
                  <a:gd name="T12" fmla="*/ 9 w 19"/>
                  <a:gd name="T13" fmla="*/ 28 h 28"/>
                  <a:gd name="T14" fmla="*/ 9 w 19"/>
                  <a:gd name="T15" fmla="*/ 4 h 28"/>
                  <a:gd name="T16" fmla="*/ 5 w 19"/>
                  <a:gd name="T17" fmla="*/ 14 h 28"/>
                  <a:gd name="T18" fmla="*/ 9 w 19"/>
                  <a:gd name="T19" fmla="*/ 23 h 28"/>
                  <a:gd name="T20" fmla="*/ 13 w 19"/>
                  <a:gd name="T21" fmla="*/ 14 h 28"/>
                  <a:gd name="T22" fmla="*/ 9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9"/>
                      <a:pt x="1" y="5"/>
                      <a:pt x="2" y="3"/>
                    </a:cubicBezTo>
                    <a:cubicBezTo>
                      <a:pt x="4" y="1"/>
                      <a:pt x="6" y="0"/>
                      <a:pt x="10" y="0"/>
                    </a:cubicBezTo>
                    <a:cubicBezTo>
                      <a:pt x="16" y="0"/>
                      <a:pt x="19" y="4"/>
                      <a:pt x="19" y="14"/>
                    </a:cubicBezTo>
                    <a:cubicBezTo>
                      <a:pt x="19" y="19"/>
                      <a:pt x="18" y="22"/>
                      <a:pt x="16" y="24"/>
                    </a:cubicBezTo>
                    <a:cubicBezTo>
                      <a:pt x="15" y="27"/>
                      <a:pt x="12" y="28"/>
                      <a:pt x="9" y="28"/>
                    </a:cubicBezTo>
                    <a:close/>
                    <a:moveTo>
                      <a:pt x="9" y="4"/>
                    </a:moveTo>
                    <a:cubicBezTo>
                      <a:pt x="7" y="4"/>
                      <a:pt x="5" y="8"/>
                      <a:pt x="5" y="14"/>
                    </a:cubicBezTo>
                    <a:cubicBezTo>
                      <a:pt x="5" y="20"/>
                      <a:pt x="7" y="23"/>
                      <a:pt x="9" y="23"/>
                    </a:cubicBezTo>
                    <a:cubicBezTo>
                      <a:pt x="12" y="23"/>
                      <a:pt x="13" y="20"/>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70" name="Freeform 219"/>
              <p:cNvSpPr>
                <a:spLocks/>
              </p:cNvSpPr>
              <p:nvPr/>
            </p:nvSpPr>
            <p:spPr bwMode="auto">
              <a:xfrm>
                <a:off x="5551488" y="3579813"/>
                <a:ext cx="25400" cy="65088"/>
              </a:xfrm>
              <a:custGeom>
                <a:avLst/>
                <a:gdLst>
                  <a:gd name="T0" fmla="*/ 11 w 11"/>
                  <a:gd name="T1" fmla="*/ 0 h 29"/>
                  <a:gd name="T2" fmla="*/ 11 w 11"/>
                  <a:gd name="T3" fmla="*/ 29 h 29"/>
                  <a:gd name="T4" fmla="*/ 6 w 11"/>
                  <a:gd name="T5" fmla="*/ 28 h 29"/>
                  <a:gd name="T6" fmla="*/ 6 w 11"/>
                  <a:gd name="T7" fmla="*/ 7 h 29"/>
                  <a:gd name="T8" fmla="*/ 4 w 11"/>
                  <a:gd name="T9" fmla="*/ 8 h 29"/>
                  <a:gd name="T10" fmla="*/ 3 w 11"/>
                  <a:gd name="T11" fmla="*/ 8 h 29"/>
                  <a:gd name="T12" fmla="*/ 1 w 11"/>
                  <a:gd name="T13" fmla="*/ 9 h 29"/>
                  <a:gd name="T14" fmla="*/ 0 w 11"/>
                  <a:gd name="T15" fmla="*/ 9 h 29"/>
                  <a:gd name="T16" fmla="*/ 0 w 11"/>
                  <a:gd name="T17" fmla="*/ 4 h 29"/>
                  <a:gd name="T18" fmla="*/ 4 w 11"/>
                  <a:gd name="T19" fmla="*/ 2 h 29"/>
                  <a:gd name="T20" fmla="*/ 8 w 11"/>
                  <a:gd name="T21" fmla="*/ 0 h 29"/>
                  <a:gd name="T22" fmla="*/ 11 w 11"/>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9">
                    <a:moveTo>
                      <a:pt x="11" y="0"/>
                    </a:moveTo>
                    <a:cubicBezTo>
                      <a:pt x="11" y="11"/>
                      <a:pt x="11" y="17"/>
                      <a:pt x="11" y="29"/>
                    </a:cubicBezTo>
                    <a:cubicBezTo>
                      <a:pt x="9" y="28"/>
                      <a:pt x="8" y="28"/>
                      <a:pt x="6" y="28"/>
                    </a:cubicBezTo>
                    <a:cubicBezTo>
                      <a:pt x="6" y="20"/>
                      <a:pt x="6" y="15"/>
                      <a:pt x="6" y="7"/>
                    </a:cubicBezTo>
                    <a:cubicBezTo>
                      <a:pt x="6" y="7"/>
                      <a:pt x="5" y="8"/>
                      <a:pt x="4" y="8"/>
                    </a:cubicBezTo>
                    <a:cubicBezTo>
                      <a:pt x="4" y="8"/>
                      <a:pt x="3" y="8"/>
                      <a:pt x="3" y="8"/>
                    </a:cubicBezTo>
                    <a:cubicBezTo>
                      <a:pt x="2" y="9"/>
                      <a:pt x="2" y="9"/>
                      <a:pt x="1" y="9"/>
                    </a:cubicBezTo>
                    <a:cubicBezTo>
                      <a:pt x="1" y="9"/>
                      <a:pt x="0" y="9"/>
                      <a:pt x="0" y="9"/>
                    </a:cubicBezTo>
                    <a:cubicBezTo>
                      <a:pt x="0" y="7"/>
                      <a:pt x="0" y="6"/>
                      <a:pt x="0" y="4"/>
                    </a:cubicBezTo>
                    <a:cubicBezTo>
                      <a:pt x="1" y="3"/>
                      <a:pt x="3" y="3"/>
                      <a:pt x="4"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71" name="Freeform 220"/>
              <p:cNvSpPr>
                <a:spLocks noEditPoints="1"/>
              </p:cNvSpPr>
              <p:nvPr/>
            </p:nvSpPr>
            <p:spPr bwMode="auto">
              <a:xfrm>
                <a:off x="5594350" y="3582988"/>
                <a:ext cx="41275" cy="61913"/>
              </a:xfrm>
              <a:custGeom>
                <a:avLst/>
                <a:gdLst>
                  <a:gd name="T0" fmla="*/ 9 w 19"/>
                  <a:gd name="T1" fmla="*/ 28 h 28"/>
                  <a:gd name="T2" fmla="*/ 0 w 19"/>
                  <a:gd name="T3" fmla="*/ 14 h 28"/>
                  <a:gd name="T4" fmla="*/ 3 w 19"/>
                  <a:gd name="T5" fmla="*/ 3 h 28"/>
                  <a:gd name="T6" fmla="*/ 10 w 19"/>
                  <a:gd name="T7" fmla="*/ 0 h 28"/>
                  <a:gd name="T8" fmla="*/ 19 w 19"/>
                  <a:gd name="T9" fmla="*/ 14 h 28"/>
                  <a:gd name="T10" fmla="*/ 17 w 19"/>
                  <a:gd name="T11" fmla="*/ 25 h 28"/>
                  <a:gd name="T12" fmla="*/ 9 w 19"/>
                  <a:gd name="T13" fmla="*/ 28 h 28"/>
                  <a:gd name="T14" fmla="*/ 9 w 19"/>
                  <a:gd name="T15" fmla="*/ 4 h 28"/>
                  <a:gd name="T16" fmla="*/ 6 w 19"/>
                  <a:gd name="T17" fmla="*/ 14 h 28"/>
                  <a:gd name="T18" fmla="*/ 9 w 19"/>
                  <a:gd name="T19" fmla="*/ 24 h 28"/>
                  <a:gd name="T20" fmla="*/ 13 w 19"/>
                  <a:gd name="T21" fmla="*/ 14 h 28"/>
                  <a:gd name="T22" fmla="*/ 9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4"/>
                    </a:cubicBezTo>
                    <a:cubicBezTo>
                      <a:pt x="0" y="9"/>
                      <a:pt x="1" y="6"/>
                      <a:pt x="3" y="3"/>
                    </a:cubicBezTo>
                    <a:cubicBezTo>
                      <a:pt x="4" y="1"/>
                      <a:pt x="7" y="0"/>
                      <a:pt x="10" y="0"/>
                    </a:cubicBezTo>
                    <a:cubicBezTo>
                      <a:pt x="16" y="0"/>
                      <a:pt x="19" y="4"/>
                      <a:pt x="19" y="14"/>
                    </a:cubicBezTo>
                    <a:cubicBezTo>
                      <a:pt x="19" y="19"/>
                      <a:pt x="18" y="22"/>
                      <a:pt x="17" y="25"/>
                    </a:cubicBezTo>
                    <a:cubicBezTo>
                      <a:pt x="15" y="27"/>
                      <a:pt x="13" y="28"/>
                      <a:pt x="9" y="28"/>
                    </a:cubicBezTo>
                    <a:close/>
                    <a:moveTo>
                      <a:pt x="9" y="4"/>
                    </a:moveTo>
                    <a:cubicBezTo>
                      <a:pt x="7" y="4"/>
                      <a:pt x="6" y="8"/>
                      <a:pt x="6" y="14"/>
                    </a:cubicBezTo>
                    <a:cubicBezTo>
                      <a:pt x="6" y="21"/>
                      <a:pt x="7" y="24"/>
                      <a:pt x="9" y="24"/>
                    </a:cubicBezTo>
                    <a:cubicBezTo>
                      <a:pt x="12" y="24"/>
                      <a:pt x="13" y="21"/>
                      <a:pt x="13" y="14"/>
                    </a:cubicBezTo>
                    <a:cubicBezTo>
                      <a:pt x="13" y="8"/>
                      <a:pt x="12" y="4"/>
                      <a:pt x="9"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72" name="Freeform 221"/>
              <p:cNvSpPr>
                <a:spLocks noEditPoints="1"/>
              </p:cNvSpPr>
              <p:nvPr/>
            </p:nvSpPr>
            <p:spPr bwMode="auto">
              <a:xfrm>
                <a:off x="5640388" y="3582988"/>
                <a:ext cx="44450" cy="66675"/>
              </a:xfrm>
              <a:custGeom>
                <a:avLst/>
                <a:gdLst>
                  <a:gd name="T0" fmla="*/ 10 w 20"/>
                  <a:gd name="T1" fmla="*/ 29 h 30"/>
                  <a:gd name="T2" fmla="*/ 0 w 20"/>
                  <a:gd name="T3" fmla="*/ 15 h 30"/>
                  <a:gd name="T4" fmla="*/ 3 w 20"/>
                  <a:gd name="T5" fmla="*/ 4 h 30"/>
                  <a:gd name="T6" fmla="*/ 10 w 20"/>
                  <a:gd name="T7" fmla="*/ 0 h 30"/>
                  <a:gd name="T8" fmla="*/ 20 w 20"/>
                  <a:gd name="T9" fmla="*/ 15 h 30"/>
                  <a:gd name="T10" fmla="*/ 17 w 20"/>
                  <a:gd name="T11" fmla="*/ 26 h 30"/>
                  <a:gd name="T12" fmla="*/ 10 w 20"/>
                  <a:gd name="T13" fmla="*/ 29 h 30"/>
                  <a:gd name="T14" fmla="*/ 10 w 20"/>
                  <a:gd name="T15" fmla="*/ 5 h 30"/>
                  <a:gd name="T16" fmla="*/ 7 w 20"/>
                  <a:gd name="T17" fmla="*/ 15 h 30"/>
                  <a:gd name="T18" fmla="*/ 10 w 20"/>
                  <a:gd name="T19" fmla="*/ 24 h 30"/>
                  <a:gd name="T20" fmla="*/ 14 w 20"/>
                  <a:gd name="T21" fmla="*/ 15 h 30"/>
                  <a:gd name="T22" fmla="*/ 10 w 20"/>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30">
                    <a:moveTo>
                      <a:pt x="10" y="29"/>
                    </a:moveTo>
                    <a:cubicBezTo>
                      <a:pt x="4" y="29"/>
                      <a:pt x="0" y="24"/>
                      <a:pt x="0" y="15"/>
                    </a:cubicBezTo>
                    <a:cubicBezTo>
                      <a:pt x="0" y="10"/>
                      <a:pt x="1" y="6"/>
                      <a:pt x="3" y="4"/>
                    </a:cubicBezTo>
                    <a:cubicBezTo>
                      <a:pt x="5" y="1"/>
                      <a:pt x="7" y="0"/>
                      <a:pt x="10" y="0"/>
                    </a:cubicBezTo>
                    <a:cubicBezTo>
                      <a:pt x="17" y="0"/>
                      <a:pt x="20" y="5"/>
                      <a:pt x="20" y="15"/>
                    </a:cubicBezTo>
                    <a:cubicBezTo>
                      <a:pt x="20" y="20"/>
                      <a:pt x="19" y="23"/>
                      <a:pt x="17" y="26"/>
                    </a:cubicBezTo>
                    <a:cubicBezTo>
                      <a:pt x="16" y="28"/>
                      <a:pt x="13" y="30"/>
                      <a:pt x="10" y="29"/>
                    </a:cubicBezTo>
                    <a:close/>
                    <a:moveTo>
                      <a:pt x="10" y="5"/>
                    </a:moveTo>
                    <a:cubicBezTo>
                      <a:pt x="8" y="5"/>
                      <a:pt x="7" y="8"/>
                      <a:pt x="7" y="15"/>
                    </a:cubicBezTo>
                    <a:cubicBezTo>
                      <a:pt x="7" y="21"/>
                      <a:pt x="8" y="24"/>
                      <a:pt x="10" y="24"/>
                    </a:cubicBezTo>
                    <a:cubicBezTo>
                      <a:pt x="12" y="25"/>
                      <a:pt x="14" y="21"/>
                      <a:pt x="14" y="15"/>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73" name="Freeform 222"/>
              <p:cNvSpPr>
                <a:spLocks/>
              </p:cNvSpPr>
              <p:nvPr/>
            </p:nvSpPr>
            <p:spPr bwMode="auto">
              <a:xfrm>
                <a:off x="5695950" y="3584575"/>
                <a:ext cx="26988" cy="65088"/>
              </a:xfrm>
              <a:custGeom>
                <a:avLst/>
                <a:gdLst>
                  <a:gd name="T0" fmla="*/ 12 w 12"/>
                  <a:gd name="T1" fmla="*/ 0 h 29"/>
                  <a:gd name="T2" fmla="*/ 12 w 12"/>
                  <a:gd name="T3" fmla="*/ 29 h 29"/>
                  <a:gd name="T4" fmla="*/ 6 w 12"/>
                  <a:gd name="T5" fmla="*/ 28 h 29"/>
                  <a:gd name="T6" fmla="*/ 6 w 12"/>
                  <a:gd name="T7" fmla="*/ 6 h 29"/>
                  <a:gd name="T8" fmla="*/ 4 w 12"/>
                  <a:gd name="T9" fmla="*/ 8 h 29"/>
                  <a:gd name="T10" fmla="*/ 3 w 12"/>
                  <a:gd name="T11" fmla="*/ 8 h 29"/>
                  <a:gd name="T12" fmla="*/ 2 w 12"/>
                  <a:gd name="T13" fmla="*/ 9 h 29"/>
                  <a:gd name="T14" fmla="*/ 0 w 12"/>
                  <a:gd name="T15" fmla="*/ 9 h 29"/>
                  <a:gd name="T16" fmla="*/ 0 w 12"/>
                  <a:gd name="T17" fmla="*/ 4 h 29"/>
                  <a:gd name="T18" fmla="*/ 4 w 12"/>
                  <a:gd name="T19" fmla="*/ 2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1"/>
                      <a:pt x="12" y="17"/>
                      <a:pt x="12" y="29"/>
                    </a:cubicBezTo>
                    <a:cubicBezTo>
                      <a:pt x="9" y="29"/>
                      <a:pt x="8" y="29"/>
                      <a:pt x="6" y="28"/>
                    </a:cubicBezTo>
                    <a:cubicBezTo>
                      <a:pt x="6" y="20"/>
                      <a:pt x="6" y="15"/>
                      <a:pt x="6" y="6"/>
                    </a:cubicBezTo>
                    <a:cubicBezTo>
                      <a:pt x="5" y="7"/>
                      <a:pt x="5" y="7"/>
                      <a:pt x="4" y="8"/>
                    </a:cubicBezTo>
                    <a:cubicBezTo>
                      <a:pt x="4" y="8"/>
                      <a:pt x="4" y="8"/>
                      <a:pt x="3" y="8"/>
                    </a:cubicBezTo>
                    <a:cubicBezTo>
                      <a:pt x="3" y="8"/>
                      <a:pt x="2" y="9"/>
                      <a:pt x="2" y="9"/>
                    </a:cubicBezTo>
                    <a:cubicBezTo>
                      <a:pt x="1" y="9"/>
                      <a:pt x="1" y="9"/>
                      <a:pt x="0" y="9"/>
                    </a:cubicBezTo>
                    <a:cubicBezTo>
                      <a:pt x="0" y="7"/>
                      <a:pt x="0" y="6"/>
                      <a:pt x="0" y="4"/>
                    </a:cubicBezTo>
                    <a:cubicBezTo>
                      <a:pt x="2" y="3"/>
                      <a:pt x="3" y="3"/>
                      <a:pt x="4" y="2"/>
                    </a:cubicBezTo>
                    <a:cubicBezTo>
                      <a:pt x="6" y="1"/>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74" name="Freeform 223"/>
              <p:cNvSpPr>
                <a:spLocks/>
              </p:cNvSpPr>
              <p:nvPr/>
            </p:nvSpPr>
            <p:spPr bwMode="auto">
              <a:xfrm>
                <a:off x="5743575" y="3584575"/>
                <a:ext cx="25400" cy="66675"/>
              </a:xfrm>
              <a:custGeom>
                <a:avLst/>
                <a:gdLst>
                  <a:gd name="T0" fmla="*/ 12 w 12"/>
                  <a:gd name="T1" fmla="*/ 1 h 30"/>
                  <a:gd name="T2" fmla="*/ 12 w 12"/>
                  <a:gd name="T3" fmla="*/ 30 h 30"/>
                  <a:gd name="T4" fmla="*/ 6 w 12"/>
                  <a:gd name="T5" fmla="*/ 30 h 30"/>
                  <a:gd name="T6" fmla="*/ 6 w 12"/>
                  <a:gd name="T7" fmla="*/ 8 h 30"/>
                  <a:gd name="T8" fmla="*/ 5 w 12"/>
                  <a:gd name="T9" fmla="*/ 9 h 30"/>
                  <a:gd name="T10" fmla="*/ 4 w 12"/>
                  <a:gd name="T11" fmla="*/ 9 h 30"/>
                  <a:gd name="T12" fmla="*/ 2 w 12"/>
                  <a:gd name="T13" fmla="*/ 10 h 30"/>
                  <a:gd name="T14" fmla="*/ 0 w 12"/>
                  <a:gd name="T15" fmla="*/ 10 h 30"/>
                  <a:gd name="T16" fmla="*/ 0 w 12"/>
                  <a:gd name="T17" fmla="*/ 4 h 30"/>
                  <a:gd name="T18" fmla="*/ 5 w 12"/>
                  <a:gd name="T19" fmla="*/ 3 h 30"/>
                  <a:gd name="T20" fmla="*/ 8 w 12"/>
                  <a:gd name="T21" fmla="*/ 0 h 30"/>
                  <a:gd name="T22" fmla="*/ 12 w 12"/>
                  <a:gd name="T23"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1"/>
                    </a:moveTo>
                    <a:cubicBezTo>
                      <a:pt x="12" y="12"/>
                      <a:pt x="12" y="18"/>
                      <a:pt x="12" y="30"/>
                    </a:cubicBezTo>
                    <a:cubicBezTo>
                      <a:pt x="10" y="30"/>
                      <a:pt x="9" y="30"/>
                      <a:pt x="6" y="30"/>
                    </a:cubicBezTo>
                    <a:cubicBezTo>
                      <a:pt x="6" y="21"/>
                      <a:pt x="6" y="16"/>
                      <a:pt x="6" y="8"/>
                    </a:cubicBezTo>
                    <a:cubicBezTo>
                      <a:pt x="6" y="8"/>
                      <a:pt x="6" y="8"/>
                      <a:pt x="5" y="9"/>
                    </a:cubicBezTo>
                    <a:cubicBezTo>
                      <a:pt x="5" y="9"/>
                      <a:pt x="4" y="9"/>
                      <a:pt x="4" y="9"/>
                    </a:cubicBezTo>
                    <a:cubicBezTo>
                      <a:pt x="3" y="9"/>
                      <a:pt x="3" y="10"/>
                      <a:pt x="2" y="10"/>
                    </a:cubicBezTo>
                    <a:cubicBezTo>
                      <a:pt x="2" y="10"/>
                      <a:pt x="1" y="10"/>
                      <a:pt x="0" y="10"/>
                    </a:cubicBezTo>
                    <a:cubicBezTo>
                      <a:pt x="0" y="8"/>
                      <a:pt x="0" y="7"/>
                      <a:pt x="0" y="4"/>
                    </a:cubicBezTo>
                    <a:cubicBezTo>
                      <a:pt x="2" y="4"/>
                      <a:pt x="4" y="3"/>
                      <a:pt x="5" y="3"/>
                    </a:cubicBezTo>
                    <a:cubicBezTo>
                      <a:pt x="6" y="2"/>
                      <a:pt x="7" y="1"/>
                      <a:pt x="8" y="0"/>
                    </a:cubicBezTo>
                    <a:cubicBezTo>
                      <a:pt x="10" y="1"/>
                      <a:pt x="10" y="1"/>
                      <a:pt x="12" y="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75" name="Freeform 224"/>
              <p:cNvSpPr>
                <a:spLocks noEditPoints="1"/>
              </p:cNvSpPr>
              <p:nvPr/>
            </p:nvSpPr>
            <p:spPr bwMode="auto">
              <a:xfrm>
                <a:off x="5786438" y="3586163"/>
                <a:ext cx="42863" cy="69850"/>
              </a:xfrm>
              <a:custGeom>
                <a:avLst/>
                <a:gdLst>
                  <a:gd name="T0" fmla="*/ 9 w 19"/>
                  <a:gd name="T1" fmla="*/ 31 h 31"/>
                  <a:gd name="T2" fmla="*/ 0 w 19"/>
                  <a:gd name="T3" fmla="*/ 15 h 31"/>
                  <a:gd name="T4" fmla="*/ 2 w 19"/>
                  <a:gd name="T5" fmla="*/ 4 h 31"/>
                  <a:gd name="T6" fmla="*/ 10 w 19"/>
                  <a:gd name="T7" fmla="*/ 0 h 31"/>
                  <a:gd name="T8" fmla="*/ 19 w 19"/>
                  <a:gd name="T9" fmla="*/ 16 h 31"/>
                  <a:gd name="T10" fmla="*/ 17 w 19"/>
                  <a:gd name="T11" fmla="*/ 27 h 31"/>
                  <a:gd name="T12" fmla="*/ 9 w 19"/>
                  <a:gd name="T13" fmla="*/ 31 h 31"/>
                  <a:gd name="T14" fmla="*/ 9 w 19"/>
                  <a:gd name="T15" fmla="*/ 5 h 31"/>
                  <a:gd name="T16" fmla="*/ 6 w 19"/>
                  <a:gd name="T17" fmla="*/ 16 h 31"/>
                  <a:gd name="T18" fmla="*/ 9 w 19"/>
                  <a:gd name="T19" fmla="*/ 26 h 31"/>
                  <a:gd name="T20" fmla="*/ 13 w 19"/>
                  <a:gd name="T21" fmla="*/ 16 h 31"/>
                  <a:gd name="T22" fmla="*/ 9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9" y="31"/>
                    </a:moveTo>
                    <a:cubicBezTo>
                      <a:pt x="3" y="31"/>
                      <a:pt x="0" y="25"/>
                      <a:pt x="0" y="15"/>
                    </a:cubicBezTo>
                    <a:cubicBezTo>
                      <a:pt x="0" y="11"/>
                      <a:pt x="0" y="7"/>
                      <a:pt x="2" y="4"/>
                    </a:cubicBezTo>
                    <a:cubicBezTo>
                      <a:pt x="4" y="1"/>
                      <a:pt x="7" y="0"/>
                      <a:pt x="10" y="0"/>
                    </a:cubicBezTo>
                    <a:cubicBezTo>
                      <a:pt x="16" y="1"/>
                      <a:pt x="19" y="6"/>
                      <a:pt x="19" y="16"/>
                    </a:cubicBezTo>
                    <a:cubicBezTo>
                      <a:pt x="19" y="21"/>
                      <a:pt x="18" y="25"/>
                      <a:pt x="17" y="27"/>
                    </a:cubicBezTo>
                    <a:cubicBezTo>
                      <a:pt x="14" y="30"/>
                      <a:pt x="12" y="31"/>
                      <a:pt x="9" y="31"/>
                    </a:cubicBezTo>
                    <a:close/>
                    <a:moveTo>
                      <a:pt x="9" y="5"/>
                    </a:moveTo>
                    <a:cubicBezTo>
                      <a:pt x="7" y="5"/>
                      <a:pt x="6" y="9"/>
                      <a:pt x="6" y="16"/>
                    </a:cubicBezTo>
                    <a:cubicBezTo>
                      <a:pt x="6" y="22"/>
                      <a:pt x="7" y="26"/>
                      <a:pt x="9" y="26"/>
                    </a:cubicBezTo>
                    <a:cubicBezTo>
                      <a:pt x="12" y="26"/>
                      <a:pt x="13" y="23"/>
                      <a:pt x="13" y="16"/>
                    </a:cubicBezTo>
                    <a:cubicBezTo>
                      <a:pt x="13" y="9"/>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76" name="Freeform 225"/>
              <p:cNvSpPr>
                <a:spLocks/>
              </p:cNvSpPr>
              <p:nvPr/>
            </p:nvSpPr>
            <p:spPr bwMode="auto">
              <a:xfrm>
                <a:off x="5840413" y="3590925"/>
                <a:ext cx="23813" cy="66675"/>
              </a:xfrm>
              <a:custGeom>
                <a:avLst/>
                <a:gdLst>
                  <a:gd name="T0" fmla="*/ 11 w 11"/>
                  <a:gd name="T1" fmla="*/ 0 h 30"/>
                  <a:gd name="T2" fmla="*/ 11 w 11"/>
                  <a:gd name="T3" fmla="*/ 30 h 30"/>
                  <a:gd name="T4" fmla="*/ 6 w 11"/>
                  <a:gd name="T5" fmla="*/ 30 h 30"/>
                  <a:gd name="T6" fmla="*/ 6 w 11"/>
                  <a:gd name="T7" fmla="*/ 7 h 30"/>
                  <a:gd name="T8" fmla="*/ 5 w 11"/>
                  <a:gd name="T9" fmla="*/ 7 h 30"/>
                  <a:gd name="T10" fmla="*/ 3 w 11"/>
                  <a:gd name="T11" fmla="*/ 8 h 30"/>
                  <a:gd name="T12" fmla="*/ 1 w 11"/>
                  <a:gd name="T13" fmla="*/ 9 h 30"/>
                  <a:gd name="T14" fmla="*/ 0 w 11"/>
                  <a:gd name="T15" fmla="*/ 9 h 30"/>
                  <a:gd name="T16" fmla="*/ 0 w 11"/>
                  <a:gd name="T17" fmla="*/ 4 h 30"/>
                  <a:gd name="T18" fmla="*/ 4 w 11"/>
                  <a:gd name="T19" fmla="*/ 2 h 30"/>
                  <a:gd name="T20" fmla="*/ 8 w 11"/>
                  <a:gd name="T21" fmla="*/ 0 h 30"/>
                  <a:gd name="T22" fmla="*/ 11 w 11"/>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30">
                    <a:moveTo>
                      <a:pt x="11" y="0"/>
                    </a:moveTo>
                    <a:cubicBezTo>
                      <a:pt x="11" y="12"/>
                      <a:pt x="11" y="18"/>
                      <a:pt x="11" y="30"/>
                    </a:cubicBezTo>
                    <a:cubicBezTo>
                      <a:pt x="9" y="30"/>
                      <a:pt x="8" y="30"/>
                      <a:pt x="6" y="30"/>
                    </a:cubicBezTo>
                    <a:cubicBezTo>
                      <a:pt x="6" y="20"/>
                      <a:pt x="6" y="16"/>
                      <a:pt x="6" y="7"/>
                    </a:cubicBezTo>
                    <a:cubicBezTo>
                      <a:pt x="5" y="7"/>
                      <a:pt x="5" y="7"/>
                      <a:pt x="5" y="7"/>
                    </a:cubicBezTo>
                    <a:cubicBezTo>
                      <a:pt x="4" y="8"/>
                      <a:pt x="3" y="8"/>
                      <a:pt x="3" y="8"/>
                    </a:cubicBezTo>
                    <a:cubicBezTo>
                      <a:pt x="2" y="8"/>
                      <a:pt x="2" y="8"/>
                      <a:pt x="1" y="9"/>
                    </a:cubicBezTo>
                    <a:cubicBezTo>
                      <a:pt x="1" y="9"/>
                      <a:pt x="0" y="9"/>
                      <a:pt x="0" y="9"/>
                    </a:cubicBezTo>
                    <a:cubicBezTo>
                      <a:pt x="0" y="7"/>
                      <a:pt x="0" y="6"/>
                      <a:pt x="0" y="4"/>
                    </a:cubicBezTo>
                    <a:cubicBezTo>
                      <a:pt x="1" y="3"/>
                      <a:pt x="3" y="3"/>
                      <a:pt x="4" y="2"/>
                    </a:cubicBezTo>
                    <a:cubicBezTo>
                      <a:pt x="6" y="1"/>
                      <a:pt x="7" y="0"/>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77" name="Freeform 226"/>
              <p:cNvSpPr>
                <a:spLocks/>
              </p:cNvSpPr>
              <p:nvPr/>
            </p:nvSpPr>
            <p:spPr bwMode="auto">
              <a:xfrm>
                <a:off x="5889625" y="3590925"/>
                <a:ext cx="23813" cy="68263"/>
              </a:xfrm>
              <a:custGeom>
                <a:avLst/>
                <a:gdLst>
                  <a:gd name="T0" fmla="*/ 11 w 11"/>
                  <a:gd name="T1" fmla="*/ 0 h 31"/>
                  <a:gd name="T2" fmla="*/ 11 w 11"/>
                  <a:gd name="T3" fmla="*/ 31 h 31"/>
                  <a:gd name="T4" fmla="*/ 5 w 11"/>
                  <a:gd name="T5" fmla="*/ 31 h 31"/>
                  <a:gd name="T6" fmla="*/ 5 w 11"/>
                  <a:gd name="T7" fmla="*/ 7 h 31"/>
                  <a:gd name="T8" fmla="*/ 4 w 11"/>
                  <a:gd name="T9" fmla="*/ 8 h 31"/>
                  <a:gd name="T10" fmla="*/ 3 w 11"/>
                  <a:gd name="T11" fmla="*/ 9 h 31"/>
                  <a:gd name="T12" fmla="*/ 2 w 11"/>
                  <a:gd name="T13" fmla="*/ 9 h 31"/>
                  <a:gd name="T14" fmla="*/ 0 w 11"/>
                  <a:gd name="T15" fmla="*/ 10 h 31"/>
                  <a:gd name="T16" fmla="*/ 0 w 11"/>
                  <a:gd name="T17" fmla="*/ 4 h 31"/>
                  <a:gd name="T18" fmla="*/ 4 w 11"/>
                  <a:gd name="T19" fmla="*/ 3 h 31"/>
                  <a:gd name="T20" fmla="*/ 8 w 11"/>
                  <a:gd name="T21" fmla="*/ 0 h 31"/>
                  <a:gd name="T22" fmla="*/ 11 w 11"/>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31">
                    <a:moveTo>
                      <a:pt x="11" y="0"/>
                    </a:moveTo>
                    <a:cubicBezTo>
                      <a:pt x="11" y="12"/>
                      <a:pt x="11" y="18"/>
                      <a:pt x="11" y="31"/>
                    </a:cubicBezTo>
                    <a:cubicBezTo>
                      <a:pt x="9" y="31"/>
                      <a:pt x="8" y="31"/>
                      <a:pt x="5" y="31"/>
                    </a:cubicBezTo>
                    <a:cubicBezTo>
                      <a:pt x="5" y="21"/>
                      <a:pt x="5" y="17"/>
                      <a:pt x="5" y="7"/>
                    </a:cubicBezTo>
                    <a:cubicBezTo>
                      <a:pt x="5" y="8"/>
                      <a:pt x="5" y="8"/>
                      <a:pt x="4" y="8"/>
                    </a:cubicBezTo>
                    <a:cubicBezTo>
                      <a:pt x="4" y="8"/>
                      <a:pt x="4" y="9"/>
                      <a:pt x="3" y="9"/>
                    </a:cubicBezTo>
                    <a:cubicBezTo>
                      <a:pt x="3" y="9"/>
                      <a:pt x="2" y="9"/>
                      <a:pt x="2" y="9"/>
                    </a:cubicBezTo>
                    <a:cubicBezTo>
                      <a:pt x="1" y="9"/>
                      <a:pt x="0" y="10"/>
                      <a:pt x="0" y="10"/>
                    </a:cubicBezTo>
                    <a:cubicBezTo>
                      <a:pt x="0" y="7"/>
                      <a:pt x="0" y="6"/>
                      <a:pt x="0" y="4"/>
                    </a:cubicBezTo>
                    <a:cubicBezTo>
                      <a:pt x="2" y="4"/>
                      <a:pt x="3" y="3"/>
                      <a:pt x="4" y="3"/>
                    </a:cubicBezTo>
                    <a:cubicBezTo>
                      <a:pt x="5"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78" name="Freeform 227"/>
              <p:cNvSpPr>
                <a:spLocks noEditPoints="1"/>
              </p:cNvSpPr>
              <p:nvPr/>
            </p:nvSpPr>
            <p:spPr bwMode="auto">
              <a:xfrm>
                <a:off x="5930900" y="3590925"/>
                <a:ext cx="42863" cy="71438"/>
              </a:xfrm>
              <a:custGeom>
                <a:avLst/>
                <a:gdLst>
                  <a:gd name="T0" fmla="*/ 9 w 19"/>
                  <a:gd name="T1" fmla="*/ 32 h 32"/>
                  <a:gd name="T2" fmla="*/ 0 w 19"/>
                  <a:gd name="T3" fmla="*/ 16 h 32"/>
                  <a:gd name="T4" fmla="*/ 2 w 19"/>
                  <a:gd name="T5" fmla="*/ 4 h 32"/>
                  <a:gd name="T6" fmla="*/ 10 w 19"/>
                  <a:gd name="T7" fmla="*/ 0 h 32"/>
                  <a:gd name="T8" fmla="*/ 19 w 19"/>
                  <a:gd name="T9" fmla="*/ 16 h 32"/>
                  <a:gd name="T10" fmla="*/ 16 w 19"/>
                  <a:gd name="T11" fmla="*/ 27 h 32"/>
                  <a:gd name="T12" fmla="*/ 9 w 19"/>
                  <a:gd name="T13" fmla="*/ 32 h 32"/>
                  <a:gd name="T14" fmla="*/ 10 w 19"/>
                  <a:gd name="T15" fmla="*/ 5 h 32"/>
                  <a:gd name="T16" fmla="*/ 5 w 19"/>
                  <a:gd name="T17" fmla="*/ 16 h 32"/>
                  <a:gd name="T18" fmla="*/ 10 w 19"/>
                  <a:gd name="T19" fmla="*/ 26 h 32"/>
                  <a:gd name="T20" fmla="*/ 13 w 19"/>
                  <a:gd name="T21" fmla="*/ 16 h 32"/>
                  <a:gd name="T22" fmla="*/ 10 w 19"/>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2">
                    <a:moveTo>
                      <a:pt x="9" y="32"/>
                    </a:moveTo>
                    <a:cubicBezTo>
                      <a:pt x="3" y="32"/>
                      <a:pt x="0" y="26"/>
                      <a:pt x="0" y="16"/>
                    </a:cubicBezTo>
                    <a:cubicBezTo>
                      <a:pt x="0" y="11"/>
                      <a:pt x="1" y="7"/>
                      <a:pt x="2" y="4"/>
                    </a:cubicBezTo>
                    <a:cubicBezTo>
                      <a:pt x="4" y="2"/>
                      <a:pt x="7" y="0"/>
                      <a:pt x="10" y="0"/>
                    </a:cubicBezTo>
                    <a:cubicBezTo>
                      <a:pt x="16" y="0"/>
                      <a:pt x="19" y="6"/>
                      <a:pt x="19" y="16"/>
                    </a:cubicBezTo>
                    <a:cubicBezTo>
                      <a:pt x="19" y="21"/>
                      <a:pt x="18" y="25"/>
                      <a:pt x="16" y="27"/>
                    </a:cubicBezTo>
                    <a:cubicBezTo>
                      <a:pt x="15" y="30"/>
                      <a:pt x="12" y="32"/>
                      <a:pt x="9" y="32"/>
                    </a:cubicBezTo>
                    <a:close/>
                    <a:moveTo>
                      <a:pt x="10" y="5"/>
                    </a:moveTo>
                    <a:cubicBezTo>
                      <a:pt x="7" y="5"/>
                      <a:pt x="5" y="9"/>
                      <a:pt x="5" y="16"/>
                    </a:cubicBezTo>
                    <a:cubicBezTo>
                      <a:pt x="5" y="23"/>
                      <a:pt x="7" y="26"/>
                      <a:pt x="10" y="26"/>
                    </a:cubicBezTo>
                    <a:cubicBezTo>
                      <a:pt x="12" y="26"/>
                      <a:pt x="13" y="23"/>
                      <a:pt x="13" y="16"/>
                    </a:cubicBezTo>
                    <a:cubicBezTo>
                      <a:pt x="13"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79" name="Freeform 228"/>
              <p:cNvSpPr>
                <a:spLocks/>
              </p:cNvSpPr>
              <p:nvPr/>
            </p:nvSpPr>
            <p:spPr bwMode="auto">
              <a:xfrm>
                <a:off x="5360988" y="3659188"/>
                <a:ext cx="22225" cy="63500"/>
              </a:xfrm>
              <a:custGeom>
                <a:avLst/>
                <a:gdLst>
                  <a:gd name="T0" fmla="*/ 10 w 10"/>
                  <a:gd name="T1" fmla="*/ 0 h 28"/>
                  <a:gd name="T2" fmla="*/ 10 w 10"/>
                  <a:gd name="T3" fmla="*/ 28 h 28"/>
                  <a:gd name="T4" fmla="*/ 5 w 10"/>
                  <a:gd name="T5" fmla="*/ 28 h 28"/>
                  <a:gd name="T6" fmla="*/ 5 w 10"/>
                  <a:gd name="T7" fmla="*/ 6 h 28"/>
                  <a:gd name="T8" fmla="*/ 4 w 10"/>
                  <a:gd name="T9" fmla="*/ 8 h 28"/>
                  <a:gd name="T10" fmla="*/ 2 w 10"/>
                  <a:gd name="T11" fmla="*/ 8 h 28"/>
                  <a:gd name="T12" fmla="*/ 1 w 10"/>
                  <a:gd name="T13" fmla="*/ 9 h 28"/>
                  <a:gd name="T14" fmla="*/ 0 w 10"/>
                  <a:gd name="T15" fmla="*/ 9 h 28"/>
                  <a:gd name="T16" fmla="*/ 0 w 10"/>
                  <a:gd name="T17" fmla="*/ 4 h 28"/>
                  <a:gd name="T18" fmla="*/ 4 w 10"/>
                  <a:gd name="T19" fmla="*/ 2 h 28"/>
                  <a:gd name="T20" fmla="*/ 7 w 10"/>
                  <a:gd name="T21" fmla="*/ 0 h 28"/>
                  <a:gd name="T22" fmla="*/ 10 w 10"/>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8">
                    <a:moveTo>
                      <a:pt x="10" y="0"/>
                    </a:moveTo>
                    <a:cubicBezTo>
                      <a:pt x="10" y="11"/>
                      <a:pt x="10" y="16"/>
                      <a:pt x="10" y="28"/>
                    </a:cubicBezTo>
                    <a:cubicBezTo>
                      <a:pt x="8" y="28"/>
                      <a:pt x="7" y="28"/>
                      <a:pt x="5" y="28"/>
                    </a:cubicBezTo>
                    <a:cubicBezTo>
                      <a:pt x="5" y="19"/>
                      <a:pt x="5" y="15"/>
                      <a:pt x="5" y="6"/>
                    </a:cubicBezTo>
                    <a:cubicBezTo>
                      <a:pt x="5" y="7"/>
                      <a:pt x="4" y="7"/>
                      <a:pt x="4" y="8"/>
                    </a:cubicBezTo>
                    <a:cubicBezTo>
                      <a:pt x="3" y="8"/>
                      <a:pt x="3" y="8"/>
                      <a:pt x="2" y="8"/>
                    </a:cubicBezTo>
                    <a:cubicBezTo>
                      <a:pt x="2" y="9"/>
                      <a:pt x="2" y="9"/>
                      <a:pt x="1" y="9"/>
                    </a:cubicBezTo>
                    <a:cubicBezTo>
                      <a:pt x="0" y="9"/>
                      <a:pt x="0" y="9"/>
                      <a:pt x="0" y="9"/>
                    </a:cubicBezTo>
                    <a:cubicBezTo>
                      <a:pt x="0" y="7"/>
                      <a:pt x="0" y="6"/>
                      <a:pt x="0" y="4"/>
                    </a:cubicBezTo>
                    <a:cubicBezTo>
                      <a:pt x="1" y="4"/>
                      <a:pt x="2" y="3"/>
                      <a:pt x="4" y="2"/>
                    </a:cubicBezTo>
                    <a:cubicBezTo>
                      <a:pt x="5" y="2"/>
                      <a:pt x="6" y="1"/>
                      <a:pt x="7" y="0"/>
                    </a:cubicBezTo>
                    <a:cubicBezTo>
                      <a:pt x="8" y="0"/>
                      <a:pt x="9" y="0"/>
                      <a:pt x="10"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80" name="Freeform 229"/>
              <p:cNvSpPr>
                <a:spLocks noEditPoints="1"/>
              </p:cNvSpPr>
              <p:nvPr/>
            </p:nvSpPr>
            <p:spPr bwMode="auto">
              <a:xfrm>
                <a:off x="5400675" y="3662363"/>
                <a:ext cx="42863" cy="60325"/>
              </a:xfrm>
              <a:custGeom>
                <a:avLst/>
                <a:gdLst>
                  <a:gd name="T0" fmla="*/ 10 w 19"/>
                  <a:gd name="T1" fmla="*/ 27 h 27"/>
                  <a:gd name="T2" fmla="*/ 0 w 19"/>
                  <a:gd name="T3" fmla="*/ 14 h 27"/>
                  <a:gd name="T4" fmla="*/ 3 w 19"/>
                  <a:gd name="T5" fmla="*/ 3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3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3"/>
                      <a:pt x="0" y="14"/>
                    </a:cubicBezTo>
                    <a:cubicBezTo>
                      <a:pt x="0" y="9"/>
                      <a:pt x="1" y="5"/>
                      <a:pt x="3" y="3"/>
                    </a:cubicBezTo>
                    <a:cubicBezTo>
                      <a:pt x="4" y="1"/>
                      <a:pt x="7" y="0"/>
                      <a:pt x="10" y="0"/>
                    </a:cubicBezTo>
                    <a:cubicBezTo>
                      <a:pt x="16" y="0"/>
                      <a:pt x="19" y="4"/>
                      <a:pt x="19" y="14"/>
                    </a:cubicBezTo>
                    <a:cubicBezTo>
                      <a:pt x="19" y="18"/>
                      <a:pt x="18" y="22"/>
                      <a:pt x="17" y="24"/>
                    </a:cubicBezTo>
                    <a:cubicBezTo>
                      <a:pt x="15" y="26"/>
                      <a:pt x="13" y="27"/>
                      <a:pt x="10" y="27"/>
                    </a:cubicBezTo>
                    <a:close/>
                    <a:moveTo>
                      <a:pt x="10" y="4"/>
                    </a:moveTo>
                    <a:cubicBezTo>
                      <a:pt x="8" y="4"/>
                      <a:pt x="6" y="8"/>
                      <a:pt x="6" y="14"/>
                    </a:cubicBezTo>
                    <a:cubicBezTo>
                      <a:pt x="6" y="20"/>
                      <a:pt x="8" y="23"/>
                      <a:pt x="10" y="23"/>
                    </a:cubicBezTo>
                    <a:cubicBezTo>
                      <a:pt x="12" y="23"/>
                      <a:pt x="13" y="20"/>
                      <a:pt x="13" y="14"/>
                    </a:cubicBezTo>
                    <a:cubicBezTo>
                      <a:pt x="13"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81" name="Freeform 230"/>
              <p:cNvSpPr>
                <a:spLocks noEditPoints="1"/>
              </p:cNvSpPr>
              <p:nvPr/>
            </p:nvSpPr>
            <p:spPr bwMode="auto">
              <a:xfrm>
                <a:off x="5449888" y="3662363"/>
                <a:ext cx="41275" cy="63500"/>
              </a:xfrm>
              <a:custGeom>
                <a:avLst/>
                <a:gdLst>
                  <a:gd name="T0" fmla="*/ 9 w 19"/>
                  <a:gd name="T1" fmla="*/ 28 h 29"/>
                  <a:gd name="T2" fmla="*/ 0 w 19"/>
                  <a:gd name="T3" fmla="*/ 14 h 29"/>
                  <a:gd name="T4" fmla="*/ 2 w 19"/>
                  <a:gd name="T5" fmla="*/ 4 h 29"/>
                  <a:gd name="T6" fmla="*/ 10 w 19"/>
                  <a:gd name="T7" fmla="*/ 0 h 29"/>
                  <a:gd name="T8" fmla="*/ 19 w 19"/>
                  <a:gd name="T9" fmla="*/ 14 h 29"/>
                  <a:gd name="T10" fmla="*/ 16 w 19"/>
                  <a:gd name="T11" fmla="*/ 25 h 29"/>
                  <a:gd name="T12" fmla="*/ 9 w 19"/>
                  <a:gd name="T13" fmla="*/ 28 h 29"/>
                  <a:gd name="T14" fmla="*/ 10 w 19"/>
                  <a:gd name="T15" fmla="*/ 5 h 29"/>
                  <a:gd name="T16" fmla="*/ 6 w 19"/>
                  <a:gd name="T17" fmla="*/ 14 h 29"/>
                  <a:gd name="T18" fmla="*/ 10 w 19"/>
                  <a:gd name="T19" fmla="*/ 24 h 29"/>
                  <a:gd name="T20" fmla="*/ 13 w 19"/>
                  <a:gd name="T21" fmla="*/ 14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8"/>
                    </a:moveTo>
                    <a:cubicBezTo>
                      <a:pt x="3" y="28"/>
                      <a:pt x="0" y="23"/>
                      <a:pt x="0" y="14"/>
                    </a:cubicBezTo>
                    <a:cubicBezTo>
                      <a:pt x="0" y="10"/>
                      <a:pt x="1" y="6"/>
                      <a:pt x="2" y="4"/>
                    </a:cubicBezTo>
                    <a:cubicBezTo>
                      <a:pt x="4" y="1"/>
                      <a:pt x="6" y="0"/>
                      <a:pt x="10" y="0"/>
                    </a:cubicBezTo>
                    <a:cubicBezTo>
                      <a:pt x="16" y="1"/>
                      <a:pt x="19" y="6"/>
                      <a:pt x="19" y="14"/>
                    </a:cubicBezTo>
                    <a:cubicBezTo>
                      <a:pt x="19" y="19"/>
                      <a:pt x="18" y="23"/>
                      <a:pt x="16" y="25"/>
                    </a:cubicBezTo>
                    <a:cubicBezTo>
                      <a:pt x="15" y="27"/>
                      <a:pt x="12" y="29"/>
                      <a:pt x="9" y="28"/>
                    </a:cubicBezTo>
                    <a:close/>
                    <a:moveTo>
                      <a:pt x="10" y="5"/>
                    </a:moveTo>
                    <a:cubicBezTo>
                      <a:pt x="7" y="5"/>
                      <a:pt x="6" y="8"/>
                      <a:pt x="6" y="14"/>
                    </a:cubicBezTo>
                    <a:cubicBezTo>
                      <a:pt x="6" y="21"/>
                      <a:pt x="7" y="24"/>
                      <a:pt x="10" y="24"/>
                    </a:cubicBezTo>
                    <a:cubicBezTo>
                      <a:pt x="12" y="24"/>
                      <a:pt x="13" y="21"/>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82" name="Freeform 231"/>
              <p:cNvSpPr>
                <a:spLocks/>
              </p:cNvSpPr>
              <p:nvPr/>
            </p:nvSpPr>
            <p:spPr bwMode="auto">
              <a:xfrm>
                <a:off x="5502275" y="3663950"/>
                <a:ext cx="26988" cy="61913"/>
              </a:xfrm>
              <a:custGeom>
                <a:avLst/>
                <a:gdLst>
                  <a:gd name="T0" fmla="*/ 12 w 12"/>
                  <a:gd name="T1" fmla="*/ 0 h 28"/>
                  <a:gd name="T2" fmla="*/ 12 w 12"/>
                  <a:gd name="T3" fmla="*/ 28 h 28"/>
                  <a:gd name="T4" fmla="*/ 6 w 12"/>
                  <a:gd name="T5" fmla="*/ 28 h 28"/>
                  <a:gd name="T6" fmla="*/ 6 w 12"/>
                  <a:gd name="T7" fmla="*/ 7 h 28"/>
                  <a:gd name="T8" fmla="*/ 5 w 12"/>
                  <a:gd name="T9" fmla="*/ 8 h 28"/>
                  <a:gd name="T10" fmla="*/ 3 w 12"/>
                  <a:gd name="T11" fmla="*/ 8 h 28"/>
                  <a:gd name="T12" fmla="*/ 2 w 12"/>
                  <a:gd name="T13" fmla="*/ 9 h 28"/>
                  <a:gd name="T14" fmla="*/ 0 w 12"/>
                  <a:gd name="T15" fmla="*/ 9 h 28"/>
                  <a:gd name="T16" fmla="*/ 0 w 12"/>
                  <a:gd name="T17" fmla="*/ 4 h 28"/>
                  <a:gd name="T18" fmla="*/ 4 w 12"/>
                  <a:gd name="T19" fmla="*/ 3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7"/>
                      <a:pt x="12" y="28"/>
                    </a:cubicBezTo>
                    <a:cubicBezTo>
                      <a:pt x="9" y="28"/>
                      <a:pt x="8" y="28"/>
                      <a:pt x="6" y="28"/>
                    </a:cubicBezTo>
                    <a:cubicBezTo>
                      <a:pt x="6" y="19"/>
                      <a:pt x="6" y="15"/>
                      <a:pt x="6" y="7"/>
                    </a:cubicBezTo>
                    <a:cubicBezTo>
                      <a:pt x="5" y="7"/>
                      <a:pt x="5" y="7"/>
                      <a:pt x="5" y="8"/>
                    </a:cubicBezTo>
                    <a:cubicBezTo>
                      <a:pt x="4" y="8"/>
                      <a:pt x="4" y="8"/>
                      <a:pt x="3" y="8"/>
                    </a:cubicBezTo>
                    <a:cubicBezTo>
                      <a:pt x="3" y="9"/>
                      <a:pt x="2" y="9"/>
                      <a:pt x="2" y="9"/>
                    </a:cubicBezTo>
                    <a:cubicBezTo>
                      <a:pt x="1" y="9"/>
                      <a:pt x="1" y="9"/>
                      <a:pt x="0" y="9"/>
                    </a:cubicBezTo>
                    <a:cubicBezTo>
                      <a:pt x="0" y="7"/>
                      <a:pt x="0" y="6"/>
                      <a:pt x="0" y="4"/>
                    </a:cubicBezTo>
                    <a:cubicBezTo>
                      <a:pt x="2" y="4"/>
                      <a:pt x="3" y="3"/>
                      <a:pt x="4"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83" name="Freeform 232"/>
              <p:cNvSpPr>
                <a:spLocks noEditPoints="1"/>
              </p:cNvSpPr>
              <p:nvPr/>
            </p:nvSpPr>
            <p:spPr bwMode="auto">
              <a:xfrm>
                <a:off x="5545138" y="3668713"/>
                <a:ext cx="42863" cy="61913"/>
              </a:xfrm>
              <a:custGeom>
                <a:avLst/>
                <a:gdLst>
                  <a:gd name="T0" fmla="*/ 10 w 19"/>
                  <a:gd name="T1" fmla="*/ 28 h 28"/>
                  <a:gd name="T2" fmla="*/ 0 w 19"/>
                  <a:gd name="T3" fmla="*/ 14 h 28"/>
                  <a:gd name="T4" fmla="*/ 3 w 19"/>
                  <a:gd name="T5" fmla="*/ 3 h 28"/>
                  <a:gd name="T6" fmla="*/ 10 w 19"/>
                  <a:gd name="T7" fmla="*/ 0 h 28"/>
                  <a:gd name="T8" fmla="*/ 19 w 19"/>
                  <a:gd name="T9" fmla="*/ 14 h 28"/>
                  <a:gd name="T10" fmla="*/ 17 w 19"/>
                  <a:gd name="T11" fmla="*/ 24 h 28"/>
                  <a:gd name="T12" fmla="*/ 10 w 19"/>
                  <a:gd name="T13" fmla="*/ 28 h 28"/>
                  <a:gd name="T14" fmla="*/ 10 w 19"/>
                  <a:gd name="T15" fmla="*/ 4 h 28"/>
                  <a:gd name="T16" fmla="*/ 6 w 19"/>
                  <a:gd name="T17" fmla="*/ 14 h 28"/>
                  <a:gd name="T18" fmla="*/ 10 w 19"/>
                  <a:gd name="T19" fmla="*/ 23 h 28"/>
                  <a:gd name="T20" fmla="*/ 14 w 19"/>
                  <a:gd name="T21" fmla="*/ 14 h 28"/>
                  <a:gd name="T22" fmla="*/ 10 w 19"/>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10" y="28"/>
                    </a:moveTo>
                    <a:cubicBezTo>
                      <a:pt x="3" y="27"/>
                      <a:pt x="0" y="23"/>
                      <a:pt x="0" y="14"/>
                    </a:cubicBezTo>
                    <a:cubicBezTo>
                      <a:pt x="0" y="9"/>
                      <a:pt x="1" y="5"/>
                      <a:pt x="3" y="3"/>
                    </a:cubicBezTo>
                    <a:cubicBezTo>
                      <a:pt x="5" y="1"/>
                      <a:pt x="7" y="0"/>
                      <a:pt x="10" y="0"/>
                    </a:cubicBezTo>
                    <a:cubicBezTo>
                      <a:pt x="16" y="0"/>
                      <a:pt x="19" y="5"/>
                      <a:pt x="19" y="14"/>
                    </a:cubicBezTo>
                    <a:cubicBezTo>
                      <a:pt x="19" y="18"/>
                      <a:pt x="18" y="22"/>
                      <a:pt x="17" y="24"/>
                    </a:cubicBezTo>
                    <a:cubicBezTo>
                      <a:pt x="15" y="27"/>
                      <a:pt x="13" y="28"/>
                      <a:pt x="10" y="28"/>
                    </a:cubicBezTo>
                    <a:close/>
                    <a:moveTo>
                      <a:pt x="10" y="4"/>
                    </a:moveTo>
                    <a:cubicBezTo>
                      <a:pt x="7" y="4"/>
                      <a:pt x="6" y="7"/>
                      <a:pt x="6" y="14"/>
                    </a:cubicBezTo>
                    <a:cubicBezTo>
                      <a:pt x="6" y="20"/>
                      <a:pt x="7" y="23"/>
                      <a:pt x="10" y="23"/>
                    </a:cubicBezTo>
                    <a:cubicBezTo>
                      <a:pt x="12" y="23"/>
                      <a:pt x="14" y="20"/>
                      <a:pt x="14" y="14"/>
                    </a:cubicBezTo>
                    <a:cubicBezTo>
                      <a:pt x="14"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84" name="Freeform 233"/>
              <p:cNvSpPr>
                <a:spLocks noEditPoints="1"/>
              </p:cNvSpPr>
              <p:nvPr/>
            </p:nvSpPr>
            <p:spPr bwMode="auto">
              <a:xfrm>
                <a:off x="5594350" y="3668713"/>
                <a:ext cx="41275" cy="65088"/>
              </a:xfrm>
              <a:custGeom>
                <a:avLst/>
                <a:gdLst>
                  <a:gd name="T0" fmla="*/ 9 w 19"/>
                  <a:gd name="T1" fmla="*/ 29 h 29"/>
                  <a:gd name="T2" fmla="*/ 0 w 19"/>
                  <a:gd name="T3" fmla="*/ 15 h 29"/>
                  <a:gd name="T4" fmla="*/ 3 w 19"/>
                  <a:gd name="T5" fmla="*/ 4 h 29"/>
                  <a:gd name="T6" fmla="*/ 10 w 19"/>
                  <a:gd name="T7" fmla="*/ 1 h 29"/>
                  <a:gd name="T8" fmla="*/ 19 w 19"/>
                  <a:gd name="T9" fmla="*/ 15 h 29"/>
                  <a:gd name="T10" fmla="*/ 17 w 19"/>
                  <a:gd name="T11" fmla="*/ 26 h 29"/>
                  <a:gd name="T12" fmla="*/ 9 w 19"/>
                  <a:gd name="T13" fmla="*/ 29 h 29"/>
                  <a:gd name="T14" fmla="*/ 9 w 19"/>
                  <a:gd name="T15" fmla="*/ 5 h 29"/>
                  <a:gd name="T16" fmla="*/ 6 w 19"/>
                  <a:gd name="T17" fmla="*/ 15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8"/>
                      <a:pt x="0" y="23"/>
                      <a:pt x="0" y="15"/>
                    </a:cubicBezTo>
                    <a:cubicBezTo>
                      <a:pt x="0" y="10"/>
                      <a:pt x="1" y="6"/>
                      <a:pt x="3" y="4"/>
                    </a:cubicBezTo>
                    <a:cubicBezTo>
                      <a:pt x="4" y="2"/>
                      <a:pt x="7" y="0"/>
                      <a:pt x="10" y="1"/>
                    </a:cubicBezTo>
                    <a:cubicBezTo>
                      <a:pt x="16" y="1"/>
                      <a:pt x="19" y="6"/>
                      <a:pt x="19" y="15"/>
                    </a:cubicBezTo>
                    <a:cubicBezTo>
                      <a:pt x="19" y="19"/>
                      <a:pt x="18" y="23"/>
                      <a:pt x="17" y="26"/>
                    </a:cubicBezTo>
                    <a:cubicBezTo>
                      <a:pt x="15" y="28"/>
                      <a:pt x="13" y="29"/>
                      <a:pt x="9" y="29"/>
                    </a:cubicBezTo>
                    <a:close/>
                    <a:moveTo>
                      <a:pt x="9" y="5"/>
                    </a:moveTo>
                    <a:cubicBezTo>
                      <a:pt x="7" y="5"/>
                      <a:pt x="6" y="8"/>
                      <a:pt x="6" y="15"/>
                    </a:cubicBezTo>
                    <a:cubicBezTo>
                      <a:pt x="6" y="21"/>
                      <a:pt x="7" y="24"/>
                      <a:pt x="9" y="24"/>
                    </a:cubicBezTo>
                    <a:cubicBezTo>
                      <a:pt x="12" y="24"/>
                      <a:pt x="13" y="21"/>
                      <a:pt x="13" y="15"/>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85" name="Freeform 234"/>
              <p:cNvSpPr>
                <a:spLocks/>
              </p:cNvSpPr>
              <p:nvPr/>
            </p:nvSpPr>
            <p:spPr bwMode="auto">
              <a:xfrm>
                <a:off x="5646738" y="3670300"/>
                <a:ext cx="26988" cy="65088"/>
              </a:xfrm>
              <a:custGeom>
                <a:avLst/>
                <a:gdLst>
                  <a:gd name="T0" fmla="*/ 12 w 12"/>
                  <a:gd name="T1" fmla="*/ 0 h 29"/>
                  <a:gd name="T2" fmla="*/ 12 w 12"/>
                  <a:gd name="T3" fmla="*/ 29 h 29"/>
                  <a:gd name="T4" fmla="*/ 6 w 12"/>
                  <a:gd name="T5" fmla="*/ 28 h 29"/>
                  <a:gd name="T6" fmla="*/ 6 w 12"/>
                  <a:gd name="T7" fmla="*/ 7 h 29"/>
                  <a:gd name="T8" fmla="*/ 5 w 12"/>
                  <a:gd name="T9" fmla="*/ 8 h 29"/>
                  <a:gd name="T10" fmla="*/ 3 w 12"/>
                  <a:gd name="T11" fmla="*/ 8 h 29"/>
                  <a:gd name="T12" fmla="*/ 2 w 12"/>
                  <a:gd name="T13" fmla="*/ 9 h 29"/>
                  <a:gd name="T14" fmla="*/ 0 w 12"/>
                  <a:gd name="T15" fmla="*/ 9 h 29"/>
                  <a:gd name="T16" fmla="*/ 0 w 12"/>
                  <a:gd name="T17" fmla="*/ 4 h 29"/>
                  <a:gd name="T18" fmla="*/ 5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1"/>
                      <a:pt x="12" y="17"/>
                      <a:pt x="12" y="29"/>
                    </a:cubicBezTo>
                    <a:cubicBezTo>
                      <a:pt x="10" y="29"/>
                      <a:pt x="9" y="29"/>
                      <a:pt x="6" y="28"/>
                    </a:cubicBezTo>
                    <a:cubicBezTo>
                      <a:pt x="6" y="20"/>
                      <a:pt x="6" y="16"/>
                      <a:pt x="6" y="7"/>
                    </a:cubicBezTo>
                    <a:cubicBezTo>
                      <a:pt x="5" y="7"/>
                      <a:pt x="5" y="7"/>
                      <a:pt x="5" y="8"/>
                    </a:cubicBezTo>
                    <a:cubicBezTo>
                      <a:pt x="4" y="8"/>
                      <a:pt x="4" y="8"/>
                      <a:pt x="3" y="8"/>
                    </a:cubicBezTo>
                    <a:cubicBezTo>
                      <a:pt x="3" y="8"/>
                      <a:pt x="2" y="9"/>
                      <a:pt x="2" y="9"/>
                    </a:cubicBezTo>
                    <a:cubicBezTo>
                      <a:pt x="1" y="9"/>
                      <a:pt x="1" y="9"/>
                      <a:pt x="0" y="9"/>
                    </a:cubicBezTo>
                    <a:cubicBezTo>
                      <a:pt x="0" y="7"/>
                      <a:pt x="0" y="6"/>
                      <a:pt x="0" y="4"/>
                    </a:cubicBezTo>
                    <a:cubicBezTo>
                      <a:pt x="2" y="4"/>
                      <a:pt x="3" y="3"/>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86" name="Freeform 235"/>
              <p:cNvSpPr>
                <a:spLocks/>
              </p:cNvSpPr>
              <p:nvPr/>
            </p:nvSpPr>
            <p:spPr bwMode="auto">
              <a:xfrm>
                <a:off x="5695950" y="3675063"/>
                <a:ext cx="26988" cy="61913"/>
              </a:xfrm>
              <a:custGeom>
                <a:avLst/>
                <a:gdLst>
                  <a:gd name="T0" fmla="*/ 12 w 12"/>
                  <a:gd name="T1" fmla="*/ 0 h 28"/>
                  <a:gd name="T2" fmla="*/ 12 w 12"/>
                  <a:gd name="T3" fmla="*/ 28 h 28"/>
                  <a:gd name="T4" fmla="*/ 6 w 12"/>
                  <a:gd name="T5" fmla="*/ 28 h 28"/>
                  <a:gd name="T6" fmla="*/ 6 w 12"/>
                  <a:gd name="T7" fmla="*/ 6 h 28"/>
                  <a:gd name="T8" fmla="*/ 4 w 12"/>
                  <a:gd name="T9" fmla="*/ 7 h 28"/>
                  <a:gd name="T10" fmla="*/ 3 w 12"/>
                  <a:gd name="T11" fmla="*/ 7 h 28"/>
                  <a:gd name="T12" fmla="*/ 2 w 12"/>
                  <a:gd name="T13" fmla="*/ 8 h 28"/>
                  <a:gd name="T14" fmla="*/ 0 w 12"/>
                  <a:gd name="T15" fmla="*/ 8 h 28"/>
                  <a:gd name="T16" fmla="*/ 0 w 12"/>
                  <a:gd name="T17" fmla="*/ 3 h 28"/>
                  <a:gd name="T18" fmla="*/ 4 w 12"/>
                  <a:gd name="T19" fmla="*/ 2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1"/>
                      <a:pt x="12" y="17"/>
                      <a:pt x="12" y="28"/>
                    </a:cubicBezTo>
                    <a:cubicBezTo>
                      <a:pt x="9" y="28"/>
                      <a:pt x="8" y="28"/>
                      <a:pt x="6" y="28"/>
                    </a:cubicBezTo>
                    <a:cubicBezTo>
                      <a:pt x="6" y="19"/>
                      <a:pt x="6" y="15"/>
                      <a:pt x="6" y="6"/>
                    </a:cubicBezTo>
                    <a:cubicBezTo>
                      <a:pt x="5" y="6"/>
                      <a:pt x="5" y="7"/>
                      <a:pt x="4" y="7"/>
                    </a:cubicBezTo>
                    <a:cubicBezTo>
                      <a:pt x="4" y="7"/>
                      <a:pt x="4" y="7"/>
                      <a:pt x="3" y="7"/>
                    </a:cubicBezTo>
                    <a:cubicBezTo>
                      <a:pt x="3" y="8"/>
                      <a:pt x="2" y="8"/>
                      <a:pt x="2" y="8"/>
                    </a:cubicBezTo>
                    <a:cubicBezTo>
                      <a:pt x="1" y="8"/>
                      <a:pt x="1" y="8"/>
                      <a:pt x="0" y="8"/>
                    </a:cubicBezTo>
                    <a:cubicBezTo>
                      <a:pt x="0" y="6"/>
                      <a:pt x="0" y="5"/>
                      <a:pt x="0" y="3"/>
                    </a:cubicBezTo>
                    <a:cubicBezTo>
                      <a:pt x="2" y="3"/>
                      <a:pt x="3" y="2"/>
                      <a:pt x="4" y="2"/>
                    </a:cubicBezTo>
                    <a:cubicBezTo>
                      <a:pt x="6" y="1"/>
                      <a:pt x="7" y="0"/>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87" name="Freeform 236"/>
              <p:cNvSpPr>
                <a:spLocks noEditPoints="1"/>
              </p:cNvSpPr>
              <p:nvPr/>
            </p:nvSpPr>
            <p:spPr bwMode="auto">
              <a:xfrm>
                <a:off x="5738813" y="3678238"/>
                <a:ext cx="41275" cy="63500"/>
              </a:xfrm>
              <a:custGeom>
                <a:avLst/>
                <a:gdLst>
                  <a:gd name="T0" fmla="*/ 9 w 19"/>
                  <a:gd name="T1" fmla="*/ 29 h 29"/>
                  <a:gd name="T2" fmla="*/ 0 w 19"/>
                  <a:gd name="T3" fmla="*/ 14 h 29"/>
                  <a:gd name="T4" fmla="*/ 3 w 19"/>
                  <a:gd name="T5" fmla="*/ 3 h 29"/>
                  <a:gd name="T6" fmla="*/ 10 w 19"/>
                  <a:gd name="T7" fmla="*/ 0 h 29"/>
                  <a:gd name="T8" fmla="*/ 19 w 19"/>
                  <a:gd name="T9" fmla="*/ 15 h 29"/>
                  <a:gd name="T10" fmla="*/ 17 w 19"/>
                  <a:gd name="T11" fmla="*/ 26 h 29"/>
                  <a:gd name="T12" fmla="*/ 9 w 19"/>
                  <a:gd name="T13" fmla="*/ 29 h 29"/>
                  <a:gd name="T14" fmla="*/ 10 w 19"/>
                  <a:gd name="T15" fmla="*/ 5 h 29"/>
                  <a:gd name="T16" fmla="*/ 6 w 19"/>
                  <a:gd name="T17" fmla="*/ 15 h 29"/>
                  <a:gd name="T18" fmla="*/ 10 w 19"/>
                  <a:gd name="T19" fmla="*/ 25 h 29"/>
                  <a:gd name="T20" fmla="*/ 13 w 19"/>
                  <a:gd name="T21" fmla="*/ 15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4"/>
                      <a:pt x="0" y="14"/>
                    </a:cubicBezTo>
                    <a:cubicBezTo>
                      <a:pt x="0" y="10"/>
                      <a:pt x="1" y="6"/>
                      <a:pt x="3" y="3"/>
                    </a:cubicBezTo>
                    <a:cubicBezTo>
                      <a:pt x="4" y="1"/>
                      <a:pt x="7" y="0"/>
                      <a:pt x="10" y="0"/>
                    </a:cubicBezTo>
                    <a:cubicBezTo>
                      <a:pt x="16" y="0"/>
                      <a:pt x="19" y="5"/>
                      <a:pt x="19" y="15"/>
                    </a:cubicBezTo>
                    <a:cubicBezTo>
                      <a:pt x="19" y="20"/>
                      <a:pt x="18" y="24"/>
                      <a:pt x="17" y="26"/>
                    </a:cubicBezTo>
                    <a:cubicBezTo>
                      <a:pt x="15" y="28"/>
                      <a:pt x="12" y="29"/>
                      <a:pt x="9" y="29"/>
                    </a:cubicBezTo>
                    <a:close/>
                    <a:moveTo>
                      <a:pt x="10" y="5"/>
                    </a:moveTo>
                    <a:cubicBezTo>
                      <a:pt x="7" y="4"/>
                      <a:pt x="6" y="8"/>
                      <a:pt x="6" y="15"/>
                    </a:cubicBezTo>
                    <a:cubicBezTo>
                      <a:pt x="6" y="21"/>
                      <a:pt x="7" y="24"/>
                      <a:pt x="10" y="25"/>
                    </a:cubicBezTo>
                    <a:cubicBezTo>
                      <a:pt x="12" y="25"/>
                      <a:pt x="13" y="22"/>
                      <a:pt x="13" y="15"/>
                    </a:cubicBezTo>
                    <a:cubicBezTo>
                      <a:pt x="13"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88" name="Freeform 237"/>
              <p:cNvSpPr>
                <a:spLocks/>
              </p:cNvSpPr>
              <p:nvPr/>
            </p:nvSpPr>
            <p:spPr bwMode="auto">
              <a:xfrm>
                <a:off x="5791200" y="3679825"/>
                <a:ext cx="26988" cy="66675"/>
              </a:xfrm>
              <a:custGeom>
                <a:avLst/>
                <a:gdLst>
                  <a:gd name="T0" fmla="*/ 12 w 12"/>
                  <a:gd name="T1" fmla="*/ 1 h 30"/>
                  <a:gd name="T2" fmla="*/ 12 w 12"/>
                  <a:gd name="T3" fmla="*/ 30 h 30"/>
                  <a:gd name="T4" fmla="*/ 6 w 12"/>
                  <a:gd name="T5" fmla="*/ 30 h 30"/>
                  <a:gd name="T6" fmla="*/ 6 w 12"/>
                  <a:gd name="T7" fmla="*/ 8 h 30"/>
                  <a:gd name="T8" fmla="*/ 5 w 12"/>
                  <a:gd name="T9" fmla="*/ 8 h 30"/>
                  <a:gd name="T10" fmla="*/ 4 w 12"/>
                  <a:gd name="T11" fmla="*/ 9 h 30"/>
                  <a:gd name="T12" fmla="*/ 2 w 12"/>
                  <a:gd name="T13" fmla="*/ 9 h 30"/>
                  <a:gd name="T14" fmla="*/ 0 w 12"/>
                  <a:gd name="T15" fmla="*/ 10 h 30"/>
                  <a:gd name="T16" fmla="*/ 0 w 12"/>
                  <a:gd name="T17" fmla="*/ 4 h 30"/>
                  <a:gd name="T18" fmla="*/ 5 w 12"/>
                  <a:gd name="T19" fmla="*/ 2 h 30"/>
                  <a:gd name="T20" fmla="*/ 8 w 12"/>
                  <a:gd name="T21" fmla="*/ 0 h 30"/>
                  <a:gd name="T22" fmla="*/ 12 w 12"/>
                  <a:gd name="T23"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0">
                    <a:moveTo>
                      <a:pt x="12" y="1"/>
                    </a:moveTo>
                    <a:cubicBezTo>
                      <a:pt x="12" y="13"/>
                      <a:pt x="12" y="19"/>
                      <a:pt x="12" y="30"/>
                    </a:cubicBezTo>
                    <a:cubicBezTo>
                      <a:pt x="9" y="30"/>
                      <a:pt x="8" y="30"/>
                      <a:pt x="6" y="30"/>
                    </a:cubicBezTo>
                    <a:cubicBezTo>
                      <a:pt x="6" y="21"/>
                      <a:pt x="6" y="16"/>
                      <a:pt x="6" y="8"/>
                    </a:cubicBezTo>
                    <a:cubicBezTo>
                      <a:pt x="6" y="8"/>
                      <a:pt x="5" y="8"/>
                      <a:pt x="5" y="8"/>
                    </a:cubicBezTo>
                    <a:cubicBezTo>
                      <a:pt x="5" y="9"/>
                      <a:pt x="4" y="9"/>
                      <a:pt x="4" y="9"/>
                    </a:cubicBezTo>
                    <a:cubicBezTo>
                      <a:pt x="3" y="9"/>
                      <a:pt x="2" y="9"/>
                      <a:pt x="2" y="9"/>
                    </a:cubicBezTo>
                    <a:cubicBezTo>
                      <a:pt x="1" y="10"/>
                      <a:pt x="1" y="10"/>
                      <a:pt x="0" y="10"/>
                    </a:cubicBezTo>
                    <a:cubicBezTo>
                      <a:pt x="0" y="8"/>
                      <a:pt x="0" y="6"/>
                      <a:pt x="0" y="4"/>
                    </a:cubicBezTo>
                    <a:cubicBezTo>
                      <a:pt x="2" y="4"/>
                      <a:pt x="3" y="3"/>
                      <a:pt x="5" y="2"/>
                    </a:cubicBezTo>
                    <a:cubicBezTo>
                      <a:pt x="6" y="2"/>
                      <a:pt x="7" y="1"/>
                      <a:pt x="8" y="0"/>
                    </a:cubicBezTo>
                    <a:cubicBezTo>
                      <a:pt x="10" y="0"/>
                      <a:pt x="10" y="0"/>
                      <a:pt x="12" y="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89" name="Freeform 238"/>
              <p:cNvSpPr>
                <a:spLocks noEditPoints="1"/>
              </p:cNvSpPr>
              <p:nvPr/>
            </p:nvSpPr>
            <p:spPr bwMode="auto">
              <a:xfrm>
                <a:off x="5834063" y="3684588"/>
                <a:ext cx="44450" cy="66675"/>
              </a:xfrm>
              <a:custGeom>
                <a:avLst/>
                <a:gdLst>
                  <a:gd name="T0" fmla="*/ 10 w 20"/>
                  <a:gd name="T1" fmla="*/ 30 h 30"/>
                  <a:gd name="T2" fmla="*/ 0 w 20"/>
                  <a:gd name="T3" fmla="*/ 15 h 30"/>
                  <a:gd name="T4" fmla="*/ 3 w 20"/>
                  <a:gd name="T5" fmla="*/ 3 h 30"/>
                  <a:gd name="T6" fmla="*/ 10 w 20"/>
                  <a:gd name="T7" fmla="*/ 0 h 30"/>
                  <a:gd name="T8" fmla="*/ 20 w 20"/>
                  <a:gd name="T9" fmla="*/ 15 h 30"/>
                  <a:gd name="T10" fmla="*/ 17 w 20"/>
                  <a:gd name="T11" fmla="*/ 26 h 30"/>
                  <a:gd name="T12" fmla="*/ 10 w 20"/>
                  <a:gd name="T13" fmla="*/ 30 h 30"/>
                  <a:gd name="T14" fmla="*/ 10 w 20"/>
                  <a:gd name="T15" fmla="*/ 5 h 30"/>
                  <a:gd name="T16" fmla="*/ 7 w 20"/>
                  <a:gd name="T17" fmla="*/ 15 h 30"/>
                  <a:gd name="T18" fmla="*/ 10 w 20"/>
                  <a:gd name="T19" fmla="*/ 25 h 30"/>
                  <a:gd name="T20" fmla="*/ 14 w 20"/>
                  <a:gd name="T21" fmla="*/ 15 h 30"/>
                  <a:gd name="T22" fmla="*/ 10 w 20"/>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30">
                    <a:moveTo>
                      <a:pt x="10" y="30"/>
                    </a:moveTo>
                    <a:cubicBezTo>
                      <a:pt x="3" y="30"/>
                      <a:pt x="0" y="24"/>
                      <a:pt x="0" y="15"/>
                    </a:cubicBezTo>
                    <a:cubicBezTo>
                      <a:pt x="0" y="10"/>
                      <a:pt x="1" y="6"/>
                      <a:pt x="3" y="3"/>
                    </a:cubicBezTo>
                    <a:cubicBezTo>
                      <a:pt x="5" y="1"/>
                      <a:pt x="7" y="0"/>
                      <a:pt x="10" y="0"/>
                    </a:cubicBezTo>
                    <a:cubicBezTo>
                      <a:pt x="17" y="0"/>
                      <a:pt x="20" y="6"/>
                      <a:pt x="20" y="15"/>
                    </a:cubicBezTo>
                    <a:cubicBezTo>
                      <a:pt x="20" y="20"/>
                      <a:pt x="19" y="24"/>
                      <a:pt x="17" y="26"/>
                    </a:cubicBezTo>
                    <a:cubicBezTo>
                      <a:pt x="16" y="29"/>
                      <a:pt x="13" y="30"/>
                      <a:pt x="10" y="30"/>
                    </a:cubicBezTo>
                    <a:close/>
                    <a:moveTo>
                      <a:pt x="10" y="5"/>
                    </a:moveTo>
                    <a:cubicBezTo>
                      <a:pt x="8" y="5"/>
                      <a:pt x="7" y="8"/>
                      <a:pt x="7" y="15"/>
                    </a:cubicBezTo>
                    <a:cubicBezTo>
                      <a:pt x="7" y="22"/>
                      <a:pt x="8" y="25"/>
                      <a:pt x="10" y="25"/>
                    </a:cubicBezTo>
                    <a:cubicBezTo>
                      <a:pt x="12" y="25"/>
                      <a:pt x="14" y="22"/>
                      <a:pt x="14" y="15"/>
                    </a:cubicBezTo>
                    <a:cubicBezTo>
                      <a:pt x="14"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90" name="Freeform 239"/>
              <p:cNvSpPr>
                <a:spLocks noEditPoints="1"/>
              </p:cNvSpPr>
              <p:nvPr/>
            </p:nvSpPr>
            <p:spPr bwMode="auto">
              <a:xfrm>
                <a:off x="5883275" y="3686175"/>
                <a:ext cx="41275" cy="69850"/>
              </a:xfrm>
              <a:custGeom>
                <a:avLst/>
                <a:gdLst>
                  <a:gd name="T0" fmla="*/ 10 w 19"/>
                  <a:gd name="T1" fmla="*/ 31 h 31"/>
                  <a:gd name="T2" fmla="*/ 0 w 19"/>
                  <a:gd name="T3" fmla="*/ 15 h 31"/>
                  <a:gd name="T4" fmla="*/ 3 w 19"/>
                  <a:gd name="T5" fmla="*/ 3 h 31"/>
                  <a:gd name="T6" fmla="*/ 10 w 19"/>
                  <a:gd name="T7" fmla="*/ 0 h 31"/>
                  <a:gd name="T8" fmla="*/ 19 w 19"/>
                  <a:gd name="T9" fmla="*/ 15 h 31"/>
                  <a:gd name="T10" fmla="*/ 17 w 19"/>
                  <a:gd name="T11" fmla="*/ 27 h 31"/>
                  <a:gd name="T12" fmla="*/ 10 w 19"/>
                  <a:gd name="T13" fmla="*/ 31 h 31"/>
                  <a:gd name="T14" fmla="*/ 10 w 19"/>
                  <a:gd name="T15" fmla="*/ 5 h 31"/>
                  <a:gd name="T16" fmla="*/ 6 w 19"/>
                  <a:gd name="T17" fmla="*/ 15 h 31"/>
                  <a:gd name="T18" fmla="*/ 10 w 19"/>
                  <a:gd name="T19" fmla="*/ 25 h 31"/>
                  <a:gd name="T20" fmla="*/ 13 w 19"/>
                  <a:gd name="T21" fmla="*/ 15 h 31"/>
                  <a:gd name="T22" fmla="*/ 10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10" y="31"/>
                    </a:moveTo>
                    <a:cubicBezTo>
                      <a:pt x="3" y="30"/>
                      <a:pt x="0" y="25"/>
                      <a:pt x="0" y="15"/>
                    </a:cubicBezTo>
                    <a:cubicBezTo>
                      <a:pt x="0" y="10"/>
                      <a:pt x="1" y="6"/>
                      <a:pt x="3" y="3"/>
                    </a:cubicBezTo>
                    <a:cubicBezTo>
                      <a:pt x="4" y="1"/>
                      <a:pt x="7" y="0"/>
                      <a:pt x="10" y="0"/>
                    </a:cubicBezTo>
                    <a:cubicBezTo>
                      <a:pt x="16" y="0"/>
                      <a:pt x="19" y="5"/>
                      <a:pt x="19" y="15"/>
                    </a:cubicBezTo>
                    <a:cubicBezTo>
                      <a:pt x="19" y="21"/>
                      <a:pt x="19" y="24"/>
                      <a:pt x="17" y="27"/>
                    </a:cubicBezTo>
                    <a:cubicBezTo>
                      <a:pt x="15" y="30"/>
                      <a:pt x="13" y="31"/>
                      <a:pt x="10" y="31"/>
                    </a:cubicBezTo>
                    <a:close/>
                    <a:moveTo>
                      <a:pt x="10" y="5"/>
                    </a:moveTo>
                    <a:cubicBezTo>
                      <a:pt x="7" y="5"/>
                      <a:pt x="6" y="8"/>
                      <a:pt x="6" y="15"/>
                    </a:cubicBezTo>
                    <a:cubicBezTo>
                      <a:pt x="6" y="22"/>
                      <a:pt x="7" y="25"/>
                      <a:pt x="10" y="25"/>
                    </a:cubicBezTo>
                    <a:cubicBezTo>
                      <a:pt x="12" y="26"/>
                      <a:pt x="13" y="22"/>
                      <a:pt x="13" y="15"/>
                    </a:cubicBezTo>
                    <a:cubicBezTo>
                      <a:pt x="13"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91" name="Freeform 240"/>
              <p:cNvSpPr>
                <a:spLocks/>
              </p:cNvSpPr>
              <p:nvPr/>
            </p:nvSpPr>
            <p:spPr bwMode="auto">
              <a:xfrm>
                <a:off x="5935663" y="3686175"/>
                <a:ext cx="26988" cy="69850"/>
              </a:xfrm>
              <a:custGeom>
                <a:avLst/>
                <a:gdLst>
                  <a:gd name="T0" fmla="*/ 12 w 12"/>
                  <a:gd name="T1" fmla="*/ 0 h 31"/>
                  <a:gd name="T2" fmla="*/ 12 w 12"/>
                  <a:gd name="T3" fmla="*/ 31 h 31"/>
                  <a:gd name="T4" fmla="*/ 6 w 12"/>
                  <a:gd name="T5" fmla="*/ 31 h 31"/>
                  <a:gd name="T6" fmla="*/ 6 w 12"/>
                  <a:gd name="T7" fmla="*/ 8 h 31"/>
                  <a:gd name="T8" fmla="*/ 5 w 12"/>
                  <a:gd name="T9" fmla="*/ 9 h 31"/>
                  <a:gd name="T10" fmla="*/ 4 w 12"/>
                  <a:gd name="T11" fmla="*/ 10 h 31"/>
                  <a:gd name="T12" fmla="*/ 2 w 12"/>
                  <a:gd name="T13" fmla="*/ 10 h 31"/>
                  <a:gd name="T14" fmla="*/ 0 w 12"/>
                  <a:gd name="T15" fmla="*/ 10 h 31"/>
                  <a:gd name="T16" fmla="*/ 0 w 12"/>
                  <a:gd name="T17" fmla="*/ 5 h 31"/>
                  <a:gd name="T18" fmla="*/ 5 w 12"/>
                  <a:gd name="T19" fmla="*/ 3 h 31"/>
                  <a:gd name="T20" fmla="*/ 8 w 12"/>
                  <a:gd name="T21" fmla="*/ 0 h 31"/>
                  <a:gd name="T22" fmla="*/ 12 w 12"/>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1">
                    <a:moveTo>
                      <a:pt x="12" y="0"/>
                    </a:moveTo>
                    <a:cubicBezTo>
                      <a:pt x="12" y="13"/>
                      <a:pt x="12" y="19"/>
                      <a:pt x="12" y="31"/>
                    </a:cubicBezTo>
                    <a:cubicBezTo>
                      <a:pt x="10" y="31"/>
                      <a:pt x="8" y="31"/>
                      <a:pt x="6" y="31"/>
                    </a:cubicBezTo>
                    <a:cubicBezTo>
                      <a:pt x="6" y="22"/>
                      <a:pt x="6" y="17"/>
                      <a:pt x="6" y="8"/>
                    </a:cubicBezTo>
                    <a:cubicBezTo>
                      <a:pt x="6" y="8"/>
                      <a:pt x="6" y="9"/>
                      <a:pt x="5" y="9"/>
                    </a:cubicBezTo>
                    <a:cubicBezTo>
                      <a:pt x="5" y="9"/>
                      <a:pt x="4" y="9"/>
                      <a:pt x="4" y="10"/>
                    </a:cubicBezTo>
                    <a:cubicBezTo>
                      <a:pt x="3" y="10"/>
                      <a:pt x="2" y="10"/>
                      <a:pt x="2" y="10"/>
                    </a:cubicBezTo>
                    <a:cubicBezTo>
                      <a:pt x="1" y="10"/>
                      <a:pt x="1" y="10"/>
                      <a:pt x="0" y="10"/>
                    </a:cubicBezTo>
                    <a:cubicBezTo>
                      <a:pt x="0" y="8"/>
                      <a:pt x="0" y="7"/>
                      <a:pt x="0" y="5"/>
                    </a:cubicBezTo>
                    <a:cubicBezTo>
                      <a:pt x="2" y="4"/>
                      <a:pt x="4" y="4"/>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92" name="Freeform 241"/>
              <p:cNvSpPr>
                <a:spLocks noEditPoints="1"/>
              </p:cNvSpPr>
              <p:nvPr/>
            </p:nvSpPr>
            <p:spPr bwMode="auto">
              <a:xfrm>
                <a:off x="5351463" y="3744913"/>
                <a:ext cx="44450" cy="61913"/>
              </a:xfrm>
              <a:custGeom>
                <a:avLst/>
                <a:gdLst>
                  <a:gd name="T0" fmla="*/ 10 w 20"/>
                  <a:gd name="T1" fmla="*/ 28 h 28"/>
                  <a:gd name="T2" fmla="*/ 0 w 20"/>
                  <a:gd name="T3" fmla="*/ 14 h 28"/>
                  <a:gd name="T4" fmla="*/ 3 w 20"/>
                  <a:gd name="T5" fmla="*/ 4 h 28"/>
                  <a:gd name="T6" fmla="*/ 10 w 20"/>
                  <a:gd name="T7" fmla="*/ 0 h 28"/>
                  <a:gd name="T8" fmla="*/ 20 w 20"/>
                  <a:gd name="T9" fmla="*/ 14 h 28"/>
                  <a:gd name="T10" fmla="*/ 17 w 20"/>
                  <a:gd name="T11" fmla="*/ 24 h 28"/>
                  <a:gd name="T12" fmla="*/ 10 w 20"/>
                  <a:gd name="T13" fmla="*/ 28 h 28"/>
                  <a:gd name="T14" fmla="*/ 10 w 20"/>
                  <a:gd name="T15" fmla="*/ 5 h 28"/>
                  <a:gd name="T16" fmla="*/ 7 w 20"/>
                  <a:gd name="T17" fmla="*/ 14 h 28"/>
                  <a:gd name="T18" fmla="*/ 10 w 20"/>
                  <a:gd name="T19" fmla="*/ 23 h 28"/>
                  <a:gd name="T20" fmla="*/ 14 w 20"/>
                  <a:gd name="T21" fmla="*/ 14 h 28"/>
                  <a:gd name="T22" fmla="*/ 10 w 20"/>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8">
                    <a:moveTo>
                      <a:pt x="10" y="28"/>
                    </a:moveTo>
                    <a:cubicBezTo>
                      <a:pt x="3" y="27"/>
                      <a:pt x="0" y="23"/>
                      <a:pt x="0" y="14"/>
                    </a:cubicBezTo>
                    <a:cubicBezTo>
                      <a:pt x="0" y="9"/>
                      <a:pt x="1" y="6"/>
                      <a:pt x="3" y="4"/>
                    </a:cubicBezTo>
                    <a:cubicBezTo>
                      <a:pt x="5" y="1"/>
                      <a:pt x="7" y="0"/>
                      <a:pt x="10" y="0"/>
                    </a:cubicBezTo>
                    <a:cubicBezTo>
                      <a:pt x="17" y="0"/>
                      <a:pt x="20" y="5"/>
                      <a:pt x="20" y="14"/>
                    </a:cubicBezTo>
                    <a:cubicBezTo>
                      <a:pt x="20" y="18"/>
                      <a:pt x="19" y="22"/>
                      <a:pt x="17" y="24"/>
                    </a:cubicBezTo>
                    <a:cubicBezTo>
                      <a:pt x="16" y="26"/>
                      <a:pt x="13" y="28"/>
                      <a:pt x="10" y="28"/>
                    </a:cubicBezTo>
                    <a:close/>
                    <a:moveTo>
                      <a:pt x="10" y="5"/>
                    </a:moveTo>
                    <a:cubicBezTo>
                      <a:pt x="8" y="5"/>
                      <a:pt x="7" y="8"/>
                      <a:pt x="7" y="14"/>
                    </a:cubicBezTo>
                    <a:cubicBezTo>
                      <a:pt x="7" y="20"/>
                      <a:pt x="8" y="23"/>
                      <a:pt x="10" y="23"/>
                    </a:cubicBezTo>
                    <a:cubicBezTo>
                      <a:pt x="12" y="23"/>
                      <a:pt x="14" y="20"/>
                      <a:pt x="14" y="14"/>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93" name="Freeform 242"/>
              <p:cNvSpPr>
                <a:spLocks noEditPoints="1"/>
              </p:cNvSpPr>
              <p:nvPr/>
            </p:nvSpPr>
            <p:spPr bwMode="auto">
              <a:xfrm>
                <a:off x="5400675" y="3746500"/>
                <a:ext cx="42863" cy="60325"/>
              </a:xfrm>
              <a:custGeom>
                <a:avLst/>
                <a:gdLst>
                  <a:gd name="T0" fmla="*/ 10 w 19"/>
                  <a:gd name="T1" fmla="*/ 27 h 27"/>
                  <a:gd name="T2" fmla="*/ 0 w 19"/>
                  <a:gd name="T3" fmla="*/ 14 h 27"/>
                  <a:gd name="T4" fmla="*/ 3 w 19"/>
                  <a:gd name="T5" fmla="*/ 3 h 27"/>
                  <a:gd name="T6" fmla="*/ 10 w 19"/>
                  <a:gd name="T7" fmla="*/ 0 h 27"/>
                  <a:gd name="T8" fmla="*/ 19 w 19"/>
                  <a:gd name="T9" fmla="*/ 14 h 27"/>
                  <a:gd name="T10" fmla="*/ 17 w 19"/>
                  <a:gd name="T11" fmla="*/ 24 h 27"/>
                  <a:gd name="T12" fmla="*/ 10 w 19"/>
                  <a:gd name="T13" fmla="*/ 27 h 27"/>
                  <a:gd name="T14" fmla="*/ 10 w 19"/>
                  <a:gd name="T15" fmla="*/ 4 h 27"/>
                  <a:gd name="T16" fmla="*/ 6 w 19"/>
                  <a:gd name="T17" fmla="*/ 14 h 27"/>
                  <a:gd name="T18" fmla="*/ 10 w 19"/>
                  <a:gd name="T19" fmla="*/ 22 h 27"/>
                  <a:gd name="T20" fmla="*/ 13 w 19"/>
                  <a:gd name="T21" fmla="*/ 14 h 27"/>
                  <a:gd name="T22" fmla="*/ 10 w 19"/>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0" y="27"/>
                    </a:moveTo>
                    <a:cubicBezTo>
                      <a:pt x="3" y="27"/>
                      <a:pt x="0" y="22"/>
                      <a:pt x="0" y="14"/>
                    </a:cubicBezTo>
                    <a:cubicBezTo>
                      <a:pt x="0" y="9"/>
                      <a:pt x="1" y="6"/>
                      <a:pt x="3" y="3"/>
                    </a:cubicBezTo>
                    <a:cubicBezTo>
                      <a:pt x="4" y="1"/>
                      <a:pt x="7" y="0"/>
                      <a:pt x="10" y="0"/>
                    </a:cubicBezTo>
                    <a:cubicBezTo>
                      <a:pt x="16" y="0"/>
                      <a:pt x="19" y="5"/>
                      <a:pt x="19" y="14"/>
                    </a:cubicBezTo>
                    <a:cubicBezTo>
                      <a:pt x="19" y="18"/>
                      <a:pt x="18" y="21"/>
                      <a:pt x="17" y="24"/>
                    </a:cubicBezTo>
                    <a:cubicBezTo>
                      <a:pt x="15" y="26"/>
                      <a:pt x="13" y="27"/>
                      <a:pt x="10" y="27"/>
                    </a:cubicBezTo>
                    <a:close/>
                    <a:moveTo>
                      <a:pt x="10" y="4"/>
                    </a:moveTo>
                    <a:cubicBezTo>
                      <a:pt x="8" y="4"/>
                      <a:pt x="6" y="7"/>
                      <a:pt x="6" y="14"/>
                    </a:cubicBezTo>
                    <a:cubicBezTo>
                      <a:pt x="6" y="19"/>
                      <a:pt x="8" y="22"/>
                      <a:pt x="10" y="22"/>
                    </a:cubicBezTo>
                    <a:cubicBezTo>
                      <a:pt x="12" y="22"/>
                      <a:pt x="13" y="20"/>
                      <a:pt x="13" y="14"/>
                    </a:cubicBezTo>
                    <a:cubicBezTo>
                      <a:pt x="13" y="7"/>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94" name="Freeform 243"/>
              <p:cNvSpPr>
                <a:spLocks noEditPoints="1"/>
              </p:cNvSpPr>
              <p:nvPr/>
            </p:nvSpPr>
            <p:spPr bwMode="auto">
              <a:xfrm>
                <a:off x="5449888" y="3746500"/>
                <a:ext cx="41275" cy="61913"/>
              </a:xfrm>
              <a:custGeom>
                <a:avLst/>
                <a:gdLst>
                  <a:gd name="T0" fmla="*/ 9 w 19"/>
                  <a:gd name="T1" fmla="*/ 28 h 28"/>
                  <a:gd name="T2" fmla="*/ 0 w 19"/>
                  <a:gd name="T3" fmla="*/ 15 h 28"/>
                  <a:gd name="T4" fmla="*/ 2 w 19"/>
                  <a:gd name="T5" fmla="*/ 4 h 28"/>
                  <a:gd name="T6" fmla="*/ 10 w 19"/>
                  <a:gd name="T7" fmla="*/ 0 h 28"/>
                  <a:gd name="T8" fmla="*/ 19 w 19"/>
                  <a:gd name="T9" fmla="*/ 15 h 28"/>
                  <a:gd name="T10" fmla="*/ 16 w 19"/>
                  <a:gd name="T11" fmla="*/ 25 h 28"/>
                  <a:gd name="T12" fmla="*/ 9 w 19"/>
                  <a:gd name="T13" fmla="*/ 28 h 28"/>
                  <a:gd name="T14" fmla="*/ 10 w 19"/>
                  <a:gd name="T15" fmla="*/ 5 h 28"/>
                  <a:gd name="T16" fmla="*/ 6 w 19"/>
                  <a:gd name="T17" fmla="*/ 15 h 28"/>
                  <a:gd name="T18" fmla="*/ 10 w 19"/>
                  <a:gd name="T19" fmla="*/ 24 h 28"/>
                  <a:gd name="T20" fmla="*/ 13 w 19"/>
                  <a:gd name="T21" fmla="*/ 15 h 28"/>
                  <a:gd name="T22" fmla="*/ 10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5"/>
                    </a:cubicBezTo>
                    <a:cubicBezTo>
                      <a:pt x="0" y="10"/>
                      <a:pt x="1" y="6"/>
                      <a:pt x="2" y="4"/>
                    </a:cubicBezTo>
                    <a:cubicBezTo>
                      <a:pt x="4" y="2"/>
                      <a:pt x="6" y="0"/>
                      <a:pt x="10" y="0"/>
                    </a:cubicBezTo>
                    <a:cubicBezTo>
                      <a:pt x="16" y="1"/>
                      <a:pt x="19" y="6"/>
                      <a:pt x="19" y="15"/>
                    </a:cubicBezTo>
                    <a:cubicBezTo>
                      <a:pt x="19" y="19"/>
                      <a:pt x="18" y="22"/>
                      <a:pt x="16" y="25"/>
                    </a:cubicBezTo>
                    <a:cubicBezTo>
                      <a:pt x="15" y="27"/>
                      <a:pt x="12" y="28"/>
                      <a:pt x="9" y="28"/>
                    </a:cubicBezTo>
                    <a:close/>
                    <a:moveTo>
                      <a:pt x="10" y="5"/>
                    </a:moveTo>
                    <a:cubicBezTo>
                      <a:pt x="7" y="5"/>
                      <a:pt x="6" y="8"/>
                      <a:pt x="6" y="15"/>
                    </a:cubicBezTo>
                    <a:cubicBezTo>
                      <a:pt x="6" y="20"/>
                      <a:pt x="7" y="24"/>
                      <a:pt x="10" y="24"/>
                    </a:cubicBezTo>
                    <a:cubicBezTo>
                      <a:pt x="12" y="24"/>
                      <a:pt x="13" y="21"/>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95" name="Freeform 244"/>
              <p:cNvSpPr>
                <a:spLocks noEditPoints="1"/>
              </p:cNvSpPr>
              <p:nvPr/>
            </p:nvSpPr>
            <p:spPr bwMode="auto">
              <a:xfrm>
                <a:off x="5499100" y="3748088"/>
                <a:ext cx="41275" cy="63500"/>
              </a:xfrm>
              <a:custGeom>
                <a:avLst/>
                <a:gdLst>
                  <a:gd name="T0" fmla="*/ 9 w 19"/>
                  <a:gd name="T1" fmla="*/ 28 h 28"/>
                  <a:gd name="T2" fmla="*/ 0 w 19"/>
                  <a:gd name="T3" fmla="*/ 15 h 28"/>
                  <a:gd name="T4" fmla="*/ 2 w 19"/>
                  <a:gd name="T5" fmla="*/ 4 h 28"/>
                  <a:gd name="T6" fmla="*/ 10 w 19"/>
                  <a:gd name="T7" fmla="*/ 1 h 28"/>
                  <a:gd name="T8" fmla="*/ 19 w 19"/>
                  <a:gd name="T9" fmla="*/ 15 h 28"/>
                  <a:gd name="T10" fmla="*/ 16 w 19"/>
                  <a:gd name="T11" fmla="*/ 25 h 28"/>
                  <a:gd name="T12" fmla="*/ 9 w 19"/>
                  <a:gd name="T13" fmla="*/ 28 h 28"/>
                  <a:gd name="T14" fmla="*/ 9 w 19"/>
                  <a:gd name="T15" fmla="*/ 5 h 28"/>
                  <a:gd name="T16" fmla="*/ 5 w 19"/>
                  <a:gd name="T17" fmla="*/ 15 h 28"/>
                  <a:gd name="T18" fmla="*/ 9 w 19"/>
                  <a:gd name="T19" fmla="*/ 24 h 28"/>
                  <a:gd name="T20" fmla="*/ 13 w 19"/>
                  <a:gd name="T21" fmla="*/ 15 h 28"/>
                  <a:gd name="T22" fmla="*/ 9 w 19"/>
                  <a:gd name="T23"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8">
                    <a:moveTo>
                      <a:pt x="9" y="28"/>
                    </a:moveTo>
                    <a:cubicBezTo>
                      <a:pt x="3" y="28"/>
                      <a:pt x="0" y="23"/>
                      <a:pt x="0" y="15"/>
                    </a:cubicBezTo>
                    <a:cubicBezTo>
                      <a:pt x="0" y="10"/>
                      <a:pt x="1" y="6"/>
                      <a:pt x="2" y="4"/>
                    </a:cubicBezTo>
                    <a:cubicBezTo>
                      <a:pt x="4" y="1"/>
                      <a:pt x="6" y="0"/>
                      <a:pt x="10" y="1"/>
                    </a:cubicBezTo>
                    <a:cubicBezTo>
                      <a:pt x="16" y="1"/>
                      <a:pt x="19" y="6"/>
                      <a:pt x="19" y="15"/>
                    </a:cubicBezTo>
                    <a:cubicBezTo>
                      <a:pt x="19" y="19"/>
                      <a:pt x="18" y="23"/>
                      <a:pt x="16" y="25"/>
                    </a:cubicBezTo>
                    <a:cubicBezTo>
                      <a:pt x="15" y="27"/>
                      <a:pt x="12" y="28"/>
                      <a:pt x="9" y="28"/>
                    </a:cubicBezTo>
                    <a:close/>
                    <a:moveTo>
                      <a:pt x="9" y="5"/>
                    </a:moveTo>
                    <a:cubicBezTo>
                      <a:pt x="7" y="5"/>
                      <a:pt x="5" y="8"/>
                      <a:pt x="5" y="15"/>
                    </a:cubicBezTo>
                    <a:cubicBezTo>
                      <a:pt x="5" y="20"/>
                      <a:pt x="7" y="23"/>
                      <a:pt x="9" y="24"/>
                    </a:cubicBezTo>
                    <a:cubicBezTo>
                      <a:pt x="12" y="24"/>
                      <a:pt x="13" y="21"/>
                      <a:pt x="13" y="15"/>
                    </a:cubicBezTo>
                    <a:cubicBezTo>
                      <a:pt x="13" y="9"/>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96" name="Freeform 245"/>
              <p:cNvSpPr>
                <a:spLocks/>
              </p:cNvSpPr>
              <p:nvPr/>
            </p:nvSpPr>
            <p:spPr bwMode="auto">
              <a:xfrm>
                <a:off x="5551488" y="3752850"/>
                <a:ext cx="25400" cy="60325"/>
              </a:xfrm>
              <a:custGeom>
                <a:avLst/>
                <a:gdLst>
                  <a:gd name="T0" fmla="*/ 11 w 11"/>
                  <a:gd name="T1" fmla="*/ 0 h 27"/>
                  <a:gd name="T2" fmla="*/ 11 w 11"/>
                  <a:gd name="T3" fmla="*/ 27 h 27"/>
                  <a:gd name="T4" fmla="*/ 6 w 11"/>
                  <a:gd name="T5" fmla="*/ 27 h 27"/>
                  <a:gd name="T6" fmla="*/ 6 w 11"/>
                  <a:gd name="T7" fmla="*/ 6 h 27"/>
                  <a:gd name="T8" fmla="*/ 4 w 11"/>
                  <a:gd name="T9" fmla="*/ 7 h 27"/>
                  <a:gd name="T10" fmla="*/ 3 w 11"/>
                  <a:gd name="T11" fmla="*/ 8 h 27"/>
                  <a:gd name="T12" fmla="*/ 1 w 11"/>
                  <a:gd name="T13" fmla="*/ 9 h 27"/>
                  <a:gd name="T14" fmla="*/ 0 w 11"/>
                  <a:gd name="T15" fmla="*/ 9 h 27"/>
                  <a:gd name="T16" fmla="*/ 0 w 11"/>
                  <a:gd name="T17" fmla="*/ 4 h 27"/>
                  <a:gd name="T18" fmla="*/ 4 w 11"/>
                  <a:gd name="T19" fmla="*/ 2 h 27"/>
                  <a:gd name="T20" fmla="*/ 8 w 11"/>
                  <a:gd name="T21" fmla="*/ 0 h 27"/>
                  <a:gd name="T22" fmla="*/ 11 w 11"/>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7">
                    <a:moveTo>
                      <a:pt x="11" y="0"/>
                    </a:moveTo>
                    <a:cubicBezTo>
                      <a:pt x="11" y="11"/>
                      <a:pt x="11" y="17"/>
                      <a:pt x="11" y="27"/>
                    </a:cubicBezTo>
                    <a:cubicBezTo>
                      <a:pt x="9" y="27"/>
                      <a:pt x="8" y="27"/>
                      <a:pt x="6" y="27"/>
                    </a:cubicBezTo>
                    <a:cubicBezTo>
                      <a:pt x="6" y="19"/>
                      <a:pt x="6" y="15"/>
                      <a:pt x="6" y="6"/>
                    </a:cubicBezTo>
                    <a:cubicBezTo>
                      <a:pt x="6" y="7"/>
                      <a:pt x="5" y="7"/>
                      <a:pt x="4" y="7"/>
                    </a:cubicBezTo>
                    <a:cubicBezTo>
                      <a:pt x="4" y="7"/>
                      <a:pt x="3" y="8"/>
                      <a:pt x="3" y="8"/>
                    </a:cubicBezTo>
                    <a:cubicBezTo>
                      <a:pt x="2" y="8"/>
                      <a:pt x="2" y="9"/>
                      <a:pt x="1" y="9"/>
                    </a:cubicBezTo>
                    <a:cubicBezTo>
                      <a:pt x="1" y="9"/>
                      <a:pt x="0" y="9"/>
                      <a:pt x="0" y="9"/>
                    </a:cubicBezTo>
                    <a:cubicBezTo>
                      <a:pt x="0" y="6"/>
                      <a:pt x="0" y="5"/>
                      <a:pt x="0" y="4"/>
                    </a:cubicBezTo>
                    <a:cubicBezTo>
                      <a:pt x="1" y="3"/>
                      <a:pt x="3" y="3"/>
                      <a:pt x="4"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97" name="Freeform 246"/>
              <p:cNvSpPr>
                <a:spLocks noEditPoints="1"/>
              </p:cNvSpPr>
              <p:nvPr/>
            </p:nvSpPr>
            <p:spPr bwMode="auto">
              <a:xfrm>
                <a:off x="5594350" y="3756025"/>
                <a:ext cx="41275" cy="63500"/>
              </a:xfrm>
              <a:custGeom>
                <a:avLst/>
                <a:gdLst>
                  <a:gd name="T0" fmla="*/ 9 w 19"/>
                  <a:gd name="T1" fmla="*/ 28 h 29"/>
                  <a:gd name="T2" fmla="*/ 0 w 19"/>
                  <a:gd name="T3" fmla="*/ 14 h 29"/>
                  <a:gd name="T4" fmla="*/ 3 w 19"/>
                  <a:gd name="T5" fmla="*/ 4 h 29"/>
                  <a:gd name="T6" fmla="*/ 10 w 19"/>
                  <a:gd name="T7" fmla="*/ 1 h 29"/>
                  <a:gd name="T8" fmla="*/ 19 w 19"/>
                  <a:gd name="T9" fmla="*/ 15 h 29"/>
                  <a:gd name="T10" fmla="*/ 17 w 19"/>
                  <a:gd name="T11" fmla="*/ 25 h 29"/>
                  <a:gd name="T12" fmla="*/ 9 w 19"/>
                  <a:gd name="T13" fmla="*/ 28 h 29"/>
                  <a:gd name="T14" fmla="*/ 9 w 19"/>
                  <a:gd name="T15" fmla="*/ 5 h 29"/>
                  <a:gd name="T16" fmla="*/ 6 w 19"/>
                  <a:gd name="T17" fmla="*/ 14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8"/>
                    </a:moveTo>
                    <a:cubicBezTo>
                      <a:pt x="3" y="28"/>
                      <a:pt x="0" y="23"/>
                      <a:pt x="0" y="14"/>
                    </a:cubicBezTo>
                    <a:cubicBezTo>
                      <a:pt x="0" y="10"/>
                      <a:pt x="1" y="6"/>
                      <a:pt x="3" y="4"/>
                    </a:cubicBezTo>
                    <a:cubicBezTo>
                      <a:pt x="4" y="1"/>
                      <a:pt x="7" y="0"/>
                      <a:pt x="10" y="1"/>
                    </a:cubicBezTo>
                    <a:cubicBezTo>
                      <a:pt x="16" y="1"/>
                      <a:pt x="19" y="6"/>
                      <a:pt x="19" y="15"/>
                    </a:cubicBezTo>
                    <a:cubicBezTo>
                      <a:pt x="19" y="20"/>
                      <a:pt x="18" y="23"/>
                      <a:pt x="17" y="25"/>
                    </a:cubicBezTo>
                    <a:cubicBezTo>
                      <a:pt x="15" y="27"/>
                      <a:pt x="13" y="29"/>
                      <a:pt x="9" y="28"/>
                    </a:cubicBezTo>
                    <a:close/>
                    <a:moveTo>
                      <a:pt x="9" y="5"/>
                    </a:moveTo>
                    <a:cubicBezTo>
                      <a:pt x="7" y="5"/>
                      <a:pt x="6" y="8"/>
                      <a:pt x="6" y="14"/>
                    </a:cubicBezTo>
                    <a:cubicBezTo>
                      <a:pt x="6" y="21"/>
                      <a:pt x="7" y="24"/>
                      <a:pt x="9" y="24"/>
                    </a:cubicBezTo>
                    <a:cubicBezTo>
                      <a:pt x="12" y="24"/>
                      <a:pt x="13" y="21"/>
                      <a:pt x="13" y="15"/>
                    </a:cubicBezTo>
                    <a:cubicBezTo>
                      <a:pt x="13" y="9"/>
                      <a:pt x="12" y="6"/>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98" name="Freeform 247"/>
              <p:cNvSpPr>
                <a:spLocks noEditPoints="1"/>
              </p:cNvSpPr>
              <p:nvPr/>
            </p:nvSpPr>
            <p:spPr bwMode="auto">
              <a:xfrm>
                <a:off x="5640388" y="3759200"/>
                <a:ext cx="44450" cy="60325"/>
              </a:xfrm>
              <a:custGeom>
                <a:avLst/>
                <a:gdLst>
                  <a:gd name="T0" fmla="*/ 10 w 20"/>
                  <a:gd name="T1" fmla="*/ 27 h 27"/>
                  <a:gd name="T2" fmla="*/ 0 w 20"/>
                  <a:gd name="T3" fmla="*/ 13 h 27"/>
                  <a:gd name="T4" fmla="*/ 3 w 20"/>
                  <a:gd name="T5" fmla="*/ 3 h 27"/>
                  <a:gd name="T6" fmla="*/ 10 w 20"/>
                  <a:gd name="T7" fmla="*/ 0 h 27"/>
                  <a:gd name="T8" fmla="*/ 20 w 20"/>
                  <a:gd name="T9" fmla="*/ 14 h 27"/>
                  <a:gd name="T10" fmla="*/ 17 w 20"/>
                  <a:gd name="T11" fmla="*/ 24 h 27"/>
                  <a:gd name="T12" fmla="*/ 10 w 20"/>
                  <a:gd name="T13" fmla="*/ 27 h 27"/>
                  <a:gd name="T14" fmla="*/ 10 w 20"/>
                  <a:gd name="T15" fmla="*/ 4 h 27"/>
                  <a:gd name="T16" fmla="*/ 7 w 20"/>
                  <a:gd name="T17" fmla="*/ 14 h 27"/>
                  <a:gd name="T18" fmla="*/ 10 w 20"/>
                  <a:gd name="T19" fmla="*/ 23 h 27"/>
                  <a:gd name="T20" fmla="*/ 14 w 20"/>
                  <a:gd name="T21" fmla="*/ 14 h 27"/>
                  <a:gd name="T22" fmla="*/ 10 w 20"/>
                  <a:gd name="T2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7">
                    <a:moveTo>
                      <a:pt x="10" y="27"/>
                    </a:moveTo>
                    <a:cubicBezTo>
                      <a:pt x="4" y="27"/>
                      <a:pt x="0" y="23"/>
                      <a:pt x="0" y="13"/>
                    </a:cubicBezTo>
                    <a:cubicBezTo>
                      <a:pt x="0" y="9"/>
                      <a:pt x="1" y="5"/>
                      <a:pt x="3" y="3"/>
                    </a:cubicBezTo>
                    <a:cubicBezTo>
                      <a:pt x="5" y="1"/>
                      <a:pt x="7" y="0"/>
                      <a:pt x="10" y="0"/>
                    </a:cubicBezTo>
                    <a:cubicBezTo>
                      <a:pt x="17" y="0"/>
                      <a:pt x="20" y="5"/>
                      <a:pt x="20" y="14"/>
                    </a:cubicBezTo>
                    <a:cubicBezTo>
                      <a:pt x="20" y="19"/>
                      <a:pt x="19" y="22"/>
                      <a:pt x="17" y="24"/>
                    </a:cubicBezTo>
                    <a:cubicBezTo>
                      <a:pt x="16" y="27"/>
                      <a:pt x="13" y="27"/>
                      <a:pt x="10" y="27"/>
                    </a:cubicBezTo>
                    <a:close/>
                    <a:moveTo>
                      <a:pt x="10" y="4"/>
                    </a:moveTo>
                    <a:cubicBezTo>
                      <a:pt x="8" y="4"/>
                      <a:pt x="7" y="8"/>
                      <a:pt x="7" y="14"/>
                    </a:cubicBezTo>
                    <a:cubicBezTo>
                      <a:pt x="7" y="20"/>
                      <a:pt x="8" y="23"/>
                      <a:pt x="10" y="23"/>
                    </a:cubicBezTo>
                    <a:cubicBezTo>
                      <a:pt x="12" y="23"/>
                      <a:pt x="14" y="20"/>
                      <a:pt x="14" y="14"/>
                    </a:cubicBezTo>
                    <a:cubicBezTo>
                      <a:pt x="14" y="8"/>
                      <a:pt x="12" y="4"/>
                      <a:pt x="10"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399" name="Freeform 248"/>
              <p:cNvSpPr>
                <a:spLocks/>
              </p:cNvSpPr>
              <p:nvPr/>
            </p:nvSpPr>
            <p:spPr bwMode="auto">
              <a:xfrm>
                <a:off x="5695950" y="3762375"/>
                <a:ext cx="26988" cy="61913"/>
              </a:xfrm>
              <a:custGeom>
                <a:avLst/>
                <a:gdLst>
                  <a:gd name="T0" fmla="*/ 12 w 12"/>
                  <a:gd name="T1" fmla="*/ 0 h 28"/>
                  <a:gd name="T2" fmla="*/ 12 w 12"/>
                  <a:gd name="T3" fmla="*/ 28 h 28"/>
                  <a:gd name="T4" fmla="*/ 6 w 12"/>
                  <a:gd name="T5" fmla="*/ 27 h 28"/>
                  <a:gd name="T6" fmla="*/ 6 w 12"/>
                  <a:gd name="T7" fmla="*/ 7 h 28"/>
                  <a:gd name="T8" fmla="*/ 4 w 12"/>
                  <a:gd name="T9" fmla="*/ 8 h 28"/>
                  <a:gd name="T10" fmla="*/ 3 w 12"/>
                  <a:gd name="T11" fmla="*/ 8 h 28"/>
                  <a:gd name="T12" fmla="*/ 2 w 12"/>
                  <a:gd name="T13" fmla="*/ 9 h 28"/>
                  <a:gd name="T14" fmla="*/ 0 w 12"/>
                  <a:gd name="T15" fmla="*/ 9 h 28"/>
                  <a:gd name="T16" fmla="*/ 0 w 12"/>
                  <a:gd name="T17" fmla="*/ 4 h 28"/>
                  <a:gd name="T18" fmla="*/ 4 w 12"/>
                  <a:gd name="T19" fmla="*/ 2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2"/>
                      <a:pt x="12" y="18"/>
                      <a:pt x="12" y="28"/>
                    </a:cubicBezTo>
                    <a:cubicBezTo>
                      <a:pt x="9" y="28"/>
                      <a:pt x="8" y="28"/>
                      <a:pt x="6" y="27"/>
                    </a:cubicBezTo>
                    <a:cubicBezTo>
                      <a:pt x="6" y="20"/>
                      <a:pt x="6" y="15"/>
                      <a:pt x="6" y="7"/>
                    </a:cubicBezTo>
                    <a:cubicBezTo>
                      <a:pt x="5" y="7"/>
                      <a:pt x="5" y="7"/>
                      <a:pt x="4" y="8"/>
                    </a:cubicBezTo>
                    <a:cubicBezTo>
                      <a:pt x="4" y="8"/>
                      <a:pt x="4" y="8"/>
                      <a:pt x="3" y="8"/>
                    </a:cubicBezTo>
                    <a:cubicBezTo>
                      <a:pt x="3" y="8"/>
                      <a:pt x="2" y="9"/>
                      <a:pt x="2" y="9"/>
                    </a:cubicBezTo>
                    <a:cubicBezTo>
                      <a:pt x="1" y="9"/>
                      <a:pt x="1" y="9"/>
                      <a:pt x="0" y="9"/>
                    </a:cubicBezTo>
                    <a:cubicBezTo>
                      <a:pt x="0" y="7"/>
                      <a:pt x="0" y="5"/>
                      <a:pt x="0" y="4"/>
                    </a:cubicBezTo>
                    <a:cubicBezTo>
                      <a:pt x="2" y="3"/>
                      <a:pt x="3" y="3"/>
                      <a:pt x="4" y="2"/>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00" name="Freeform 249"/>
              <p:cNvSpPr>
                <a:spLocks/>
              </p:cNvSpPr>
              <p:nvPr/>
            </p:nvSpPr>
            <p:spPr bwMode="auto">
              <a:xfrm>
                <a:off x="5743575" y="3768725"/>
                <a:ext cx="25400" cy="60325"/>
              </a:xfrm>
              <a:custGeom>
                <a:avLst/>
                <a:gdLst>
                  <a:gd name="T0" fmla="*/ 12 w 12"/>
                  <a:gd name="T1" fmla="*/ 0 h 27"/>
                  <a:gd name="T2" fmla="*/ 12 w 12"/>
                  <a:gd name="T3" fmla="*/ 27 h 27"/>
                  <a:gd name="T4" fmla="*/ 6 w 12"/>
                  <a:gd name="T5" fmla="*/ 27 h 27"/>
                  <a:gd name="T6" fmla="*/ 6 w 12"/>
                  <a:gd name="T7" fmla="*/ 6 h 27"/>
                  <a:gd name="T8" fmla="*/ 5 w 12"/>
                  <a:gd name="T9" fmla="*/ 7 h 27"/>
                  <a:gd name="T10" fmla="*/ 4 w 12"/>
                  <a:gd name="T11" fmla="*/ 7 h 27"/>
                  <a:gd name="T12" fmla="*/ 2 w 12"/>
                  <a:gd name="T13" fmla="*/ 8 h 27"/>
                  <a:gd name="T14" fmla="*/ 0 w 12"/>
                  <a:gd name="T15" fmla="*/ 8 h 27"/>
                  <a:gd name="T16" fmla="*/ 0 w 12"/>
                  <a:gd name="T17" fmla="*/ 3 h 27"/>
                  <a:gd name="T18" fmla="*/ 5 w 12"/>
                  <a:gd name="T19" fmla="*/ 2 h 27"/>
                  <a:gd name="T20" fmla="*/ 8 w 12"/>
                  <a:gd name="T21" fmla="*/ 0 h 27"/>
                  <a:gd name="T22" fmla="*/ 12 w 12"/>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7">
                    <a:moveTo>
                      <a:pt x="12" y="0"/>
                    </a:moveTo>
                    <a:cubicBezTo>
                      <a:pt x="12" y="11"/>
                      <a:pt x="12" y="17"/>
                      <a:pt x="12" y="27"/>
                    </a:cubicBezTo>
                    <a:cubicBezTo>
                      <a:pt x="10" y="27"/>
                      <a:pt x="9" y="27"/>
                      <a:pt x="6" y="27"/>
                    </a:cubicBezTo>
                    <a:cubicBezTo>
                      <a:pt x="6" y="19"/>
                      <a:pt x="6" y="15"/>
                      <a:pt x="6" y="6"/>
                    </a:cubicBezTo>
                    <a:cubicBezTo>
                      <a:pt x="6" y="6"/>
                      <a:pt x="6" y="6"/>
                      <a:pt x="5" y="7"/>
                    </a:cubicBezTo>
                    <a:cubicBezTo>
                      <a:pt x="5" y="7"/>
                      <a:pt x="4" y="7"/>
                      <a:pt x="4" y="7"/>
                    </a:cubicBezTo>
                    <a:cubicBezTo>
                      <a:pt x="3" y="7"/>
                      <a:pt x="3" y="7"/>
                      <a:pt x="2" y="8"/>
                    </a:cubicBezTo>
                    <a:cubicBezTo>
                      <a:pt x="2" y="8"/>
                      <a:pt x="1" y="8"/>
                      <a:pt x="0" y="8"/>
                    </a:cubicBezTo>
                    <a:cubicBezTo>
                      <a:pt x="0" y="6"/>
                      <a:pt x="0" y="5"/>
                      <a:pt x="0" y="3"/>
                    </a:cubicBezTo>
                    <a:cubicBezTo>
                      <a:pt x="2" y="3"/>
                      <a:pt x="4" y="2"/>
                      <a:pt x="5" y="2"/>
                    </a:cubicBezTo>
                    <a:cubicBezTo>
                      <a:pt x="6" y="1"/>
                      <a:pt x="7" y="0"/>
                      <a:pt x="8" y="0"/>
                    </a:cubicBezTo>
                    <a:cubicBezTo>
                      <a:pt x="10" y="0"/>
                      <a:pt x="11"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01" name="Freeform 250"/>
              <p:cNvSpPr>
                <a:spLocks noEditPoints="1"/>
              </p:cNvSpPr>
              <p:nvPr/>
            </p:nvSpPr>
            <p:spPr bwMode="auto">
              <a:xfrm>
                <a:off x="5786438" y="3770313"/>
                <a:ext cx="42863" cy="65088"/>
              </a:xfrm>
              <a:custGeom>
                <a:avLst/>
                <a:gdLst>
                  <a:gd name="T0" fmla="*/ 9 w 19"/>
                  <a:gd name="T1" fmla="*/ 29 h 29"/>
                  <a:gd name="T2" fmla="*/ 0 w 19"/>
                  <a:gd name="T3" fmla="*/ 14 h 29"/>
                  <a:gd name="T4" fmla="*/ 2 w 19"/>
                  <a:gd name="T5" fmla="*/ 4 h 29"/>
                  <a:gd name="T6" fmla="*/ 10 w 19"/>
                  <a:gd name="T7" fmla="*/ 1 h 29"/>
                  <a:gd name="T8" fmla="*/ 19 w 19"/>
                  <a:gd name="T9" fmla="*/ 15 h 29"/>
                  <a:gd name="T10" fmla="*/ 17 w 19"/>
                  <a:gd name="T11" fmla="*/ 26 h 29"/>
                  <a:gd name="T12" fmla="*/ 9 w 19"/>
                  <a:gd name="T13" fmla="*/ 29 h 29"/>
                  <a:gd name="T14" fmla="*/ 9 w 19"/>
                  <a:gd name="T15" fmla="*/ 5 h 29"/>
                  <a:gd name="T16" fmla="*/ 6 w 19"/>
                  <a:gd name="T17" fmla="*/ 15 h 29"/>
                  <a:gd name="T18" fmla="*/ 9 w 19"/>
                  <a:gd name="T19" fmla="*/ 24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8"/>
                      <a:pt x="0" y="23"/>
                      <a:pt x="0" y="14"/>
                    </a:cubicBezTo>
                    <a:cubicBezTo>
                      <a:pt x="0" y="9"/>
                      <a:pt x="0" y="6"/>
                      <a:pt x="2" y="4"/>
                    </a:cubicBezTo>
                    <a:cubicBezTo>
                      <a:pt x="4" y="1"/>
                      <a:pt x="7" y="0"/>
                      <a:pt x="10" y="1"/>
                    </a:cubicBezTo>
                    <a:cubicBezTo>
                      <a:pt x="16" y="1"/>
                      <a:pt x="19" y="6"/>
                      <a:pt x="19" y="15"/>
                    </a:cubicBezTo>
                    <a:cubicBezTo>
                      <a:pt x="19" y="20"/>
                      <a:pt x="18" y="24"/>
                      <a:pt x="17" y="26"/>
                    </a:cubicBezTo>
                    <a:cubicBezTo>
                      <a:pt x="14" y="28"/>
                      <a:pt x="12" y="29"/>
                      <a:pt x="9" y="29"/>
                    </a:cubicBezTo>
                    <a:close/>
                    <a:moveTo>
                      <a:pt x="9" y="5"/>
                    </a:moveTo>
                    <a:cubicBezTo>
                      <a:pt x="7" y="5"/>
                      <a:pt x="6" y="8"/>
                      <a:pt x="6" y="15"/>
                    </a:cubicBezTo>
                    <a:cubicBezTo>
                      <a:pt x="6" y="21"/>
                      <a:pt x="7" y="24"/>
                      <a:pt x="9" y="24"/>
                    </a:cubicBezTo>
                    <a:cubicBezTo>
                      <a:pt x="12" y="25"/>
                      <a:pt x="13" y="21"/>
                      <a:pt x="13" y="15"/>
                    </a:cubicBezTo>
                    <a:cubicBezTo>
                      <a:pt x="13" y="9"/>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02" name="Freeform 251"/>
              <p:cNvSpPr>
                <a:spLocks/>
              </p:cNvSpPr>
              <p:nvPr/>
            </p:nvSpPr>
            <p:spPr bwMode="auto">
              <a:xfrm>
                <a:off x="5840413" y="3775075"/>
                <a:ext cx="23813" cy="65088"/>
              </a:xfrm>
              <a:custGeom>
                <a:avLst/>
                <a:gdLst>
                  <a:gd name="T0" fmla="*/ 11 w 11"/>
                  <a:gd name="T1" fmla="*/ 0 h 29"/>
                  <a:gd name="T2" fmla="*/ 11 w 11"/>
                  <a:gd name="T3" fmla="*/ 29 h 29"/>
                  <a:gd name="T4" fmla="*/ 6 w 11"/>
                  <a:gd name="T5" fmla="*/ 28 h 29"/>
                  <a:gd name="T6" fmla="*/ 6 w 11"/>
                  <a:gd name="T7" fmla="*/ 7 h 29"/>
                  <a:gd name="T8" fmla="*/ 5 w 11"/>
                  <a:gd name="T9" fmla="*/ 8 h 29"/>
                  <a:gd name="T10" fmla="*/ 3 w 11"/>
                  <a:gd name="T11" fmla="*/ 8 h 29"/>
                  <a:gd name="T12" fmla="*/ 1 w 11"/>
                  <a:gd name="T13" fmla="*/ 9 h 29"/>
                  <a:gd name="T14" fmla="*/ 0 w 11"/>
                  <a:gd name="T15" fmla="*/ 9 h 29"/>
                  <a:gd name="T16" fmla="*/ 0 w 11"/>
                  <a:gd name="T17" fmla="*/ 4 h 29"/>
                  <a:gd name="T18" fmla="*/ 4 w 11"/>
                  <a:gd name="T19" fmla="*/ 2 h 29"/>
                  <a:gd name="T20" fmla="*/ 8 w 11"/>
                  <a:gd name="T21" fmla="*/ 0 h 29"/>
                  <a:gd name="T22" fmla="*/ 11 w 11"/>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9">
                    <a:moveTo>
                      <a:pt x="11" y="0"/>
                    </a:moveTo>
                    <a:cubicBezTo>
                      <a:pt x="11" y="12"/>
                      <a:pt x="11" y="18"/>
                      <a:pt x="11" y="29"/>
                    </a:cubicBezTo>
                    <a:cubicBezTo>
                      <a:pt x="9" y="28"/>
                      <a:pt x="8" y="28"/>
                      <a:pt x="6" y="28"/>
                    </a:cubicBezTo>
                    <a:cubicBezTo>
                      <a:pt x="6" y="20"/>
                      <a:pt x="6" y="16"/>
                      <a:pt x="6" y="7"/>
                    </a:cubicBezTo>
                    <a:cubicBezTo>
                      <a:pt x="5" y="7"/>
                      <a:pt x="5" y="7"/>
                      <a:pt x="5" y="8"/>
                    </a:cubicBezTo>
                    <a:cubicBezTo>
                      <a:pt x="4" y="8"/>
                      <a:pt x="3" y="8"/>
                      <a:pt x="3" y="8"/>
                    </a:cubicBezTo>
                    <a:cubicBezTo>
                      <a:pt x="2" y="8"/>
                      <a:pt x="2" y="8"/>
                      <a:pt x="1" y="9"/>
                    </a:cubicBezTo>
                    <a:cubicBezTo>
                      <a:pt x="1" y="9"/>
                      <a:pt x="0" y="9"/>
                      <a:pt x="0" y="9"/>
                    </a:cubicBezTo>
                    <a:cubicBezTo>
                      <a:pt x="0" y="7"/>
                      <a:pt x="0" y="6"/>
                      <a:pt x="0" y="4"/>
                    </a:cubicBezTo>
                    <a:cubicBezTo>
                      <a:pt x="1" y="3"/>
                      <a:pt x="3" y="3"/>
                      <a:pt x="4" y="2"/>
                    </a:cubicBezTo>
                    <a:cubicBezTo>
                      <a:pt x="6"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03" name="Freeform 252"/>
              <p:cNvSpPr>
                <a:spLocks/>
              </p:cNvSpPr>
              <p:nvPr/>
            </p:nvSpPr>
            <p:spPr bwMode="auto">
              <a:xfrm>
                <a:off x="5889625" y="3779838"/>
                <a:ext cx="23813" cy="61913"/>
              </a:xfrm>
              <a:custGeom>
                <a:avLst/>
                <a:gdLst>
                  <a:gd name="T0" fmla="*/ 11 w 11"/>
                  <a:gd name="T1" fmla="*/ 0 h 28"/>
                  <a:gd name="T2" fmla="*/ 11 w 11"/>
                  <a:gd name="T3" fmla="*/ 28 h 28"/>
                  <a:gd name="T4" fmla="*/ 5 w 11"/>
                  <a:gd name="T5" fmla="*/ 28 h 28"/>
                  <a:gd name="T6" fmla="*/ 5 w 11"/>
                  <a:gd name="T7" fmla="*/ 6 h 28"/>
                  <a:gd name="T8" fmla="*/ 4 w 11"/>
                  <a:gd name="T9" fmla="*/ 8 h 28"/>
                  <a:gd name="T10" fmla="*/ 3 w 11"/>
                  <a:gd name="T11" fmla="*/ 8 h 28"/>
                  <a:gd name="T12" fmla="*/ 2 w 11"/>
                  <a:gd name="T13" fmla="*/ 9 h 28"/>
                  <a:gd name="T14" fmla="*/ 0 w 11"/>
                  <a:gd name="T15" fmla="*/ 9 h 28"/>
                  <a:gd name="T16" fmla="*/ 0 w 11"/>
                  <a:gd name="T17" fmla="*/ 3 h 28"/>
                  <a:gd name="T18" fmla="*/ 4 w 11"/>
                  <a:gd name="T19" fmla="*/ 2 h 28"/>
                  <a:gd name="T20" fmla="*/ 8 w 11"/>
                  <a:gd name="T21" fmla="*/ 0 h 28"/>
                  <a:gd name="T22" fmla="*/ 11 w 11"/>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8">
                    <a:moveTo>
                      <a:pt x="11" y="0"/>
                    </a:moveTo>
                    <a:cubicBezTo>
                      <a:pt x="11" y="12"/>
                      <a:pt x="11" y="17"/>
                      <a:pt x="11" y="28"/>
                    </a:cubicBezTo>
                    <a:cubicBezTo>
                      <a:pt x="9" y="28"/>
                      <a:pt x="8" y="28"/>
                      <a:pt x="5" y="28"/>
                    </a:cubicBezTo>
                    <a:cubicBezTo>
                      <a:pt x="5" y="20"/>
                      <a:pt x="5" y="15"/>
                      <a:pt x="5" y="6"/>
                    </a:cubicBezTo>
                    <a:cubicBezTo>
                      <a:pt x="5" y="7"/>
                      <a:pt x="5" y="7"/>
                      <a:pt x="4" y="8"/>
                    </a:cubicBezTo>
                    <a:cubicBezTo>
                      <a:pt x="4" y="8"/>
                      <a:pt x="4" y="8"/>
                      <a:pt x="3" y="8"/>
                    </a:cubicBezTo>
                    <a:cubicBezTo>
                      <a:pt x="3" y="8"/>
                      <a:pt x="2" y="9"/>
                      <a:pt x="2" y="9"/>
                    </a:cubicBezTo>
                    <a:cubicBezTo>
                      <a:pt x="1" y="9"/>
                      <a:pt x="0" y="9"/>
                      <a:pt x="0" y="9"/>
                    </a:cubicBezTo>
                    <a:cubicBezTo>
                      <a:pt x="0" y="6"/>
                      <a:pt x="0" y="5"/>
                      <a:pt x="0" y="3"/>
                    </a:cubicBezTo>
                    <a:cubicBezTo>
                      <a:pt x="2" y="3"/>
                      <a:pt x="3" y="3"/>
                      <a:pt x="4" y="2"/>
                    </a:cubicBezTo>
                    <a:cubicBezTo>
                      <a:pt x="5" y="1"/>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04" name="Freeform 253"/>
              <p:cNvSpPr>
                <a:spLocks noEditPoints="1"/>
              </p:cNvSpPr>
              <p:nvPr/>
            </p:nvSpPr>
            <p:spPr bwMode="auto">
              <a:xfrm>
                <a:off x="5930900" y="3781425"/>
                <a:ext cx="42863" cy="65088"/>
              </a:xfrm>
              <a:custGeom>
                <a:avLst/>
                <a:gdLst>
                  <a:gd name="T0" fmla="*/ 9 w 19"/>
                  <a:gd name="T1" fmla="*/ 29 h 29"/>
                  <a:gd name="T2" fmla="*/ 0 w 19"/>
                  <a:gd name="T3" fmla="*/ 14 h 29"/>
                  <a:gd name="T4" fmla="*/ 2 w 19"/>
                  <a:gd name="T5" fmla="*/ 3 h 29"/>
                  <a:gd name="T6" fmla="*/ 10 w 19"/>
                  <a:gd name="T7" fmla="*/ 0 h 29"/>
                  <a:gd name="T8" fmla="*/ 19 w 19"/>
                  <a:gd name="T9" fmla="*/ 14 h 29"/>
                  <a:gd name="T10" fmla="*/ 16 w 19"/>
                  <a:gd name="T11" fmla="*/ 25 h 29"/>
                  <a:gd name="T12" fmla="*/ 9 w 19"/>
                  <a:gd name="T13" fmla="*/ 29 h 29"/>
                  <a:gd name="T14" fmla="*/ 10 w 19"/>
                  <a:gd name="T15" fmla="*/ 5 h 29"/>
                  <a:gd name="T16" fmla="*/ 5 w 19"/>
                  <a:gd name="T17" fmla="*/ 14 h 29"/>
                  <a:gd name="T18" fmla="*/ 10 w 19"/>
                  <a:gd name="T19" fmla="*/ 24 h 29"/>
                  <a:gd name="T20" fmla="*/ 13 w 19"/>
                  <a:gd name="T21" fmla="*/ 14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8"/>
                      <a:pt x="0" y="24"/>
                      <a:pt x="0" y="14"/>
                    </a:cubicBezTo>
                    <a:cubicBezTo>
                      <a:pt x="0" y="10"/>
                      <a:pt x="1" y="6"/>
                      <a:pt x="2" y="3"/>
                    </a:cubicBezTo>
                    <a:cubicBezTo>
                      <a:pt x="4" y="1"/>
                      <a:pt x="7" y="0"/>
                      <a:pt x="10" y="0"/>
                    </a:cubicBezTo>
                    <a:cubicBezTo>
                      <a:pt x="16" y="0"/>
                      <a:pt x="19" y="5"/>
                      <a:pt x="19" y="14"/>
                    </a:cubicBezTo>
                    <a:cubicBezTo>
                      <a:pt x="19" y="19"/>
                      <a:pt x="18" y="23"/>
                      <a:pt x="16" y="25"/>
                    </a:cubicBezTo>
                    <a:cubicBezTo>
                      <a:pt x="15" y="27"/>
                      <a:pt x="12" y="29"/>
                      <a:pt x="9" y="29"/>
                    </a:cubicBezTo>
                    <a:close/>
                    <a:moveTo>
                      <a:pt x="10" y="5"/>
                    </a:moveTo>
                    <a:cubicBezTo>
                      <a:pt x="7" y="5"/>
                      <a:pt x="5" y="8"/>
                      <a:pt x="5" y="14"/>
                    </a:cubicBezTo>
                    <a:cubicBezTo>
                      <a:pt x="5" y="21"/>
                      <a:pt x="7" y="24"/>
                      <a:pt x="10" y="24"/>
                    </a:cubicBezTo>
                    <a:cubicBezTo>
                      <a:pt x="12" y="24"/>
                      <a:pt x="13" y="21"/>
                      <a:pt x="13" y="14"/>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05" name="Freeform 254"/>
              <p:cNvSpPr>
                <a:spLocks noEditPoints="1"/>
              </p:cNvSpPr>
              <p:nvPr/>
            </p:nvSpPr>
            <p:spPr bwMode="auto">
              <a:xfrm>
                <a:off x="5645150" y="3062288"/>
                <a:ext cx="42863" cy="65088"/>
              </a:xfrm>
              <a:custGeom>
                <a:avLst/>
                <a:gdLst>
                  <a:gd name="T0" fmla="*/ 9 w 19"/>
                  <a:gd name="T1" fmla="*/ 28 h 29"/>
                  <a:gd name="T2" fmla="*/ 0 w 19"/>
                  <a:gd name="T3" fmla="*/ 15 h 29"/>
                  <a:gd name="T4" fmla="*/ 2 w 19"/>
                  <a:gd name="T5" fmla="*/ 4 h 29"/>
                  <a:gd name="T6" fmla="*/ 10 w 19"/>
                  <a:gd name="T7" fmla="*/ 1 h 29"/>
                  <a:gd name="T8" fmla="*/ 19 w 19"/>
                  <a:gd name="T9" fmla="*/ 14 h 29"/>
                  <a:gd name="T10" fmla="*/ 16 w 19"/>
                  <a:gd name="T11" fmla="*/ 25 h 29"/>
                  <a:gd name="T12" fmla="*/ 9 w 19"/>
                  <a:gd name="T13" fmla="*/ 28 h 29"/>
                  <a:gd name="T14" fmla="*/ 9 w 19"/>
                  <a:gd name="T15" fmla="*/ 5 h 29"/>
                  <a:gd name="T16" fmla="*/ 5 w 19"/>
                  <a:gd name="T17" fmla="*/ 15 h 29"/>
                  <a:gd name="T18" fmla="*/ 9 w 19"/>
                  <a:gd name="T19" fmla="*/ 24 h 29"/>
                  <a:gd name="T20" fmla="*/ 13 w 19"/>
                  <a:gd name="T21" fmla="*/ 14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8"/>
                    </a:moveTo>
                    <a:cubicBezTo>
                      <a:pt x="3" y="29"/>
                      <a:pt x="0" y="24"/>
                      <a:pt x="0" y="15"/>
                    </a:cubicBezTo>
                    <a:cubicBezTo>
                      <a:pt x="0" y="11"/>
                      <a:pt x="0" y="7"/>
                      <a:pt x="2" y="4"/>
                    </a:cubicBezTo>
                    <a:cubicBezTo>
                      <a:pt x="4" y="2"/>
                      <a:pt x="6" y="1"/>
                      <a:pt x="10" y="1"/>
                    </a:cubicBezTo>
                    <a:cubicBezTo>
                      <a:pt x="15" y="0"/>
                      <a:pt x="19" y="4"/>
                      <a:pt x="19" y="14"/>
                    </a:cubicBezTo>
                    <a:cubicBezTo>
                      <a:pt x="19" y="18"/>
                      <a:pt x="17" y="22"/>
                      <a:pt x="16" y="25"/>
                    </a:cubicBezTo>
                    <a:cubicBezTo>
                      <a:pt x="14" y="27"/>
                      <a:pt x="12" y="28"/>
                      <a:pt x="9" y="28"/>
                    </a:cubicBezTo>
                    <a:close/>
                    <a:moveTo>
                      <a:pt x="9" y="5"/>
                    </a:moveTo>
                    <a:cubicBezTo>
                      <a:pt x="6" y="5"/>
                      <a:pt x="5" y="8"/>
                      <a:pt x="5" y="15"/>
                    </a:cubicBezTo>
                    <a:cubicBezTo>
                      <a:pt x="5" y="21"/>
                      <a:pt x="6" y="24"/>
                      <a:pt x="9" y="24"/>
                    </a:cubicBezTo>
                    <a:cubicBezTo>
                      <a:pt x="12" y="24"/>
                      <a:pt x="13" y="20"/>
                      <a:pt x="13" y="14"/>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06" name="Freeform 255"/>
              <p:cNvSpPr>
                <a:spLocks noEditPoints="1"/>
              </p:cNvSpPr>
              <p:nvPr/>
            </p:nvSpPr>
            <p:spPr bwMode="auto">
              <a:xfrm>
                <a:off x="5691188" y="3057525"/>
                <a:ext cx="42863" cy="66675"/>
              </a:xfrm>
              <a:custGeom>
                <a:avLst/>
                <a:gdLst>
                  <a:gd name="T0" fmla="*/ 9 w 19"/>
                  <a:gd name="T1" fmla="*/ 29 h 30"/>
                  <a:gd name="T2" fmla="*/ 0 w 19"/>
                  <a:gd name="T3" fmla="*/ 16 h 30"/>
                  <a:gd name="T4" fmla="*/ 2 w 19"/>
                  <a:gd name="T5" fmla="*/ 5 h 30"/>
                  <a:gd name="T6" fmla="*/ 9 w 19"/>
                  <a:gd name="T7" fmla="*/ 1 h 30"/>
                  <a:gd name="T8" fmla="*/ 19 w 19"/>
                  <a:gd name="T9" fmla="*/ 14 h 30"/>
                  <a:gd name="T10" fmla="*/ 16 w 19"/>
                  <a:gd name="T11" fmla="*/ 25 h 30"/>
                  <a:gd name="T12" fmla="*/ 9 w 19"/>
                  <a:gd name="T13" fmla="*/ 29 h 30"/>
                  <a:gd name="T14" fmla="*/ 9 w 19"/>
                  <a:gd name="T15" fmla="*/ 6 h 30"/>
                  <a:gd name="T16" fmla="*/ 6 w 19"/>
                  <a:gd name="T17" fmla="*/ 15 h 30"/>
                  <a:gd name="T18" fmla="*/ 9 w 19"/>
                  <a:gd name="T19" fmla="*/ 24 h 30"/>
                  <a:gd name="T20" fmla="*/ 13 w 19"/>
                  <a:gd name="T21" fmla="*/ 15 h 30"/>
                  <a:gd name="T22" fmla="*/ 9 w 19"/>
                  <a:gd name="T23"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0">
                    <a:moveTo>
                      <a:pt x="9" y="29"/>
                    </a:moveTo>
                    <a:cubicBezTo>
                      <a:pt x="3" y="30"/>
                      <a:pt x="0" y="25"/>
                      <a:pt x="0" y="16"/>
                    </a:cubicBezTo>
                    <a:cubicBezTo>
                      <a:pt x="0" y="11"/>
                      <a:pt x="1" y="8"/>
                      <a:pt x="2" y="5"/>
                    </a:cubicBezTo>
                    <a:cubicBezTo>
                      <a:pt x="4" y="2"/>
                      <a:pt x="6" y="1"/>
                      <a:pt x="9" y="1"/>
                    </a:cubicBezTo>
                    <a:cubicBezTo>
                      <a:pt x="16" y="0"/>
                      <a:pt x="19" y="5"/>
                      <a:pt x="19" y="14"/>
                    </a:cubicBezTo>
                    <a:cubicBezTo>
                      <a:pt x="19" y="19"/>
                      <a:pt x="18" y="22"/>
                      <a:pt x="16" y="25"/>
                    </a:cubicBezTo>
                    <a:cubicBezTo>
                      <a:pt x="15" y="28"/>
                      <a:pt x="12" y="29"/>
                      <a:pt x="9" y="29"/>
                    </a:cubicBezTo>
                    <a:close/>
                    <a:moveTo>
                      <a:pt x="9" y="6"/>
                    </a:moveTo>
                    <a:cubicBezTo>
                      <a:pt x="7" y="6"/>
                      <a:pt x="6" y="9"/>
                      <a:pt x="6" y="15"/>
                    </a:cubicBezTo>
                    <a:cubicBezTo>
                      <a:pt x="6" y="22"/>
                      <a:pt x="7" y="25"/>
                      <a:pt x="9" y="24"/>
                    </a:cubicBezTo>
                    <a:cubicBezTo>
                      <a:pt x="11" y="24"/>
                      <a:pt x="13" y="21"/>
                      <a:pt x="13" y="15"/>
                    </a:cubicBezTo>
                    <a:cubicBezTo>
                      <a:pt x="13" y="8"/>
                      <a:pt x="11" y="6"/>
                      <a:pt x="9" y="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07" name="Freeform 256"/>
              <p:cNvSpPr>
                <a:spLocks noEditPoints="1"/>
              </p:cNvSpPr>
              <p:nvPr/>
            </p:nvSpPr>
            <p:spPr bwMode="auto">
              <a:xfrm>
                <a:off x="5738813" y="3055938"/>
                <a:ext cx="41275" cy="63500"/>
              </a:xfrm>
              <a:custGeom>
                <a:avLst/>
                <a:gdLst>
                  <a:gd name="T0" fmla="*/ 10 w 19"/>
                  <a:gd name="T1" fmla="*/ 29 h 29"/>
                  <a:gd name="T2" fmla="*/ 0 w 19"/>
                  <a:gd name="T3" fmla="*/ 15 h 29"/>
                  <a:gd name="T4" fmla="*/ 3 w 19"/>
                  <a:gd name="T5" fmla="*/ 4 h 29"/>
                  <a:gd name="T6" fmla="*/ 10 w 19"/>
                  <a:gd name="T7" fmla="*/ 0 h 29"/>
                  <a:gd name="T8" fmla="*/ 19 w 19"/>
                  <a:gd name="T9" fmla="*/ 13 h 29"/>
                  <a:gd name="T10" fmla="*/ 17 w 19"/>
                  <a:gd name="T11" fmla="*/ 24 h 29"/>
                  <a:gd name="T12" fmla="*/ 10 w 19"/>
                  <a:gd name="T13" fmla="*/ 29 h 29"/>
                  <a:gd name="T14" fmla="*/ 10 w 19"/>
                  <a:gd name="T15" fmla="*/ 5 h 29"/>
                  <a:gd name="T16" fmla="*/ 6 w 19"/>
                  <a:gd name="T17" fmla="*/ 15 h 29"/>
                  <a:gd name="T18" fmla="*/ 10 w 19"/>
                  <a:gd name="T19" fmla="*/ 24 h 29"/>
                  <a:gd name="T20" fmla="*/ 13 w 19"/>
                  <a:gd name="T21" fmla="*/ 14 h 29"/>
                  <a:gd name="T22" fmla="*/ 10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10" y="29"/>
                    </a:moveTo>
                    <a:cubicBezTo>
                      <a:pt x="4" y="29"/>
                      <a:pt x="0" y="25"/>
                      <a:pt x="0" y="15"/>
                    </a:cubicBezTo>
                    <a:cubicBezTo>
                      <a:pt x="0" y="11"/>
                      <a:pt x="1" y="7"/>
                      <a:pt x="3" y="4"/>
                    </a:cubicBezTo>
                    <a:cubicBezTo>
                      <a:pt x="5" y="2"/>
                      <a:pt x="7" y="0"/>
                      <a:pt x="10" y="0"/>
                    </a:cubicBezTo>
                    <a:cubicBezTo>
                      <a:pt x="16" y="0"/>
                      <a:pt x="19" y="4"/>
                      <a:pt x="19" y="13"/>
                    </a:cubicBezTo>
                    <a:cubicBezTo>
                      <a:pt x="19" y="18"/>
                      <a:pt x="19" y="22"/>
                      <a:pt x="17" y="24"/>
                    </a:cubicBezTo>
                    <a:cubicBezTo>
                      <a:pt x="15" y="27"/>
                      <a:pt x="13" y="29"/>
                      <a:pt x="10" y="29"/>
                    </a:cubicBezTo>
                    <a:close/>
                    <a:moveTo>
                      <a:pt x="10" y="5"/>
                    </a:moveTo>
                    <a:cubicBezTo>
                      <a:pt x="7" y="5"/>
                      <a:pt x="6" y="8"/>
                      <a:pt x="6" y="15"/>
                    </a:cubicBezTo>
                    <a:cubicBezTo>
                      <a:pt x="6" y="21"/>
                      <a:pt x="7" y="24"/>
                      <a:pt x="10" y="24"/>
                    </a:cubicBezTo>
                    <a:cubicBezTo>
                      <a:pt x="12" y="24"/>
                      <a:pt x="13" y="21"/>
                      <a:pt x="13" y="14"/>
                    </a:cubicBezTo>
                    <a:cubicBezTo>
                      <a:pt x="13" y="8"/>
                      <a:pt x="12" y="4"/>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08" name="Freeform 257"/>
              <p:cNvSpPr>
                <a:spLocks/>
              </p:cNvSpPr>
              <p:nvPr/>
            </p:nvSpPr>
            <p:spPr bwMode="auto">
              <a:xfrm>
                <a:off x="5791200" y="3051175"/>
                <a:ext cx="26988" cy="65088"/>
              </a:xfrm>
              <a:custGeom>
                <a:avLst/>
                <a:gdLst>
                  <a:gd name="T0" fmla="*/ 12 w 12"/>
                  <a:gd name="T1" fmla="*/ 0 h 29"/>
                  <a:gd name="T2" fmla="*/ 12 w 12"/>
                  <a:gd name="T3" fmla="*/ 28 h 29"/>
                  <a:gd name="T4" fmla="*/ 6 w 12"/>
                  <a:gd name="T5" fmla="*/ 29 h 29"/>
                  <a:gd name="T6" fmla="*/ 6 w 12"/>
                  <a:gd name="T7" fmla="*/ 7 h 29"/>
                  <a:gd name="T8" fmla="*/ 5 w 12"/>
                  <a:gd name="T9" fmla="*/ 8 h 29"/>
                  <a:gd name="T10" fmla="*/ 4 w 12"/>
                  <a:gd name="T11" fmla="*/ 9 h 29"/>
                  <a:gd name="T12" fmla="*/ 2 w 12"/>
                  <a:gd name="T13" fmla="*/ 10 h 29"/>
                  <a:gd name="T14" fmla="*/ 0 w 12"/>
                  <a:gd name="T15" fmla="*/ 10 h 29"/>
                  <a:gd name="T16" fmla="*/ 0 w 12"/>
                  <a:gd name="T17" fmla="*/ 5 h 29"/>
                  <a:gd name="T18" fmla="*/ 5 w 12"/>
                  <a:gd name="T19" fmla="*/ 3 h 29"/>
                  <a:gd name="T20" fmla="*/ 8 w 12"/>
                  <a:gd name="T21" fmla="*/ 0 h 29"/>
                  <a:gd name="T22" fmla="*/ 12 w 12"/>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12" y="0"/>
                    </a:moveTo>
                    <a:cubicBezTo>
                      <a:pt x="12" y="11"/>
                      <a:pt x="12" y="17"/>
                      <a:pt x="12" y="28"/>
                    </a:cubicBezTo>
                    <a:cubicBezTo>
                      <a:pt x="10" y="28"/>
                      <a:pt x="9" y="28"/>
                      <a:pt x="6" y="29"/>
                    </a:cubicBezTo>
                    <a:cubicBezTo>
                      <a:pt x="6" y="20"/>
                      <a:pt x="6" y="16"/>
                      <a:pt x="6" y="7"/>
                    </a:cubicBezTo>
                    <a:cubicBezTo>
                      <a:pt x="6" y="8"/>
                      <a:pt x="6" y="8"/>
                      <a:pt x="5" y="8"/>
                    </a:cubicBezTo>
                    <a:cubicBezTo>
                      <a:pt x="5" y="9"/>
                      <a:pt x="4" y="9"/>
                      <a:pt x="4" y="9"/>
                    </a:cubicBezTo>
                    <a:cubicBezTo>
                      <a:pt x="3" y="9"/>
                      <a:pt x="2" y="10"/>
                      <a:pt x="2" y="10"/>
                    </a:cubicBezTo>
                    <a:cubicBezTo>
                      <a:pt x="1" y="10"/>
                      <a:pt x="1" y="10"/>
                      <a:pt x="0" y="10"/>
                    </a:cubicBezTo>
                    <a:cubicBezTo>
                      <a:pt x="0" y="8"/>
                      <a:pt x="0" y="7"/>
                      <a:pt x="0" y="5"/>
                    </a:cubicBezTo>
                    <a:cubicBezTo>
                      <a:pt x="2" y="4"/>
                      <a:pt x="4" y="4"/>
                      <a:pt x="5" y="3"/>
                    </a:cubicBezTo>
                    <a:cubicBezTo>
                      <a:pt x="6" y="2"/>
                      <a:pt x="7" y="1"/>
                      <a:pt x="8" y="0"/>
                    </a:cubicBezTo>
                    <a:cubicBezTo>
                      <a:pt x="10"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09" name="Freeform 258"/>
              <p:cNvSpPr>
                <a:spLocks noEditPoints="1"/>
              </p:cNvSpPr>
              <p:nvPr/>
            </p:nvSpPr>
            <p:spPr bwMode="auto">
              <a:xfrm>
                <a:off x="5835650" y="3046413"/>
                <a:ext cx="42863" cy="69850"/>
              </a:xfrm>
              <a:custGeom>
                <a:avLst/>
                <a:gdLst>
                  <a:gd name="T0" fmla="*/ 9 w 19"/>
                  <a:gd name="T1" fmla="*/ 30 h 31"/>
                  <a:gd name="T2" fmla="*/ 0 w 19"/>
                  <a:gd name="T3" fmla="*/ 16 h 31"/>
                  <a:gd name="T4" fmla="*/ 3 w 19"/>
                  <a:gd name="T5" fmla="*/ 5 h 31"/>
                  <a:gd name="T6" fmla="*/ 10 w 19"/>
                  <a:gd name="T7" fmla="*/ 1 h 31"/>
                  <a:gd name="T8" fmla="*/ 19 w 19"/>
                  <a:gd name="T9" fmla="*/ 14 h 31"/>
                  <a:gd name="T10" fmla="*/ 17 w 19"/>
                  <a:gd name="T11" fmla="*/ 26 h 31"/>
                  <a:gd name="T12" fmla="*/ 9 w 19"/>
                  <a:gd name="T13" fmla="*/ 30 h 31"/>
                  <a:gd name="T14" fmla="*/ 10 w 19"/>
                  <a:gd name="T15" fmla="*/ 5 h 31"/>
                  <a:gd name="T16" fmla="*/ 6 w 19"/>
                  <a:gd name="T17" fmla="*/ 16 h 31"/>
                  <a:gd name="T18" fmla="*/ 10 w 19"/>
                  <a:gd name="T19" fmla="*/ 25 h 31"/>
                  <a:gd name="T20" fmla="*/ 13 w 19"/>
                  <a:gd name="T21" fmla="*/ 15 h 31"/>
                  <a:gd name="T22" fmla="*/ 10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9" y="30"/>
                    </a:moveTo>
                    <a:cubicBezTo>
                      <a:pt x="3" y="31"/>
                      <a:pt x="0" y="26"/>
                      <a:pt x="0" y="16"/>
                    </a:cubicBezTo>
                    <a:cubicBezTo>
                      <a:pt x="0" y="12"/>
                      <a:pt x="1" y="7"/>
                      <a:pt x="3" y="5"/>
                    </a:cubicBezTo>
                    <a:cubicBezTo>
                      <a:pt x="4" y="2"/>
                      <a:pt x="7" y="1"/>
                      <a:pt x="10" y="1"/>
                    </a:cubicBezTo>
                    <a:cubicBezTo>
                      <a:pt x="16" y="0"/>
                      <a:pt x="19" y="5"/>
                      <a:pt x="19" y="14"/>
                    </a:cubicBezTo>
                    <a:cubicBezTo>
                      <a:pt x="19" y="19"/>
                      <a:pt x="18" y="23"/>
                      <a:pt x="17" y="26"/>
                    </a:cubicBezTo>
                    <a:cubicBezTo>
                      <a:pt x="15" y="28"/>
                      <a:pt x="12" y="30"/>
                      <a:pt x="9" y="30"/>
                    </a:cubicBezTo>
                    <a:close/>
                    <a:moveTo>
                      <a:pt x="10" y="5"/>
                    </a:moveTo>
                    <a:cubicBezTo>
                      <a:pt x="7" y="5"/>
                      <a:pt x="6" y="9"/>
                      <a:pt x="6" y="16"/>
                    </a:cubicBezTo>
                    <a:cubicBezTo>
                      <a:pt x="6" y="22"/>
                      <a:pt x="7" y="25"/>
                      <a:pt x="10" y="25"/>
                    </a:cubicBezTo>
                    <a:cubicBezTo>
                      <a:pt x="12" y="25"/>
                      <a:pt x="14" y="22"/>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10" name="Freeform 259"/>
              <p:cNvSpPr>
                <a:spLocks noEditPoints="1"/>
              </p:cNvSpPr>
              <p:nvPr/>
            </p:nvSpPr>
            <p:spPr bwMode="auto">
              <a:xfrm>
                <a:off x="5884863" y="3044825"/>
                <a:ext cx="42863" cy="66675"/>
              </a:xfrm>
              <a:custGeom>
                <a:avLst/>
                <a:gdLst>
                  <a:gd name="T0" fmla="*/ 9 w 19"/>
                  <a:gd name="T1" fmla="*/ 30 h 30"/>
                  <a:gd name="T2" fmla="*/ 0 w 19"/>
                  <a:gd name="T3" fmla="*/ 16 h 30"/>
                  <a:gd name="T4" fmla="*/ 3 w 19"/>
                  <a:gd name="T5" fmla="*/ 5 h 30"/>
                  <a:gd name="T6" fmla="*/ 10 w 19"/>
                  <a:gd name="T7" fmla="*/ 0 h 30"/>
                  <a:gd name="T8" fmla="*/ 19 w 19"/>
                  <a:gd name="T9" fmla="*/ 14 h 30"/>
                  <a:gd name="T10" fmla="*/ 17 w 19"/>
                  <a:gd name="T11" fmla="*/ 26 h 30"/>
                  <a:gd name="T12" fmla="*/ 9 w 19"/>
                  <a:gd name="T13" fmla="*/ 30 h 30"/>
                  <a:gd name="T14" fmla="*/ 9 w 19"/>
                  <a:gd name="T15" fmla="*/ 5 h 30"/>
                  <a:gd name="T16" fmla="*/ 6 w 19"/>
                  <a:gd name="T17" fmla="*/ 15 h 30"/>
                  <a:gd name="T18" fmla="*/ 9 w 19"/>
                  <a:gd name="T19" fmla="*/ 25 h 30"/>
                  <a:gd name="T20" fmla="*/ 13 w 19"/>
                  <a:gd name="T21" fmla="*/ 15 h 30"/>
                  <a:gd name="T22" fmla="*/ 9 w 19"/>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0">
                    <a:moveTo>
                      <a:pt x="9" y="30"/>
                    </a:moveTo>
                    <a:cubicBezTo>
                      <a:pt x="3" y="30"/>
                      <a:pt x="0" y="25"/>
                      <a:pt x="0" y="16"/>
                    </a:cubicBezTo>
                    <a:cubicBezTo>
                      <a:pt x="0" y="11"/>
                      <a:pt x="0" y="7"/>
                      <a:pt x="3" y="5"/>
                    </a:cubicBezTo>
                    <a:cubicBezTo>
                      <a:pt x="4" y="2"/>
                      <a:pt x="7" y="0"/>
                      <a:pt x="10" y="0"/>
                    </a:cubicBezTo>
                    <a:cubicBezTo>
                      <a:pt x="16" y="0"/>
                      <a:pt x="19" y="5"/>
                      <a:pt x="19" y="14"/>
                    </a:cubicBezTo>
                    <a:cubicBezTo>
                      <a:pt x="19" y="19"/>
                      <a:pt x="18" y="23"/>
                      <a:pt x="17" y="26"/>
                    </a:cubicBezTo>
                    <a:cubicBezTo>
                      <a:pt x="15" y="28"/>
                      <a:pt x="12" y="29"/>
                      <a:pt x="9" y="30"/>
                    </a:cubicBezTo>
                    <a:close/>
                    <a:moveTo>
                      <a:pt x="9" y="5"/>
                    </a:moveTo>
                    <a:cubicBezTo>
                      <a:pt x="7" y="5"/>
                      <a:pt x="6" y="8"/>
                      <a:pt x="6" y="15"/>
                    </a:cubicBezTo>
                    <a:cubicBezTo>
                      <a:pt x="6" y="21"/>
                      <a:pt x="7" y="25"/>
                      <a:pt x="9" y="25"/>
                    </a:cubicBezTo>
                    <a:cubicBezTo>
                      <a:pt x="12" y="25"/>
                      <a:pt x="13" y="21"/>
                      <a:pt x="13" y="15"/>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11" name="Freeform 260"/>
              <p:cNvSpPr>
                <a:spLocks/>
              </p:cNvSpPr>
              <p:nvPr/>
            </p:nvSpPr>
            <p:spPr bwMode="auto">
              <a:xfrm>
                <a:off x="5938838" y="3044825"/>
                <a:ext cx="25400" cy="61913"/>
              </a:xfrm>
              <a:custGeom>
                <a:avLst/>
                <a:gdLst>
                  <a:gd name="T0" fmla="*/ 12 w 12"/>
                  <a:gd name="T1" fmla="*/ 0 h 28"/>
                  <a:gd name="T2" fmla="*/ 12 w 12"/>
                  <a:gd name="T3" fmla="*/ 28 h 28"/>
                  <a:gd name="T4" fmla="*/ 6 w 12"/>
                  <a:gd name="T5" fmla="*/ 28 h 28"/>
                  <a:gd name="T6" fmla="*/ 6 w 12"/>
                  <a:gd name="T7" fmla="*/ 6 h 28"/>
                  <a:gd name="T8" fmla="*/ 4 w 12"/>
                  <a:gd name="T9" fmla="*/ 7 h 28"/>
                  <a:gd name="T10" fmla="*/ 3 w 12"/>
                  <a:gd name="T11" fmla="*/ 8 h 28"/>
                  <a:gd name="T12" fmla="*/ 2 w 12"/>
                  <a:gd name="T13" fmla="*/ 8 h 28"/>
                  <a:gd name="T14" fmla="*/ 0 w 12"/>
                  <a:gd name="T15" fmla="*/ 9 h 28"/>
                  <a:gd name="T16" fmla="*/ 0 w 12"/>
                  <a:gd name="T17" fmla="*/ 4 h 28"/>
                  <a:gd name="T18" fmla="*/ 4 w 12"/>
                  <a:gd name="T19" fmla="*/ 2 h 28"/>
                  <a:gd name="T20" fmla="*/ 8 w 12"/>
                  <a:gd name="T21" fmla="*/ 0 h 28"/>
                  <a:gd name="T22" fmla="*/ 12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2" y="0"/>
                    </a:moveTo>
                    <a:cubicBezTo>
                      <a:pt x="12" y="10"/>
                      <a:pt x="12" y="17"/>
                      <a:pt x="12" y="28"/>
                    </a:cubicBezTo>
                    <a:cubicBezTo>
                      <a:pt x="9" y="28"/>
                      <a:pt x="8" y="28"/>
                      <a:pt x="6" y="28"/>
                    </a:cubicBezTo>
                    <a:cubicBezTo>
                      <a:pt x="6" y="19"/>
                      <a:pt x="6" y="15"/>
                      <a:pt x="6" y="6"/>
                    </a:cubicBezTo>
                    <a:cubicBezTo>
                      <a:pt x="6" y="7"/>
                      <a:pt x="5" y="7"/>
                      <a:pt x="4" y="7"/>
                    </a:cubicBezTo>
                    <a:cubicBezTo>
                      <a:pt x="4" y="7"/>
                      <a:pt x="4" y="8"/>
                      <a:pt x="3" y="8"/>
                    </a:cubicBezTo>
                    <a:cubicBezTo>
                      <a:pt x="3" y="8"/>
                      <a:pt x="2" y="8"/>
                      <a:pt x="2" y="8"/>
                    </a:cubicBezTo>
                    <a:cubicBezTo>
                      <a:pt x="1" y="9"/>
                      <a:pt x="1" y="9"/>
                      <a:pt x="0" y="9"/>
                    </a:cubicBezTo>
                    <a:cubicBezTo>
                      <a:pt x="0" y="7"/>
                      <a:pt x="0" y="6"/>
                      <a:pt x="0" y="4"/>
                    </a:cubicBezTo>
                    <a:cubicBezTo>
                      <a:pt x="2" y="3"/>
                      <a:pt x="3" y="3"/>
                      <a:pt x="4" y="2"/>
                    </a:cubicBezTo>
                    <a:cubicBezTo>
                      <a:pt x="6" y="1"/>
                      <a:pt x="7" y="0"/>
                      <a:pt x="8" y="0"/>
                    </a:cubicBezTo>
                    <a:cubicBezTo>
                      <a:pt x="9"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12" name="Freeform 261"/>
              <p:cNvSpPr>
                <a:spLocks noEditPoints="1"/>
              </p:cNvSpPr>
              <p:nvPr/>
            </p:nvSpPr>
            <p:spPr bwMode="auto">
              <a:xfrm>
                <a:off x="5645150" y="3146425"/>
                <a:ext cx="42863" cy="66675"/>
              </a:xfrm>
              <a:custGeom>
                <a:avLst/>
                <a:gdLst>
                  <a:gd name="T0" fmla="*/ 9 w 19"/>
                  <a:gd name="T1" fmla="*/ 30 h 30"/>
                  <a:gd name="T2" fmla="*/ 0 w 19"/>
                  <a:gd name="T3" fmla="*/ 16 h 30"/>
                  <a:gd name="T4" fmla="*/ 2 w 19"/>
                  <a:gd name="T5" fmla="*/ 5 h 30"/>
                  <a:gd name="T6" fmla="*/ 10 w 19"/>
                  <a:gd name="T7" fmla="*/ 1 h 30"/>
                  <a:gd name="T8" fmla="*/ 19 w 19"/>
                  <a:gd name="T9" fmla="*/ 15 h 30"/>
                  <a:gd name="T10" fmla="*/ 16 w 19"/>
                  <a:gd name="T11" fmla="*/ 26 h 30"/>
                  <a:gd name="T12" fmla="*/ 9 w 19"/>
                  <a:gd name="T13" fmla="*/ 30 h 30"/>
                  <a:gd name="T14" fmla="*/ 9 w 19"/>
                  <a:gd name="T15" fmla="*/ 6 h 30"/>
                  <a:gd name="T16" fmla="*/ 5 w 19"/>
                  <a:gd name="T17" fmla="*/ 16 h 30"/>
                  <a:gd name="T18" fmla="*/ 9 w 19"/>
                  <a:gd name="T19" fmla="*/ 25 h 30"/>
                  <a:gd name="T20" fmla="*/ 13 w 19"/>
                  <a:gd name="T21" fmla="*/ 15 h 30"/>
                  <a:gd name="T22" fmla="*/ 9 w 19"/>
                  <a:gd name="T23"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0">
                    <a:moveTo>
                      <a:pt x="9" y="30"/>
                    </a:moveTo>
                    <a:cubicBezTo>
                      <a:pt x="3" y="30"/>
                      <a:pt x="0" y="25"/>
                      <a:pt x="0" y="16"/>
                    </a:cubicBezTo>
                    <a:cubicBezTo>
                      <a:pt x="0" y="11"/>
                      <a:pt x="0" y="7"/>
                      <a:pt x="2" y="5"/>
                    </a:cubicBezTo>
                    <a:cubicBezTo>
                      <a:pt x="4" y="3"/>
                      <a:pt x="6" y="1"/>
                      <a:pt x="10" y="1"/>
                    </a:cubicBezTo>
                    <a:cubicBezTo>
                      <a:pt x="15" y="0"/>
                      <a:pt x="19" y="5"/>
                      <a:pt x="19" y="15"/>
                    </a:cubicBezTo>
                    <a:cubicBezTo>
                      <a:pt x="19" y="19"/>
                      <a:pt x="17" y="23"/>
                      <a:pt x="16" y="26"/>
                    </a:cubicBezTo>
                    <a:cubicBezTo>
                      <a:pt x="14" y="28"/>
                      <a:pt x="12" y="30"/>
                      <a:pt x="9" y="30"/>
                    </a:cubicBezTo>
                    <a:close/>
                    <a:moveTo>
                      <a:pt x="9" y="6"/>
                    </a:moveTo>
                    <a:cubicBezTo>
                      <a:pt x="6" y="6"/>
                      <a:pt x="5" y="9"/>
                      <a:pt x="5" y="16"/>
                    </a:cubicBezTo>
                    <a:cubicBezTo>
                      <a:pt x="5" y="22"/>
                      <a:pt x="6" y="25"/>
                      <a:pt x="9" y="25"/>
                    </a:cubicBezTo>
                    <a:cubicBezTo>
                      <a:pt x="12" y="25"/>
                      <a:pt x="13" y="22"/>
                      <a:pt x="13" y="15"/>
                    </a:cubicBezTo>
                    <a:cubicBezTo>
                      <a:pt x="13" y="9"/>
                      <a:pt x="12" y="6"/>
                      <a:pt x="9" y="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13" name="Freeform 262"/>
              <p:cNvSpPr>
                <a:spLocks noEditPoints="1"/>
              </p:cNvSpPr>
              <p:nvPr/>
            </p:nvSpPr>
            <p:spPr bwMode="auto">
              <a:xfrm>
                <a:off x="5691188" y="3146425"/>
                <a:ext cx="42863" cy="65088"/>
              </a:xfrm>
              <a:custGeom>
                <a:avLst/>
                <a:gdLst>
                  <a:gd name="T0" fmla="*/ 9 w 19"/>
                  <a:gd name="T1" fmla="*/ 29 h 29"/>
                  <a:gd name="T2" fmla="*/ 0 w 19"/>
                  <a:gd name="T3" fmla="*/ 15 h 29"/>
                  <a:gd name="T4" fmla="*/ 3 w 19"/>
                  <a:gd name="T5" fmla="*/ 4 h 29"/>
                  <a:gd name="T6" fmla="*/ 10 w 19"/>
                  <a:gd name="T7" fmla="*/ 0 h 29"/>
                  <a:gd name="T8" fmla="*/ 19 w 19"/>
                  <a:gd name="T9" fmla="*/ 14 h 29"/>
                  <a:gd name="T10" fmla="*/ 17 w 19"/>
                  <a:gd name="T11" fmla="*/ 25 h 29"/>
                  <a:gd name="T12" fmla="*/ 9 w 19"/>
                  <a:gd name="T13" fmla="*/ 29 h 29"/>
                  <a:gd name="T14" fmla="*/ 9 w 19"/>
                  <a:gd name="T15" fmla="*/ 5 h 29"/>
                  <a:gd name="T16" fmla="*/ 6 w 19"/>
                  <a:gd name="T17" fmla="*/ 15 h 29"/>
                  <a:gd name="T18" fmla="*/ 9 w 19"/>
                  <a:gd name="T19" fmla="*/ 24 h 29"/>
                  <a:gd name="T20" fmla="*/ 13 w 19"/>
                  <a:gd name="T21" fmla="*/ 14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5"/>
                      <a:pt x="0" y="15"/>
                    </a:cubicBezTo>
                    <a:cubicBezTo>
                      <a:pt x="0" y="10"/>
                      <a:pt x="1" y="7"/>
                      <a:pt x="3" y="4"/>
                    </a:cubicBezTo>
                    <a:cubicBezTo>
                      <a:pt x="4" y="2"/>
                      <a:pt x="7" y="0"/>
                      <a:pt x="10" y="0"/>
                    </a:cubicBezTo>
                    <a:cubicBezTo>
                      <a:pt x="16" y="0"/>
                      <a:pt x="19" y="4"/>
                      <a:pt x="19" y="14"/>
                    </a:cubicBezTo>
                    <a:cubicBezTo>
                      <a:pt x="19" y="18"/>
                      <a:pt x="18" y="22"/>
                      <a:pt x="17" y="25"/>
                    </a:cubicBezTo>
                    <a:cubicBezTo>
                      <a:pt x="15" y="27"/>
                      <a:pt x="12" y="29"/>
                      <a:pt x="9" y="29"/>
                    </a:cubicBezTo>
                    <a:close/>
                    <a:moveTo>
                      <a:pt x="9" y="5"/>
                    </a:moveTo>
                    <a:cubicBezTo>
                      <a:pt x="7" y="5"/>
                      <a:pt x="6" y="8"/>
                      <a:pt x="6" y="15"/>
                    </a:cubicBezTo>
                    <a:cubicBezTo>
                      <a:pt x="6" y="21"/>
                      <a:pt x="7" y="24"/>
                      <a:pt x="9" y="24"/>
                    </a:cubicBezTo>
                    <a:cubicBezTo>
                      <a:pt x="12" y="24"/>
                      <a:pt x="13" y="20"/>
                      <a:pt x="13" y="14"/>
                    </a:cubicBezTo>
                    <a:cubicBezTo>
                      <a:pt x="13" y="8"/>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14" name="Freeform 263"/>
              <p:cNvSpPr>
                <a:spLocks noEditPoints="1"/>
              </p:cNvSpPr>
              <p:nvPr/>
            </p:nvSpPr>
            <p:spPr bwMode="auto">
              <a:xfrm>
                <a:off x="5738813" y="3141663"/>
                <a:ext cx="44450" cy="66675"/>
              </a:xfrm>
              <a:custGeom>
                <a:avLst/>
                <a:gdLst>
                  <a:gd name="T0" fmla="*/ 10 w 20"/>
                  <a:gd name="T1" fmla="*/ 30 h 30"/>
                  <a:gd name="T2" fmla="*/ 0 w 20"/>
                  <a:gd name="T3" fmla="*/ 16 h 30"/>
                  <a:gd name="T4" fmla="*/ 3 w 20"/>
                  <a:gd name="T5" fmla="*/ 5 h 30"/>
                  <a:gd name="T6" fmla="*/ 10 w 20"/>
                  <a:gd name="T7" fmla="*/ 0 h 30"/>
                  <a:gd name="T8" fmla="*/ 20 w 20"/>
                  <a:gd name="T9" fmla="*/ 15 h 30"/>
                  <a:gd name="T10" fmla="*/ 17 w 20"/>
                  <a:gd name="T11" fmla="*/ 26 h 30"/>
                  <a:gd name="T12" fmla="*/ 10 w 20"/>
                  <a:gd name="T13" fmla="*/ 30 h 30"/>
                  <a:gd name="T14" fmla="*/ 10 w 20"/>
                  <a:gd name="T15" fmla="*/ 5 h 30"/>
                  <a:gd name="T16" fmla="*/ 6 w 20"/>
                  <a:gd name="T17" fmla="*/ 16 h 30"/>
                  <a:gd name="T18" fmla="*/ 10 w 20"/>
                  <a:gd name="T19" fmla="*/ 25 h 30"/>
                  <a:gd name="T20" fmla="*/ 13 w 20"/>
                  <a:gd name="T21" fmla="*/ 15 h 30"/>
                  <a:gd name="T22" fmla="*/ 10 w 20"/>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30">
                    <a:moveTo>
                      <a:pt x="10" y="30"/>
                    </a:moveTo>
                    <a:cubicBezTo>
                      <a:pt x="4" y="30"/>
                      <a:pt x="0" y="26"/>
                      <a:pt x="0" y="16"/>
                    </a:cubicBezTo>
                    <a:cubicBezTo>
                      <a:pt x="0" y="11"/>
                      <a:pt x="1" y="8"/>
                      <a:pt x="3" y="5"/>
                    </a:cubicBezTo>
                    <a:cubicBezTo>
                      <a:pt x="5" y="3"/>
                      <a:pt x="7" y="1"/>
                      <a:pt x="10" y="0"/>
                    </a:cubicBezTo>
                    <a:cubicBezTo>
                      <a:pt x="17" y="0"/>
                      <a:pt x="20" y="5"/>
                      <a:pt x="20" y="15"/>
                    </a:cubicBezTo>
                    <a:cubicBezTo>
                      <a:pt x="20" y="19"/>
                      <a:pt x="19" y="23"/>
                      <a:pt x="17" y="26"/>
                    </a:cubicBezTo>
                    <a:cubicBezTo>
                      <a:pt x="15" y="28"/>
                      <a:pt x="13" y="30"/>
                      <a:pt x="10" y="30"/>
                    </a:cubicBezTo>
                    <a:close/>
                    <a:moveTo>
                      <a:pt x="10" y="5"/>
                    </a:moveTo>
                    <a:cubicBezTo>
                      <a:pt x="8" y="6"/>
                      <a:pt x="6" y="9"/>
                      <a:pt x="6" y="16"/>
                    </a:cubicBezTo>
                    <a:cubicBezTo>
                      <a:pt x="6" y="22"/>
                      <a:pt x="8" y="25"/>
                      <a:pt x="10" y="25"/>
                    </a:cubicBezTo>
                    <a:cubicBezTo>
                      <a:pt x="12" y="25"/>
                      <a:pt x="13" y="21"/>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15" name="Freeform 264"/>
              <p:cNvSpPr>
                <a:spLocks noEditPoints="1"/>
              </p:cNvSpPr>
              <p:nvPr/>
            </p:nvSpPr>
            <p:spPr bwMode="auto">
              <a:xfrm>
                <a:off x="5786438" y="3140075"/>
                <a:ext cx="42863" cy="66675"/>
              </a:xfrm>
              <a:custGeom>
                <a:avLst/>
                <a:gdLst>
                  <a:gd name="T0" fmla="*/ 10 w 19"/>
                  <a:gd name="T1" fmla="*/ 30 h 30"/>
                  <a:gd name="T2" fmla="*/ 0 w 19"/>
                  <a:gd name="T3" fmla="*/ 16 h 30"/>
                  <a:gd name="T4" fmla="*/ 2 w 19"/>
                  <a:gd name="T5" fmla="*/ 5 h 30"/>
                  <a:gd name="T6" fmla="*/ 10 w 19"/>
                  <a:gd name="T7" fmla="*/ 1 h 30"/>
                  <a:gd name="T8" fmla="*/ 19 w 19"/>
                  <a:gd name="T9" fmla="*/ 15 h 30"/>
                  <a:gd name="T10" fmla="*/ 17 w 19"/>
                  <a:gd name="T11" fmla="*/ 26 h 30"/>
                  <a:gd name="T12" fmla="*/ 10 w 19"/>
                  <a:gd name="T13" fmla="*/ 30 h 30"/>
                  <a:gd name="T14" fmla="*/ 10 w 19"/>
                  <a:gd name="T15" fmla="*/ 5 h 30"/>
                  <a:gd name="T16" fmla="*/ 6 w 19"/>
                  <a:gd name="T17" fmla="*/ 16 h 30"/>
                  <a:gd name="T18" fmla="*/ 10 w 19"/>
                  <a:gd name="T19" fmla="*/ 25 h 30"/>
                  <a:gd name="T20" fmla="*/ 13 w 19"/>
                  <a:gd name="T21" fmla="*/ 15 h 30"/>
                  <a:gd name="T22" fmla="*/ 10 w 19"/>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0">
                    <a:moveTo>
                      <a:pt x="10" y="30"/>
                    </a:moveTo>
                    <a:cubicBezTo>
                      <a:pt x="3" y="30"/>
                      <a:pt x="0" y="26"/>
                      <a:pt x="0" y="16"/>
                    </a:cubicBezTo>
                    <a:cubicBezTo>
                      <a:pt x="0" y="11"/>
                      <a:pt x="1" y="7"/>
                      <a:pt x="2" y="5"/>
                    </a:cubicBezTo>
                    <a:cubicBezTo>
                      <a:pt x="5" y="2"/>
                      <a:pt x="7" y="1"/>
                      <a:pt x="10" y="1"/>
                    </a:cubicBezTo>
                    <a:cubicBezTo>
                      <a:pt x="16" y="0"/>
                      <a:pt x="19" y="5"/>
                      <a:pt x="19" y="15"/>
                    </a:cubicBezTo>
                    <a:cubicBezTo>
                      <a:pt x="19" y="19"/>
                      <a:pt x="19" y="23"/>
                      <a:pt x="17" y="26"/>
                    </a:cubicBezTo>
                    <a:cubicBezTo>
                      <a:pt x="15" y="28"/>
                      <a:pt x="13" y="30"/>
                      <a:pt x="10" y="30"/>
                    </a:cubicBezTo>
                    <a:close/>
                    <a:moveTo>
                      <a:pt x="10" y="5"/>
                    </a:moveTo>
                    <a:cubicBezTo>
                      <a:pt x="7" y="5"/>
                      <a:pt x="6" y="9"/>
                      <a:pt x="6" y="16"/>
                    </a:cubicBezTo>
                    <a:cubicBezTo>
                      <a:pt x="6" y="22"/>
                      <a:pt x="7" y="25"/>
                      <a:pt x="10" y="25"/>
                    </a:cubicBezTo>
                    <a:cubicBezTo>
                      <a:pt x="12" y="25"/>
                      <a:pt x="13" y="21"/>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16" name="Freeform 265"/>
              <p:cNvSpPr>
                <a:spLocks/>
              </p:cNvSpPr>
              <p:nvPr/>
            </p:nvSpPr>
            <p:spPr bwMode="auto">
              <a:xfrm>
                <a:off x="5842000" y="3138488"/>
                <a:ext cx="25400" cy="66675"/>
              </a:xfrm>
              <a:custGeom>
                <a:avLst/>
                <a:gdLst>
                  <a:gd name="T0" fmla="*/ 11 w 11"/>
                  <a:gd name="T1" fmla="*/ 0 h 30"/>
                  <a:gd name="T2" fmla="*/ 11 w 11"/>
                  <a:gd name="T3" fmla="*/ 29 h 30"/>
                  <a:gd name="T4" fmla="*/ 5 w 11"/>
                  <a:gd name="T5" fmla="*/ 30 h 30"/>
                  <a:gd name="T6" fmla="*/ 5 w 11"/>
                  <a:gd name="T7" fmla="*/ 7 h 30"/>
                  <a:gd name="T8" fmla="*/ 4 w 11"/>
                  <a:gd name="T9" fmla="*/ 8 h 30"/>
                  <a:gd name="T10" fmla="*/ 3 w 11"/>
                  <a:gd name="T11" fmla="*/ 9 h 30"/>
                  <a:gd name="T12" fmla="*/ 1 w 11"/>
                  <a:gd name="T13" fmla="*/ 9 h 30"/>
                  <a:gd name="T14" fmla="*/ 0 w 11"/>
                  <a:gd name="T15" fmla="*/ 10 h 30"/>
                  <a:gd name="T16" fmla="*/ 0 w 11"/>
                  <a:gd name="T17" fmla="*/ 5 h 30"/>
                  <a:gd name="T18" fmla="*/ 4 w 11"/>
                  <a:gd name="T19" fmla="*/ 3 h 30"/>
                  <a:gd name="T20" fmla="*/ 7 w 11"/>
                  <a:gd name="T21" fmla="*/ 0 h 30"/>
                  <a:gd name="T22" fmla="*/ 11 w 11"/>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30">
                    <a:moveTo>
                      <a:pt x="11" y="0"/>
                    </a:moveTo>
                    <a:cubicBezTo>
                      <a:pt x="11" y="11"/>
                      <a:pt x="11" y="18"/>
                      <a:pt x="11" y="29"/>
                    </a:cubicBezTo>
                    <a:cubicBezTo>
                      <a:pt x="9" y="29"/>
                      <a:pt x="8" y="30"/>
                      <a:pt x="5" y="30"/>
                    </a:cubicBezTo>
                    <a:cubicBezTo>
                      <a:pt x="5" y="21"/>
                      <a:pt x="5" y="16"/>
                      <a:pt x="5" y="7"/>
                    </a:cubicBezTo>
                    <a:cubicBezTo>
                      <a:pt x="5" y="7"/>
                      <a:pt x="5" y="8"/>
                      <a:pt x="4" y="8"/>
                    </a:cubicBezTo>
                    <a:cubicBezTo>
                      <a:pt x="4" y="8"/>
                      <a:pt x="3" y="9"/>
                      <a:pt x="3" y="9"/>
                    </a:cubicBezTo>
                    <a:cubicBezTo>
                      <a:pt x="2" y="9"/>
                      <a:pt x="2" y="9"/>
                      <a:pt x="1" y="9"/>
                    </a:cubicBezTo>
                    <a:cubicBezTo>
                      <a:pt x="1" y="10"/>
                      <a:pt x="0" y="10"/>
                      <a:pt x="0" y="10"/>
                    </a:cubicBezTo>
                    <a:cubicBezTo>
                      <a:pt x="0" y="8"/>
                      <a:pt x="0" y="7"/>
                      <a:pt x="0" y="5"/>
                    </a:cubicBezTo>
                    <a:cubicBezTo>
                      <a:pt x="1" y="4"/>
                      <a:pt x="3" y="4"/>
                      <a:pt x="4" y="3"/>
                    </a:cubicBezTo>
                    <a:cubicBezTo>
                      <a:pt x="5" y="2"/>
                      <a:pt x="6" y="1"/>
                      <a:pt x="7" y="0"/>
                    </a:cubicBezTo>
                    <a:cubicBezTo>
                      <a:pt x="9" y="0"/>
                      <a:pt x="9"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17" name="Freeform 266"/>
              <p:cNvSpPr>
                <a:spLocks noEditPoints="1"/>
              </p:cNvSpPr>
              <p:nvPr/>
            </p:nvSpPr>
            <p:spPr bwMode="auto">
              <a:xfrm>
                <a:off x="5884863" y="3135313"/>
                <a:ext cx="42863" cy="66675"/>
              </a:xfrm>
              <a:custGeom>
                <a:avLst/>
                <a:gdLst>
                  <a:gd name="T0" fmla="*/ 9 w 19"/>
                  <a:gd name="T1" fmla="*/ 30 h 30"/>
                  <a:gd name="T2" fmla="*/ 0 w 19"/>
                  <a:gd name="T3" fmla="*/ 16 h 30"/>
                  <a:gd name="T4" fmla="*/ 3 w 19"/>
                  <a:gd name="T5" fmla="*/ 5 h 30"/>
                  <a:gd name="T6" fmla="*/ 10 w 19"/>
                  <a:gd name="T7" fmla="*/ 0 h 30"/>
                  <a:gd name="T8" fmla="*/ 19 w 19"/>
                  <a:gd name="T9" fmla="*/ 15 h 30"/>
                  <a:gd name="T10" fmla="*/ 17 w 19"/>
                  <a:gd name="T11" fmla="*/ 26 h 30"/>
                  <a:gd name="T12" fmla="*/ 9 w 19"/>
                  <a:gd name="T13" fmla="*/ 30 h 30"/>
                  <a:gd name="T14" fmla="*/ 10 w 19"/>
                  <a:gd name="T15" fmla="*/ 5 h 30"/>
                  <a:gd name="T16" fmla="*/ 6 w 19"/>
                  <a:gd name="T17" fmla="*/ 16 h 30"/>
                  <a:gd name="T18" fmla="*/ 9 w 19"/>
                  <a:gd name="T19" fmla="*/ 26 h 30"/>
                  <a:gd name="T20" fmla="*/ 13 w 19"/>
                  <a:gd name="T21" fmla="*/ 15 h 30"/>
                  <a:gd name="T22" fmla="*/ 10 w 19"/>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0">
                    <a:moveTo>
                      <a:pt x="9" y="30"/>
                    </a:moveTo>
                    <a:cubicBezTo>
                      <a:pt x="3" y="30"/>
                      <a:pt x="0" y="26"/>
                      <a:pt x="0" y="16"/>
                    </a:cubicBezTo>
                    <a:cubicBezTo>
                      <a:pt x="0" y="11"/>
                      <a:pt x="1" y="7"/>
                      <a:pt x="3" y="5"/>
                    </a:cubicBezTo>
                    <a:cubicBezTo>
                      <a:pt x="4" y="1"/>
                      <a:pt x="7" y="0"/>
                      <a:pt x="10" y="0"/>
                    </a:cubicBezTo>
                    <a:cubicBezTo>
                      <a:pt x="16" y="0"/>
                      <a:pt x="19" y="5"/>
                      <a:pt x="19" y="15"/>
                    </a:cubicBezTo>
                    <a:cubicBezTo>
                      <a:pt x="19" y="20"/>
                      <a:pt x="18" y="23"/>
                      <a:pt x="17" y="26"/>
                    </a:cubicBezTo>
                    <a:cubicBezTo>
                      <a:pt x="15" y="29"/>
                      <a:pt x="12" y="30"/>
                      <a:pt x="9" y="30"/>
                    </a:cubicBezTo>
                    <a:close/>
                    <a:moveTo>
                      <a:pt x="10" y="5"/>
                    </a:moveTo>
                    <a:cubicBezTo>
                      <a:pt x="7" y="5"/>
                      <a:pt x="6" y="9"/>
                      <a:pt x="6" y="16"/>
                    </a:cubicBezTo>
                    <a:cubicBezTo>
                      <a:pt x="6" y="22"/>
                      <a:pt x="7" y="26"/>
                      <a:pt x="9" y="26"/>
                    </a:cubicBezTo>
                    <a:cubicBezTo>
                      <a:pt x="12" y="26"/>
                      <a:pt x="13" y="22"/>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18" name="Freeform 267"/>
              <p:cNvSpPr>
                <a:spLocks noEditPoints="1"/>
              </p:cNvSpPr>
              <p:nvPr/>
            </p:nvSpPr>
            <p:spPr bwMode="auto">
              <a:xfrm>
                <a:off x="5934075" y="3133725"/>
                <a:ext cx="41275" cy="68263"/>
              </a:xfrm>
              <a:custGeom>
                <a:avLst/>
                <a:gdLst>
                  <a:gd name="T0" fmla="*/ 9 w 19"/>
                  <a:gd name="T1" fmla="*/ 31 h 31"/>
                  <a:gd name="T2" fmla="*/ 0 w 19"/>
                  <a:gd name="T3" fmla="*/ 16 h 31"/>
                  <a:gd name="T4" fmla="*/ 2 w 19"/>
                  <a:gd name="T5" fmla="*/ 5 h 31"/>
                  <a:gd name="T6" fmla="*/ 10 w 19"/>
                  <a:gd name="T7" fmla="*/ 0 h 31"/>
                  <a:gd name="T8" fmla="*/ 19 w 19"/>
                  <a:gd name="T9" fmla="*/ 16 h 31"/>
                  <a:gd name="T10" fmla="*/ 16 w 19"/>
                  <a:gd name="T11" fmla="*/ 27 h 31"/>
                  <a:gd name="T12" fmla="*/ 9 w 19"/>
                  <a:gd name="T13" fmla="*/ 31 h 31"/>
                  <a:gd name="T14" fmla="*/ 9 w 19"/>
                  <a:gd name="T15" fmla="*/ 6 h 31"/>
                  <a:gd name="T16" fmla="*/ 5 w 19"/>
                  <a:gd name="T17" fmla="*/ 16 h 31"/>
                  <a:gd name="T18" fmla="*/ 9 w 19"/>
                  <a:gd name="T19" fmla="*/ 26 h 31"/>
                  <a:gd name="T20" fmla="*/ 13 w 19"/>
                  <a:gd name="T21" fmla="*/ 16 h 31"/>
                  <a:gd name="T22" fmla="*/ 9 w 19"/>
                  <a:gd name="T23"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9" y="31"/>
                    </a:moveTo>
                    <a:cubicBezTo>
                      <a:pt x="3" y="31"/>
                      <a:pt x="0" y="26"/>
                      <a:pt x="0" y="16"/>
                    </a:cubicBezTo>
                    <a:cubicBezTo>
                      <a:pt x="0" y="11"/>
                      <a:pt x="0" y="7"/>
                      <a:pt x="2" y="5"/>
                    </a:cubicBezTo>
                    <a:cubicBezTo>
                      <a:pt x="4" y="2"/>
                      <a:pt x="6" y="0"/>
                      <a:pt x="10" y="0"/>
                    </a:cubicBezTo>
                    <a:cubicBezTo>
                      <a:pt x="15" y="0"/>
                      <a:pt x="19" y="5"/>
                      <a:pt x="19" y="16"/>
                    </a:cubicBezTo>
                    <a:cubicBezTo>
                      <a:pt x="19" y="20"/>
                      <a:pt x="18" y="25"/>
                      <a:pt x="16" y="27"/>
                    </a:cubicBezTo>
                    <a:cubicBezTo>
                      <a:pt x="14" y="30"/>
                      <a:pt x="12" y="31"/>
                      <a:pt x="9" y="31"/>
                    </a:cubicBezTo>
                    <a:close/>
                    <a:moveTo>
                      <a:pt x="9" y="6"/>
                    </a:moveTo>
                    <a:cubicBezTo>
                      <a:pt x="6" y="6"/>
                      <a:pt x="5" y="9"/>
                      <a:pt x="5" y="16"/>
                    </a:cubicBezTo>
                    <a:cubicBezTo>
                      <a:pt x="5" y="23"/>
                      <a:pt x="6" y="26"/>
                      <a:pt x="9" y="26"/>
                    </a:cubicBezTo>
                    <a:cubicBezTo>
                      <a:pt x="12" y="26"/>
                      <a:pt x="13" y="22"/>
                      <a:pt x="13" y="16"/>
                    </a:cubicBezTo>
                    <a:cubicBezTo>
                      <a:pt x="13" y="9"/>
                      <a:pt x="12" y="6"/>
                      <a:pt x="9" y="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19" name="Freeform 268"/>
              <p:cNvSpPr>
                <a:spLocks/>
              </p:cNvSpPr>
              <p:nvPr/>
            </p:nvSpPr>
            <p:spPr bwMode="auto">
              <a:xfrm>
                <a:off x="5649913" y="3235325"/>
                <a:ext cx="26988" cy="61913"/>
              </a:xfrm>
              <a:custGeom>
                <a:avLst/>
                <a:gdLst>
                  <a:gd name="T0" fmla="*/ 11 w 12"/>
                  <a:gd name="T1" fmla="*/ 0 h 28"/>
                  <a:gd name="T2" fmla="*/ 12 w 12"/>
                  <a:gd name="T3" fmla="*/ 28 h 28"/>
                  <a:gd name="T4" fmla="*/ 6 w 12"/>
                  <a:gd name="T5" fmla="*/ 28 h 28"/>
                  <a:gd name="T6" fmla="*/ 6 w 12"/>
                  <a:gd name="T7" fmla="*/ 7 h 28"/>
                  <a:gd name="T8" fmla="*/ 4 w 12"/>
                  <a:gd name="T9" fmla="*/ 8 h 28"/>
                  <a:gd name="T10" fmla="*/ 3 w 12"/>
                  <a:gd name="T11" fmla="*/ 9 h 28"/>
                  <a:gd name="T12" fmla="*/ 2 w 12"/>
                  <a:gd name="T13" fmla="*/ 9 h 28"/>
                  <a:gd name="T14" fmla="*/ 0 w 12"/>
                  <a:gd name="T15" fmla="*/ 10 h 28"/>
                  <a:gd name="T16" fmla="*/ 0 w 12"/>
                  <a:gd name="T17" fmla="*/ 4 h 28"/>
                  <a:gd name="T18" fmla="*/ 4 w 12"/>
                  <a:gd name="T19" fmla="*/ 2 h 28"/>
                  <a:gd name="T20" fmla="*/ 8 w 12"/>
                  <a:gd name="T21" fmla="*/ 0 h 28"/>
                  <a:gd name="T22" fmla="*/ 11 w 1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8">
                    <a:moveTo>
                      <a:pt x="11" y="0"/>
                    </a:moveTo>
                    <a:cubicBezTo>
                      <a:pt x="12" y="11"/>
                      <a:pt x="12" y="17"/>
                      <a:pt x="12" y="28"/>
                    </a:cubicBezTo>
                    <a:cubicBezTo>
                      <a:pt x="9" y="28"/>
                      <a:pt x="8" y="28"/>
                      <a:pt x="6" y="28"/>
                    </a:cubicBezTo>
                    <a:cubicBezTo>
                      <a:pt x="6" y="20"/>
                      <a:pt x="6" y="15"/>
                      <a:pt x="6" y="7"/>
                    </a:cubicBezTo>
                    <a:cubicBezTo>
                      <a:pt x="5" y="7"/>
                      <a:pt x="5" y="8"/>
                      <a:pt x="4" y="8"/>
                    </a:cubicBezTo>
                    <a:cubicBezTo>
                      <a:pt x="4" y="8"/>
                      <a:pt x="4" y="8"/>
                      <a:pt x="3" y="9"/>
                    </a:cubicBezTo>
                    <a:cubicBezTo>
                      <a:pt x="3" y="9"/>
                      <a:pt x="2" y="9"/>
                      <a:pt x="2" y="9"/>
                    </a:cubicBezTo>
                    <a:cubicBezTo>
                      <a:pt x="1" y="9"/>
                      <a:pt x="1" y="10"/>
                      <a:pt x="0" y="10"/>
                    </a:cubicBezTo>
                    <a:cubicBezTo>
                      <a:pt x="0" y="8"/>
                      <a:pt x="0" y="6"/>
                      <a:pt x="0" y="4"/>
                    </a:cubicBezTo>
                    <a:cubicBezTo>
                      <a:pt x="2" y="4"/>
                      <a:pt x="3" y="3"/>
                      <a:pt x="4"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20" name="Freeform 269"/>
              <p:cNvSpPr>
                <a:spLocks noEditPoints="1"/>
              </p:cNvSpPr>
              <p:nvPr/>
            </p:nvSpPr>
            <p:spPr bwMode="auto">
              <a:xfrm>
                <a:off x="5691188" y="3233738"/>
                <a:ext cx="42863" cy="63500"/>
              </a:xfrm>
              <a:custGeom>
                <a:avLst/>
                <a:gdLst>
                  <a:gd name="T0" fmla="*/ 9 w 19"/>
                  <a:gd name="T1" fmla="*/ 29 h 29"/>
                  <a:gd name="T2" fmla="*/ 0 w 19"/>
                  <a:gd name="T3" fmla="*/ 16 h 29"/>
                  <a:gd name="T4" fmla="*/ 3 w 19"/>
                  <a:gd name="T5" fmla="*/ 5 h 29"/>
                  <a:gd name="T6" fmla="*/ 10 w 19"/>
                  <a:gd name="T7" fmla="*/ 1 h 29"/>
                  <a:gd name="T8" fmla="*/ 19 w 19"/>
                  <a:gd name="T9" fmla="*/ 15 h 29"/>
                  <a:gd name="T10" fmla="*/ 17 w 19"/>
                  <a:gd name="T11" fmla="*/ 25 h 29"/>
                  <a:gd name="T12" fmla="*/ 9 w 19"/>
                  <a:gd name="T13" fmla="*/ 29 h 29"/>
                  <a:gd name="T14" fmla="*/ 9 w 19"/>
                  <a:gd name="T15" fmla="*/ 5 h 29"/>
                  <a:gd name="T16" fmla="*/ 6 w 19"/>
                  <a:gd name="T17" fmla="*/ 15 h 29"/>
                  <a:gd name="T18" fmla="*/ 9 w 19"/>
                  <a:gd name="T19" fmla="*/ 25 h 29"/>
                  <a:gd name="T20" fmla="*/ 13 w 19"/>
                  <a:gd name="T21" fmla="*/ 15 h 29"/>
                  <a:gd name="T22" fmla="*/ 9 w 19"/>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9">
                    <a:moveTo>
                      <a:pt x="9" y="29"/>
                    </a:moveTo>
                    <a:cubicBezTo>
                      <a:pt x="3" y="29"/>
                      <a:pt x="0" y="25"/>
                      <a:pt x="0" y="16"/>
                    </a:cubicBezTo>
                    <a:cubicBezTo>
                      <a:pt x="0" y="11"/>
                      <a:pt x="1" y="7"/>
                      <a:pt x="3" y="5"/>
                    </a:cubicBezTo>
                    <a:cubicBezTo>
                      <a:pt x="4" y="2"/>
                      <a:pt x="7" y="1"/>
                      <a:pt x="10" y="1"/>
                    </a:cubicBezTo>
                    <a:cubicBezTo>
                      <a:pt x="16" y="0"/>
                      <a:pt x="19" y="5"/>
                      <a:pt x="19" y="15"/>
                    </a:cubicBezTo>
                    <a:cubicBezTo>
                      <a:pt x="19" y="20"/>
                      <a:pt x="18" y="23"/>
                      <a:pt x="17" y="25"/>
                    </a:cubicBezTo>
                    <a:cubicBezTo>
                      <a:pt x="15" y="28"/>
                      <a:pt x="13" y="29"/>
                      <a:pt x="9" y="29"/>
                    </a:cubicBezTo>
                    <a:close/>
                    <a:moveTo>
                      <a:pt x="9" y="5"/>
                    </a:moveTo>
                    <a:cubicBezTo>
                      <a:pt x="7" y="5"/>
                      <a:pt x="6" y="9"/>
                      <a:pt x="6" y="15"/>
                    </a:cubicBezTo>
                    <a:cubicBezTo>
                      <a:pt x="6" y="22"/>
                      <a:pt x="7" y="25"/>
                      <a:pt x="9" y="25"/>
                    </a:cubicBezTo>
                    <a:cubicBezTo>
                      <a:pt x="12" y="25"/>
                      <a:pt x="13" y="22"/>
                      <a:pt x="13" y="15"/>
                    </a:cubicBezTo>
                    <a:cubicBezTo>
                      <a:pt x="13" y="9"/>
                      <a:pt x="12" y="5"/>
                      <a:pt x="9"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21" name="Freeform 270"/>
              <p:cNvSpPr>
                <a:spLocks noEditPoints="1"/>
              </p:cNvSpPr>
              <p:nvPr/>
            </p:nvSpPr>
            <p:spPr bwMode="auto">
              <a:xfrm>
                <a:off x="5738813" y="3233738"/>
                <a:ext cx="44450" cy="63500"/>
              </a:xfrm>
              <a:custGeom>
                <a:avLst/>
                <a:gdLst>
                  <a:gd name="T0" fmla="*/ 10 w 20"/>
                  <a:gd name="T1" fmla="*/ 29 h 29"/>
                  <a:gd name="T2" fmla="*/ 0 w 20"/>
                  <a:gd name="T3" fmla="*/ 15 h 29"/>
                  <a:gd name="T4" fmla="*/ 3 w 20"/>
                  <a:gd name="T5" fmla="*/ 4 h 29"/>
                  <a:gd name="T6" fmla="*/ 10 w 20"/>
                  <a:gd name="T7" fmla="*/ 0 h 29"/>
                  <a:gd name="T8" fmla="*/ 20 w 20"/>
                  <a:gd name="T9" fmla="*/ 14 h 29"/>
                  <a:gd name="T10" fmla="*/ 17 w 20"/>
                  <a:gd name="T11" fmla="*/ 25 h 29"/>
                  <a:gd name="T12" fmla="*/ 10 w 20"/>
                  <a:gd name="T13" fmla="*/ 29 h 29"/>
                  <a:gd name="T14" fmla="*/ 10 w 20"/>
                  <a:gd name="T15" fmla="*/ 5 h 29"/>
                  <a:gd name="T16" fmla="*/ 7 w 20"/>
                  <a:gd name="T17" fmla="*/ 15 h 29"/>
                  <a:gd name="T18" fmla="*/ 10 w 20"/>
                  <a:gd name="T19" fmla="*/ 24 h 29"/>
                  <a:gd name="T20" fmla="*/ 14 w 20"/>
                  <a:gd name="T21" fmla="*/ 14 h 29"/>
                  <a:gd name="T22" fmla="*/ 10 w 20"/>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9">
                    <a:moveTo>
                      <a:pt x="10" y="29"/>
                    </a:moveTo>
                    <a:cubicBezTo>
                      <a:pt x="4" y="29"/>
                      <a:pt x="0" y="24"/>
                      <a:pt x="0" y="15"/>
                    </a:cubicBezTo>
                    <a:cubicBezTo>
                      <a:pt x="0" y="10"/>
                      <a:pt x="1" y="7"/>
                      <a:pt x="3" y="4"/>
                    </a:cubicBezTo>
                    <a:cubicBezTo>
                      <a:pt x="5" y="1"/>
                      <a:pt x="7" y="0"/>
                      <a:pt x="10" y="0"/>
                    </a:cubicBezTo>
                    <a:cubicBezTo>
                      <a:pt x="17" y="0"/>
                      <a:pt x="20" y="5"/>
                      <a:pt x="20" y="14"/>
                    </a:cubicBezTo>
                    <a:cubicBezTo>
                      <a:pt x="20" y="19"/>
                      <a:pt x="19" y="23"/>
                      <a:pt x="17" y="25"/>
                    </a:cubicBezTo>
                    <a:cubicBezTo>
                      <a:pt x="15" y="27"/>
                      <a:pt x="13" y="29"/>
                      <a:pt x="10" y="29"/>
                    </a:cubicBezTo>
                    <a:close/>
                    <a:moveTo>
                      <a:pt x="10" y="5"/>
                    </a:moveTo>
                    <a:cubicBezTo>
                      <a:pt x="8" y="5"/>
                      <a:pt x="7" y="8"/>
                      <a:pt x="7" y="15"/>
                    </a:cubicBezTo>
                    <a:cubicBezTo>
                      <a:pt x="7" y="21"/>
                      <a:pt x="8" y="24"/>
                      <a:pt x="10" y="24"/>
                    </a:cubicBezTo>
                    <a:cubicBezTo>
                      <a:pt x="12" y="24"/>
                      <a:pt x="14" y="21"/>
                      <a:pt x="14" y="14"/>
                    </a:cubicBezTo>
                    <a:cubicBezTo>
                      <a:pt x="14"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22" name="Freeform 271"/>
              <p:cNvSpPr>
                <a:spLocks/>
              </p:cNvSpPr>
              <p:nvPr/>
            </p:nvSpPr>
            <p:spPr bwMode="auto">
              <a:xfrm>
                <a:off x="5794375" y="3230563"/>
                <a:ext cx="23813" cy="65088"/>
              </a:xfrm>
              <a:custGeom>
                <a:avLst/>
                <a:gdLst>
                  <a:gd name="T0" fmla="*/ 11 w 11"/>
                  <a:gd name="T1" fmla="*/ 0 h 29"/>
                  <a:gd name="T2" fmla="*/ 11 w 11"/>
                  <a:gd name="T3" fmla="*/ 29 h 29"/>
                  <a:gd name="T4" fmla="*/ 6 w 11"/>
                  <a:gd name="T5" fmla="*/ 29 h 29"/>
                  <a:gd name="T6" fmla="*/ 6 w 11"/>
                  <a:gd name="T7" fmla="*/ 7 h 29"/>
                  <a:gd name="T8" fmla="*/ 4 w 11"/>
                  <a:gd name="T9" fmla="*/ 8 h 29"/>
                  <a:gd name="T10" fmla="*/ 3 w 11"/>
                  <a:gd name="T11" fmla="*/ 9 h 29"/>
                  <a:gd name="T12" fmla="*/ 1 w 11"/>
                  <a:gd name="T13" fmla="*/ 10 h 29"/>
                  <a:gd name="T14" fmla="*/ 0 w 11"/>
                  <a:gd name="T15" fmla="*/ 10 h 29"/>
                  <a:gd name="T16" fmla="*/ 0 w 11"/>
                  <a:gd name="T17" fmla="*/ 4 h 29"/>
                  <a:gd name="T18" fmla="*/ 4 w 11"/>
                  <a:gd name="T19" fmla="*/ 2 h 29"/>
                  <a:gd name="T20" fmla="*/ 8 w 11"/>
                  <a:gd name="T21" fmla="*/ 0 h 29"/>
                  <a:gd name="T22" fmla="*/ 11 w 11"/>
                  <a:gd name="T2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9">
                    <a:moveTo>
                      <a:pt x="11" y="0"/>
                    </a:moveTo>
                    <a:cubicBezTo>
                      <a:pt x="11" y="12"/>
                      <a:pt x="11" y="18"/>
                      <a:pt x="11" y="29"/>
                    </a:cubicBezTo>
                    <a:cubicBezTo>
                      <a:pt x="9" y="29"/>
                      <a:pt x="8" y="29"/>
                      <a:pt x="6" y="29"/>
                    </a:cubicBezTo>
                    <a:cubicBezTo>
                      <a:pt x="6" y="21"/>
                      <a:pt x="6" y="16"/>
                      <a:pt x="6" y="7"/>
                    </a:cubicBezTo>
                    <a:cubicBezTo>
                      <a:pt x="5" y="8"/>
                      <a:pt x="5" y="8"/>
                      <a:pt x="4" y="8"/>
                    </a:cubicBezTo>
                    <a:cubicBezTo>
                      <a:pt x="4" y="8"/>
                      <a:pt x="3" y="9"/>
                      <a:pt x="3" y="9"/>
                    </a:cubicBezTo>
                    <a:cubicBezTo>
                      <a:pt x="2" y="9"/>
                      <a:pt x="2" y="9"/>
                      <a:pt x="1" y="10"/>
                    </a:cubicBezTo>
                    <a:cubicBezTo>
                      <a:pt x="1" y="10"/>
                      <a:pt x="0" y="10"/>
                      <a:pt x="0" y="10"/>
                    </a:cubicBezTo>
                    <a:cubicBezTo>
                      <a:pt x="0" y="8"/>
                      <a:pt x="0" y="7"/>
                      <a:pt x="0" y="4"/>
                    </a:cubicBezTo>
                    <a:cubicBezTo>
                      <a:pt x="1" y="4"/>
                      <a:pt x="2" y="3"/>
                      <a:pt x="4" y="2"/>
                    </a:cubicBezTo>
                    <a:cubicBezTo>
                      <a:pt x="6" y="2"/>
                      <a:pt x="7" y="1"/>
                      <a:pt x="8" y="0"/>
                    </a:cubicBezTo>
                    <a:cubicBezTo>
                      <a:pt x="9" y="0"/>
                      <a:pt x="10" y="0"/>
                      <a:pt x="11"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23" name="Freeform 272"/>
              <p:cNvSpPr>
                <a:spLocks noEditPoints="1"/>
              </p:cNvSpPr>
              <p:nvPr/>
            </p:nvSpPr>
            <p:spPr bwMode="auto">
              <a:xfrm>
                <a:off x="5835650" y="3228975"/>
                <a:ext cx="42863" cy="68263"/>
              </a:xfrm>
              <a:custGeom>
                <a:avLst/>
                <a:gdLst>
                  <a:gd name="T0" fmla="*/ 10 w 19"/>
                  <a:gd name="T1" fmla="*/ 30 h 31"/>
                  <a:gd name="T2" fmla="*/ 0 w 19"/>
                  <a:gd name="T3" fmla="*/ 16 h 31"/>
                  <a:gd name="T4" fmla="*/ 3 w 19"/>
                  <a:gd name="T5" fmla="*/ 4 h 31"/>
                  <a:gd name="T6" fmla="*/ 10 w 19"/>
                  <a:gd name="T7" fmla="*/ 0 h 31"/>
                  <a:gd name="T8" fmla="*/ 19 w 19"/>
                  <a:gd name="T9" fmla="*/ 15 h 31"/>
                  <a:gd name="T10" fmla="*/ 17 w 19"/>
                  <a:gd name="T11" fmla="*/ 26 h 31"/>
                  <a:gd name="T12" fmla="*/ 10 w 19"/>
                  <a:gd name="T13" fmla="*/ 30 h 31"/>
                  <a:gd name="T14" fmla="*/ 10 w 19"/>
                  <a:gd name="T15" fmla="*/ 5 h 31"/>
                  <a:gd name="T16" fmla="*/ 6 w 19"/>
                  <a:gd name="T17" fmla="*/ 16 h 31"/>
                  <a:gd name="T18" fmla="*/ 10 w 19"/>
                  <a:gd name="T19" fmla="*/ 25 h 31"/>
                  <a:gd name="T20" fmla="*/ 14 w 19"/>
                  <a:gd name="T21" fmla="*/ 15 h 31"/>
                  <a:gd name="T22" fmla="*/ 10 w 19"/>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1">
                    <a:moveTo>
                      <a:pt x="10" y="30"/>
                    </a:moveTo>
                    <a:cubicBezTo>
                      <a:pt x="3" y="31"/>
                      <a:pt x="0" y="26"/>
                      <a:pt x="0" y="16"/>
                    </a:cubicBezTo>
                    <a:cubicBezTo>
                      <a:pt x="0" y="11"/>
                      <a:pt x="1" y="7"/>
                      <a:pt x="3" y="4"/>
                    </a:cubicBezTo>
                    <a:cubicBezTo>
                      <a:pt x="4" y="2"/>
                      <a:pt x="7" y="1"/>
                      <a:pt x="10" y="0"/>
                    </a:cubicBezTo>
                    <a:cubicBezTo>
                      <a:pt x="16" y="0"/>
                      <a:pt x="19" y="5"/>
                      <a:pt x="19" y="15"/>
                    </a:cubicBezTo>
                    <a:cubicBezTo>
                      <a:pt x="19" y="20"/>
                      <a:pt x="19" y="24"/>
                      <a:pt x="17" y="26"/>
                    </a:cubicBezTo>
                    <a:cubicBezTo>
                      <a:pt x="15" y="29"/>
                      <a:pt x="13" y="30"/>
                      <a:pt x="10" y="30"/>
                    </a:cubicBezTo>
                    <a:close/>
                    <a:moveTo>
                      <a:pt x="10" y="5"/>
                    </a:moveTo>
                    <a:cubicBezTo>
                      <a:pt x="7" y="5"/>
                      <a:pt x="6" y="9"/>
                      <a:pt x="6" y="16"/>
                    </a:cubicBezTo>
                    <a:cubicBezTo>
                      <a:pt x="6" y="22"/>
                      <a:pt x="7" y="25"/>
                      <a:pt x="10" y="25"/>
                    </a:cubicBezTo>
                    <a:cubicBezTo>
                      <a:pt x="12" y="25"/>
                      <a:pt x="14" y="22"/>
                      <a:pt x="14" y="15"/>
                    </a:cubicBezTo>
                    <a:cubicBezTo>
                      <a:pt x="14" y="9"/>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24" name="Freeform 273"/>
              <p:cNvSpPr>
                <a:spLocks noEditPoints="1"/>
              </p:cNvSpPr>
              <p:nvPr/>
            </p:nvSpPr>
            <p:spPr bwMode="auto">
              <a:xfrm>
                <a:off x="5884863" y="3228975"/>
                <a:ext cx="42863" cy="66675"/>
              </a:xfrm>
              <a:custGeom>
                <a:avLst/>
                <a:gdLst>
                  <a:gd name="T0" fmla="*/ 9 w 19"/>
                  <a:gd name="T1" fmla="*/ 30 h 30"/>
                  <a:gd name="T2" fmla="*/ 0 w 19"/>
                  <a:gd name="T3" fmla="*/ 15 h 30"/>
                  <a:gd name="T4" fmla="*/ 3 w 19"/>
                  <a:gd name="T5" fmla="*/ 4 h 30"/>
                  <a:gd name="T6" fmla="*/ 10 w 19"/>
                  <a:gd name="T7" fmla="*/ 0 h 30"/>
                  <a:gd name="T8" fmla="*/ 19 w 19"/>
                  <a:gd name="T9" fmla="*/ 14 h 30"/>
                  <a:gd name="T10" fmla="*/ 17 w 19"/>
                  <a:gd name="T11" fmla="*/ 26 h 30"/>
                  <a:gd name="T12" fmla="*/ 9 w 19"/>
                  <a:gd name="T13" fmla="*/ 30 h 30"/>
                  <a:gd name="T14" fmla="*/ 10 w 19"/>
                  <a:gd name="T15" fmla="*/ 5 h 30"/>
                  <a:gd name="T16" fmla="*/ 6 w 19"/>
                  <a:gd name="T17" fmla="*/ 15 h 30"/>
                  <a:gd name="T18" fmla="*/ 9 w 19"/>
                  <a:gd name="T19" fmla="*/ 25 h 30"/>
                  <a:gd name="T20" fmla="*/ 13 w 19"/>
                  <a:gd name="T21" fmla="*/ 15 h 30"/>
                  <a:gd name="T22" fmla="*/ 10 w 19"/>
                  <a:gd name="T2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0">
                    <a:moveTo>
                      <a:pt x="9" y="30"/>
                    </a:moveTo>
                    <a:cubicBezTo>
                      <a:pt x="3" y="30"/>
                      <a:pt x="0" y="25"/>
                      <a:pt x="0" y="15"/>
                    </a:cubicBezTo>
                    <a:cubicBezTo>
                      <a:pt x="0" y="11"/>
                      <a:pt x="1" y="7"/>
                      <a:pt x="3" y="4"/>
                    </a:cubicBezTo>
                    <a:cubicBezTo>
                      <a:pt x="4" y="1"/>
                      <a:pt x="7" y="0"/>
                      <a:pt x="10" y="0"/>
                    </a:cubicBezTo>
                    <a:cubicBezTo>
                      <a:pt x="16" y="0"/>
                      <a:pt x="19" y="5"/>
                      <a:pt x="19" y="14"/>
                    </a:cubicBezTo>
                    <a:cubicBezTo>
                      <a:pt x="19" y="20"/>
                      <a:pt x="18" y="23"/>
                      <a:pt x="17" y="26"/>
                    </a:cubicBezTo>
                    <a:cubicBezTo>
                      <a:pt x="15" y="29"/>
                      <a:pt x="12" y="30"/>
                      <a:pt x="9" y="30"/>
                    </a:cubicBezTo>
                    <a:close/>
                    <a:moveTo>
                      <a:pt x="10" y="5"/>
                    </a:moveTo>
                    <a:cubicBezTo>
                      <a:pt x="7" y="5"/>
                      <a:pt x="6" y="9"/>
                      <a:pt x="6" y="15"/>
                    </a:cubicBezTo>
                    <a:cubicBezTo>
                      <a:pt x="6" y="22"/>
                      <a:pt x="7" y="25"/>
                      <a:pt x="9" y="25"/>
                    </a:cubicBezTo>
                    <a:cubicBezTo>
                      <a:pt x="12" y="25"/>
                      <a:pt x="13" y="22"/>
                      <a:pt x="13" y="15"/>
                    </a:cubicBezTo>
                    <a:cubicBezTo>
                      <a:pt x="13" y="8"/>
                      <a:pt x="12" y="5"/>
                      <a:pt x="10" y="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25" name="Freeform 274"/>
              <p:cNvSpPr>
                <a:spLocks/>
              </p:cNvSpPr>
              <p:nvPr/>
            </p:nvSpPr>
            <p:spPr bwMode="auto">
              <a:xfrm>
                <a:off x="5938838" y="3227388"/>
                <a:ext cx="25400" cy="68263"/>
              </a:xfrm>
              <a:custGeom>
                <a:avLst/>
                <a:gdLst>
                  <a:gd name="T0" fmla="*/ 12 w 12"/>
                  <a:gd name="T1" fmla="*/ 0 h 31"/>
                  <a:gd name="T2" fmla="*/ 12 w 12"/>
                  <a:gd name="T3" fmla="*/ 31 h 31"/>
                  <a:gd name="T4" fmla="*/ 6 w 12"/>
                  <a:gd name="T5" fmla="*/ 31 h 31"/>
                  <a:gd name="T6" fmla="*/ 6 w 12"/>
                  <a:gd name="T7" fmla="*/ 7 h 31"/>
                  <a:gd name="T8" fmla="*/ 4 w 12"/>
                  <a:gd name="T9" fmla="*/ 9 h 31"/>
                  <a:gd name="T10" fmla="*/ 3 w 12"/>
                  <a:gd name="T11" fmla="*/ 10 h 31"/>
                  <a:gd name="T12" fmla="*/ 2 w 12"/>
                  <a:gd name="T13" fmla="*/ 10 h 31"/>
                  <a:gd name="T14" fmla="*/ 0 w 12"/>
                  <a:gd name="T15" fmla="*/ 10 h 31"/>
                  <a:gd name="T16" fmla="*/ 0 w 12"/>
                  <a:gd name="T17" fmla="*/ 5 h 31"/>
                  <a:gd name="T18" fmla="*/ 4 w 12"/>
                  <a:gd name="T19" fmla="*/ 3 h 31"/>
                  <a:gd name="T20" fmla="*/ 8 w 12"/>
                  <a:gd name="T21" fmla="*/ 0 h 31"/>
                  <a:gd name="T22" fmla="*/ 12 w 12"/>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1">
                    <a:moveTo>
                      <a:pt x="12" y="0"/>
                    </a:moveTo>
                    <a:cubicBezTo>
                      <a:pt x="12" y="12"/>
                      <a:pt x="12" y="19"/>
                      <a:pt x="12" y="31"/>
                    </a:cubicBezTo>
                    <a:cubicBezTo>
                      <a:pt x="9" y="31"/>
                      <a:pt x="8" y="31"/>
                      <a:pt x="6" y="31"/>
                    </a:cubicBezTo>
                    <a:cubicBezTo>
                      <a:pt x="6" y="21"/>
                      <a:pt x="6" y="17"/>
                      <a:pt x="6" y="7"/>
                    </a:cubicBezTo>
                    <a:cubicBezTo>
                      <a:pt x="6" y="8"/>
                      <a:pt x="5" y="9"/>
                      <a:pt x="4" y="9"/>
                    </a:cubicBezTo>
                    <a:cubicBezTo>
                      <a:pt x="4" y="9"/>
                      <a:pt x="4" y="9"/>
                      <a:pt x="3" y="10"/>
                    </a:cubicBezTo>
                    <a:cubicBezTo>
                      <a:pt x="3" y="10"/>
                      <a:pt x="2" y="10"/>
                      <a:pt x="2" y="10"/>
                    </a:cubicBezTo>
                    <a:cubicBezTo>
                      <a:pt x="1" y="10"/>
                      <a:pt x="1" y="10"/>
                      <a:pt x="0" y="10"/>
                    </a:cubicBezTo>
                    <a:cubicBezTo>
                      <a:pt x="0" y="8"/>
                      <a:pt x="0" y="7"/>
                      <a:pt x="0" y="5"/>
                    </a:cubicBezTo>
                    <a:cubicBezTo>
                      <a:pt x="2" y="4"/>
                      <a:pt x="3" y="4"/>
                      <a:pt x="4" y="3"/>
                    </a:cubicBezTo>
                    <a:cubicBezTo>
                      <a:pt x="6" y="2"/>
                      <a:pt x="7" y="1"/>
                      <a:pt x="8" y="0"/>
                    </a:cubicBezTo>
                    <a:cubicBezTo>
                      <a:pt x="9" y="0"/>
                      <a:pt x="10" y="0"/>
                      <a:pt x="1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26" name="Freeform 287"/>
              <p:cNvSpPr>
                <a:spLocks/>
              </p:cNvSpPr>
              <p:nvPr/>
            </p:nvSpPr>
            <p:spPr bwMode="auto">
              <a:xfrm>
                <a:off x="5195888" y="2962275"/>
                <a:ext cx="69850" cy="919163"/>
              </a:xfrm>
              <a:custGeom>
                <a:avLst/>
                <a:gdLst>
                  <a:gd name="T0" fmla="*/ 0 w 44"/>
                  <a:gd name="T1" fmla="*/ 0 h 579"/>
                  <a:gd name="T2" fmla="*/ 44 w 44"/>
                  <a:gd name="T3" fmla="*/ 0 h 579"/>
                  <a:gd name="T4" fmla="*/ 44 w 44"/>
                  <a:gd name="T5" fmla="*/ 579 h 579"/>
                  <a:gd name="T6" fmla="*/ 0 w 44"/>
                  <a:gd name="T7" fmla="*/ 579 h 579"/>
                  <a:gd name="T8" fmla="*/ 0 w 44"/>
                  <a:gd name="T9" fmla="*/ 0 h 579"/>
                  <a:gd name="T10" fmla="*/ 0 w 44"/>
                  <a:gd name="T11" fmla="*/ 0 h 579"/>
                </a:gdLst>
                <a:ahLst/>
                <a:cxnLst>
                  <a:cxn ang="0">
                    <a:pos x="T0" y="T1"/>
                  </a:cxn>
                  <a:cxn ang="0">
                    <a:pos x="T2" y="T3"/>
                  </a:cxn>
                  <a:cxn ang="0">
                    <a:pos x="T4" y="T5"/>
                  </a:cxn>
                  <a:cxn ang="0">
                    <a:pos x="T6" y="T7"/>
                  </a:cxn>
                  <a:cxn ang="0">
                    <a:pos x="T8" y="T9"/>
                  </a:cxn>
                  <a:cxn ang="0">
                    <a:pos x="T10" y="T11"/>
                  </a:cxn>
                </a:cxnLst>
                <a:rect l="0" t="0" r="r" b="b"/>
                <a:pathLst>
                  <a:path w="44" h="579">
                    <a:moveTo>
                      <a:pt x="0" y="0"/>
                    </a:moveTo>
                    <a:lnTo>
                      <a:pt x="44" y="0"/>
                    </a:lnTo>
                    <a:lnTo>
                      <a:pt x="44" y="579"/>
                    </a:lnTo>
                    <a:lnTo>
                      <a:pt x="0" y="579"/>
                    </a:lnTo>
                    <a:lnTo>
                      <a:pt x="0" y="0"/>
                    </a:lnTo>
                    <a:lnTo>
                      <a:pt x="0"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27" name="Freeform 288"/>
              <p:cNvSpPr>
                <a:spLocks/>
              </p:cNvSpPr>
              <p:nvPr/>
            </p:nvSpPr>
            <p:spPr bwMode="auto">
              <a:xfrm>
                <a:off x="6931025" y="2962275"/>
                <a:ext cx="69850" cy="919163"/>
              </a:xfrm>
              <a:custGeom>
                <a:avLst/>
                <a:gdLst>
                  <a:gd name="T0" fmla="*/ 0 w 44"/>
                  <a:gd name="T1" fmla="*/ 0 h 579"/>
                  <a:gd name="T2" fmla="*/ 44 w 44"/>
                  <a:gd name="T3" fmla="*/ 0 h 579"/>
                  <a:gd name="T4" fmla="*/ 44 w 44"/>
                  <a:gd name="T5" fmla="*/ 579 h 579"/>
                  <a:gd name="T6" fmla="*/ 0 w 44"/>
                  <a:gd name="T7" fmla="*/ 579 h 579"/>
                  <a:gd name="T8" fmla="*/ 0 w 44"/>
                  <a:gd name="T9" fmla="*/ 0 h 579"/>
                  <a:gd name="T10" fmla="*/ 0 w 44"/>
                  <a:gd name="T11" fmla="*/ 0 h 579"/>
                </a:gdLst>
                <a:ahLst/>
                <a:cxnLst>
                  <a:cxn ang="0">
                    <a:pos x="T0" y="T1"/>
                  </a:cxn>
                  <a:cxn ang="0">
                    <a:pos x="T2" y="T3"/>
                  </a:cxn>
                  <a:cxn ang="0">
                    <a:pos x="T4" y="T5"/>
                  </a:cxn>
                  <a:cxn ang="0">
                    <a:pos x="T6" y="T7"/>
                  </a:cxn>
                  <a:cxn ang="0">
                    <a:pos x="T8" y="T9"/>
                  </a:cxn>
                  <a:cxn ang="0">
                    <a:pos x="T10" y="T11"/>
                  </a:cxn>
                </a:cxnLst>
                <a:rect l="0" t="0" r="r" b="b"/>
                <a:pathLst>
                  <a:path w="44" h="579">
                    <a:moveTo>
                      <a:pt x="0" y="0"/>
                    </a:moveTo>
                    <a:lnTo>
                      <a:pt x="44" y="0"/>
                    </a:lnTo>
                    <a:lnTo>
                      <a:pt x="44" y="579"/>
                    </a:lnTo>
                    <a:lnTo>
                      <a:pt x="0" y="579"/>
                    </a:lnTo>
                    <a:lnTo>
                      <a:pt x="0" y="0"/>
                    </a:lnTo>
                    <a:lnTo>
                      <a:pt x="0"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grpSp>
            <p:nvGrpSpPr>
              <p:cNvPr id="428" name="Group 427"/>
              <p:cNvGrpSpPr/>
              <p:nvPr/>
            </p:nvGrpSpPr>
            <p:grpSpPr>
              <a:xfrm rot="18000000" flipV="1">
                <a:off x="6156326" y="3331739"/>
                <a:ext cx="955040" cy="129550"/>
                <a:chOff x="7010400" y="7239001"/>
                <a:chExt cx="1919288" cy="260350"/>
              </a:xfrm>
            </p:grpSpPr>
            <p:sp>
              <p:nvSpPr>
                <p:cNvPr id="429" name="Rectangle 333"/>
                <p:cNvSpPr>
                  <a:spLocks noChangeArrowheads="1"/>
                </p:cNvSpPr>
                <p:nvPr/>
              </p:nvSpPr>
              <p:spPr bwMode="auto">
                <a:xfrm>
                  <a:off x="7416800" y="7239001"/>
                  <a:ext cx="1228725" cy="2603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30" name="Rectangle 334"/>
                <p:cNvSpPr>
                  <a:spLocks noChangeArrowheads="1"/>
                </p:cNvSpPr>
                <p:nvPr/>
              </p:nvSpPr>
              <p:spPr bwMode="auto">
                <a:xfrm>
                  <a:off x="7416800" y="7369176"/>
                  <a:ext cx="1228725" cy="13017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31" name="Rectangle 335"/>
                <p:cNvSpPr>
                  <a:spLocks noChangeArrowheads="1"/>
                </p:cNvSpPr>
                <p:nvPr/>
              </p:nvSpPr>
              <p:spPr bwMode="auto">
                <a:xfrm>
                  <a:off x="7416800" y="7304088"/>
                  <a:ext cx="1228725" cy="1285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32" name="Freeform 336"/>
                <p:cNvSpPr>
                  <a:spLocks/>
                </p:cNvSpPr>
                <p:nvPr/>
              </p:nvSpPr>
              <p:spPr bwMode="auto">
                <a:xfrm>
                  <a:off x="7010400" y="7239001"/>
                  <a:ext cx="406400" cy="260350"/>
                </a:xfrm>
                <a:custGeom>
                  <a:avLst/>
                  <a:gdLst>
                    <a:gd name="T0" fmla="*/ 0 w 256"/>
                    <a:gd name="T1" fmla="*/ 82 h 164"/>
                    <a:gd name="T2" fmla="*/ 256 w 256"/>
                    <a:gd name="T3" fmla="*/ 164 h 164"/>
                    <a:gd name="T4" fmla="*/ 256 w 256"/>
                    <a:gd name="T5" fmla="*/ 0 h 164"/>
                    <a:gd name="T6" fmla="*/ 0 w 256"/>
                    <a:gd name="T7" fmla="*/ 82 h 164"/>
                  </a:gdLst>
                  <a:ahLst/>
                  <a:cxnLst>
                    <a:cxn ang="0">
                      <a:pos x="T0" y="T1"/>
                    </a:cxn>
                    <a:cxn ang="0">
                      <a:pos x="T2" y="T3"/>
                    </a:cxn>
                    <a:cxn ang="0">
                      <a:pos x="T4" y="T5"/>
                    </a:cxn>
                    <a:cxn ang="0">
                      <a:pos x="T6" y="T7"/>
                    </a:cxn>
                  </a:cxnLst>
                  <a:rect l="0" t="0" r="r" b="b"/>
                  <a:pathLst>
                    <a:path w="256" h="164">
                      <a:moveTo>
                        <a:pt x="0" y="82"/>
                      </a:moveTo>
                      <a:lnTo>
                        <a:pt x="256" y="164"/>
                      </a:lnTo>
                      <a:lnTo>
                        <a:pt x="256" y="0"/>
                      </a:lnTo>
                      <a:lnTo>
                        <a:pt x="0" y="82"/>
                      </a:lnTo>
                      <a:close/>
                    </a:path>
                  </a:pathLst>
                </a:custGeom>
                <a:solidFill>
                  <a:srgbClr val="DDCF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33" name="Freeform 337"/>
                <p:cNvSpPr>
                  <a:spLocks/>
                </p:cNvSpPr>
                <p:nvPr/>
              </p:nvSpPr>
              <p:spPr bwMode="auto">
                <a:xfrm>
                  <a:off x="7010400" y="7321551"/>
                  <a:ext cx="149225" cy="96838"/>
                </a:xfrm>
                <a:custGeom>
                  <a:avLst/>
                  <a:gdLst>
                    <a:gd name="T0" fmla="*/ 0 w 94"/>
                    <a:gd name="T1" fmla="*/ 30 h 61"/>
                    <a:gd name="T2" fmla="*/ 94 w 94"/>
                    <a:gd name="T3" fmla="*/ 61 h 61"/>
                    <a:gd name="T4" fmla="*/ 94 w 94"/>
                    <a:gd name="T5" fmla="*/ 0 h 61"/>
                    <a:gd name="T6" fmla="*/ 0 w 94"/>
                    <a:gd name="T7" fmla="*/ 30 h 61"/>
                  </a:gdLst>
                  <a:ahLst/>
                  <a:cxnLst>
                    <a:cxn ang="0">
                      <a:pos x="T0" y="T1"/>
                    </a:cxn>
                    <a:cxn ang="0">
                      <a:pos x="T2" y="T3"/>
                    </a:cxn>
                    <a:cxn ang="0">
                      <a:pos x="T4" y="T5"/>
                    </a:cxn>
                    <a:cxn ang="0">
                      <a:pos x="T6" y="T7"/>
                    </a:cxn>
                  </a:cxnLst>
                  <a:rect l="0" t="0" r="r" b="b"/>
                  <a:pathLst>
                    <a:path w="94" h="61">
                      <a:moveTo>
                        <a:pt x="0" y="30"/>
                      </a:moveTo>
                      <a:lnTo>
                        <a:pt x="94" y="61"/>
                      </a:lnTo>
                      <a:lnTo>
                        <a:pt x="94" y="0"/>
                      </a:lnTo>
                      <a:lnTo>
                        <a:pt x="0"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34" name="Freeform 338"/>
                <p:cNvSpPr>
                  <a:spLocks/>
                </p:cNvSpPr>
                <p:nvPr/>
              </p:nvSpPr>
              <p:spPr bwMode="auto">
                <a:xfrm>
                  <a:off x="8737600" y="7239001"/>
                  <a:ext cx="192088" cy="260350"/>
                </a:xfrm>
                <a:custGeom>
                  <a:avLst/>
                  <a:gdLst>
                    <a:gd name="T0" fmla="*/ 0 w 68"/>
                    <a:gd name="T1" fmla="*/ 0 h 92"/>
                    <a:gd name="T2" fmla="*/ 54 w 68"/>
                    <a:gd name="T3" fmla="*/ 0 h 92"/>
                    <a:gd name="T4" fmla="*/ 68 w 68"/>
                    <a:gd name="T5" fmla="*/ 14 h 92"/>
                    <a:gd name="T6" fmla="*/ 68 w 68"/>
                    <a:gd name="T7" fmla="*/ 78 h 92"/>
                    <a:gd name="T8" fmla="*/ 54 w 68"/>
                    <a:gd name="T9" fmla="*/ 92 h 92"/>
                    <a:gd name="T10" fmla="*/ 0 w 68"/>
                    <a:gd name="T11" fmla="*/ 92 h 92"/>
                    <a:gd name="T12" fmla="*/ 0 w 68"/>
                    <a:gd name="T13" fmla="*/ 0 h 92"/>
                  </a:gdLst>
                  <a:ahLst/>
                  <a:cxnLst>
                    <a:cxn ang="0">
                      <a:pos x="T0" y="T1"/>
                    </a:cxn>
                    <a:cxn ang="0">
                      <a:pos x="T2" y="T3"/>
                    </a:cxn>
                    <a:cxn ang="0">
                      <a:pos x="T4" y="T5"/>
                    </a:cxn>
                    <a:cxn ang="0">
                      <a:pos x="T6" y="T7"/>
                    </a:cxn>
                    <a:cxn ang="0">
                      <a:pos x="T8" y="T9"/>
                    </a:cxn>
                    <a:cxn ang="0">
                      <a:pos x="T10" y="T11"/>
                    </a:cxn>
                    <a:cxn ang="0">
                      <a:pos x="T12" y="T13"/>
                    </a:cxn>
                  </a:cxnLst>
                  <a:rect l="0" t="0" r="r" b="b"/>
                  <a:pathLst>
                    <a:path w="68" h="92">
                      <a:moveTo>
                        <a:pt x="0" y="0"/>
                      </a:moveTo>
                      <a:cubicBezTo>
                        <a:pt x="54" y="0"/>
                        <a:pt x="54" y="0"/>
                        <a:pt x="54" y="0"/>
                      </a:cubicBezTo>
                      <a:cubicBezTo>
                        <a:pt x="62" y="0"/>
                        <a:pt x="68" y="6"/>
                        <a:pt x="68" y="14"/>
                      </a:cubicBezTo>
                      <a:cubicBezTo>
                        <a:pt x="68" y="78"/>
                        <a:pt x="68" y="78"/>
                        <a:pt x="68" y="78"/>
                      </a:cubicBezTo>
                      <a:cubicBezTo>
                        <a:pt x="68" y="85"/>
                        <a:pt x="62" y="92"/>
                        <a:pt x="54" y="92"/>
                      </a:cubicBezTo>
                      <a:cubicBezTo>
                        <a:pt x="0" y="92"/>
                        <a:pt x="0" y="92"/>
                        <a:pt x="0" y="92"/>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35" name="Rectangle 339"/>
                <p:cNvSpPr>
                  <a:spLocks noChangeArrowheads="1"/>
                </p:cNvSpPr>
                <p:nvPr/>
              </p:nvSpPr>
              <p:spPr bwMode="auto">
                <a:xfrm>
                  <a:off x="8645525" y="7239001"/>
                  <a:ext cx="92075" cy="2603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36" name="Oval 340"/>
                <p:cNvSpPr>
                  <a:spLocks noChangeArrowheads="1"/>
                </p:cNvSpPr>
                <p:nvPr/>
              </p:nvSpPr>
              <p:spPr bwMode="auto">
                <a:xfrm>
                  <a:off x="8678863" y="7458076"/>
                  <a:ext cx="25400" cy="28575"/>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37" name="Oval 341"/>
                <p:cNvSpPr>
                  <a:spLocks noChangeArrowheads="1"/>
                </p:cNvSpPr>
                <p:nvPr/>
              </p:nvSpPr>
              <p:spPr bwMode="auto">
                <a:xfrm>
                  <a:off x="8678863" y="7407276"/>
                  <a:ext cx="25400" cy="26988"/>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38" name="Oval 342"/>
                <p:cNvSpPr>
                  <a:spLocks noChangeArrowheads="1"/>
                </p:cNvSpPr>
                <p:nvPr/>
              </p:nvSpPr>
              <p:spPr bwMode="auto">
                <a:xfrm>
                  <a:off x="8678863" y="7356476"/>
                  <a:ext cx="25400" cy="26988"/>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39" name="Oval 343"/>
                <p:cNvSpPr>
                  <a:spLocks noChangeArrowheads="1"/>
                </p:cNvSpPr>
                <p:nvPr/>
              </p:nvSpPr>
              <p:spPr bwMode="auto">
                <a:xfrm>
                  <a:off x="8678863" y="7304088"/>
                  <a:ext cx="25400" cy="26988"/>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40" name="Oval 344"/>
                <p:cNvSpPr>
                  <a:spLocks noChangeArrowheads="1"/>
                </p:cNvSpPr>
                <p:nvPr/>
              </p:nvSpPr>
              <p:spPr bwMode="auto">
                <a:xfrm>
                  <a:off x="8678863" y="7253288"/>
                  <a:ext cx="25400" cy="25400"/>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grpSp>
        </p:grpSp>
      </p:grpSp>
      <p:grpSp>
        <p:nvGrpSpPr>
          <p:cNvPr id="710" name="Group 709"/>
          <p:cNvGrpSpPr/>
          <p:nvPr/>
        </p:nvGrpSpPr>
        <p:grpSpPr>
          <a:xfrm>
            <a:off x="7136250" y="3991568"/>
            <a:ext cx="2473206" cy="2471890"/>
            <a:chOff x="6996094" y="3913658"/>
            <a:chExt cx="2424932" cy="2423642"/>
          </a:xfrm>
        </p:grpSpPr>
        <p:sp>
          <p:nvSpPr>
            <p:cNvPr id="188" name="TextBox 187"/>
            <p:cNvSpPr txBox="1"/>
            <p:nvPr/>
          </p:nvSpPr>
          <p:spPr>
            <a:xfrm>
              <a:off x="6996094" y="5044638"/>
              <a:ext cx="2424932" cy="1292662"/>
            </a:xfrm>
            <a:prstGeom prst="rect">
              <a:avLst/>
            </a:prstGeom>
            <a:noFill/>
          </p:spPr>
          <p:txBody>
            <a:bodyPr wrap="square" lIns="93260" tIns="93260" rIns="93260" bIns="93260" rtlCol="0">
              <a:noAutofit/>
            </a:bodyPr>
            <a:lstStyle/>
            <a:p>
              <a:pPr algn="ctr" defTabSz="932597">
                <a:defRPr/>
              </a:pPr>
              <a:r>
                <a:rPr lang="en-US" sz="2040" kern="0" dirty="0">
                  <a:solidFill>
                    <a:srgbClr val="505050"/>
                  </a:solidFill>
                  <a:latin typeface="Segoe UI Semibold" panose="020B0702040204020203" pitchFamily="34" charset="0"/>
                </a:rPr>
                <a:t>Create metadata objects</a:t>
              </a:r>
            </a:p>
          </p:txBody>
        </p:sp>
        <p:grpSp>
          <p:nvGrpSpPr>
            <p:cNvPr id="546" name="Group 545"/>
            <p:cNvGrpSpPr/>
            <p:nvPr/>
          </p:nvGrpSpPr>
          <p:grpSpPr>
            <a:xfrm>
              <a:off x="8064080" y="3913658"/>
              <a:ext cx="545955" cy="1201734"/>
              <a:chOff x="5694363" y="2584450"/>
              <a:chExt cx="820738" cy="1806575"/>
            </a:xfrm>
          </p:grpSpPr>
          <p:sp>
            <p:nvSpPr>
              <p:cNvPr id="444" name="Freeform 177"/>
              <p:cNvSpPr>
                <a:spLocks/>
              </p:cNvSpPr>
              <p:nvPr/>
            </p:nvSpPr>
            <p:spPr bwMode="auto">
              <a:xfrm>
                <a:off x="6135688" y="3856038"/>
                <a:ext cx="106363" cy="106363"/>
              </a:xfrm>
              <a:custGeom>
                <a:avLst/>
                <a:gdLst>
                  <a:gd name="T0" fmla="*/ 46 w 48"/>
                  <a:gd name="T1" fmla="*/ 15 h 48"/>
                  <a:gd name="T2" fmla="*/ 40 w 48"/>
                  <a:gd name="T3" fmla="*/ 6 h 48"/>
                  <a:gd name="T4" fmla="*/ 24 w 48"/>
                  <a:gd name="T5" fmla="*/ 0 h 48"/>
                  <a:gd name="T6" fmla="*/ 13 w 48"/>
                  <a:gd name="T7" fmla="*/ 2 h 48"/>
                  <a:gd name="T8" fmla="*/ 0 w 48"/>
                  <a:gd name="T9" fmla="*/ 24 h 48"/>
                  <a:gd name="T10" fmla="*/ 6 w 48"/>
                  <a:gd name="T11" fmla="*/ 41 h 48"/>
                  <a:gd name="T12" fmla="*/ 13 w 48"/>
                  <a:gd name="T13" fmla="*/ 46 h 48"/>
                  <a:gd name="T14" fmla="*/ 24 w 48"/>
                  <a:gd name="T15" fmla="*/ 48 h 48"/>
                  <a:gd name="T16" fmla="*/ 48 w 48"/>
                  <a:gd name="T17" fmla="*/ 24 h 48"/>
                  <a:gd name="T18" fmla="*/ 46 w 48"/>
                  <a:gd name="T19" fmla="*/ 1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6" y="15"/>
                    </a:moveTo>
                    <a:cubicBezTo>
                      <a:pt x="45" y="12"/>
                      <a:pt x="43" y="9"/>
                      <a:pt x="40" y="6"/>
                    </a:cubicBezTo>
                    <a:cubicBezTo>
                      <a:pt x="36" y="2"/>
                      <a:pt x="30" y="0"/>
                      <a:pt x="24" y="0"/>
                    </a:cubicBezTo>
                    <a:cubicBezTo>
                      <a:pt x="20" y="0"/>
                      <a:pt x="17" y="1"/>
                      <a:pt x="13" y="2"/>
                    </a:cubicBezTo>
                    <a:cubicBezTo>
                      <a:pt x="5" y="6"/>
                      <a:pt x="0" y="15"/>
                      <a:pt x="0" y="24"/>
                    </a:cubicBezTo>
                    <a:cubicBezTo>
                      <a:pt x="0" y="31"/>
                      <a:pt x="2" y="37"/>
                      <a:pt x="6" y="41"/>
                    </a:cubicBezTo>
                    <a:cubicBezTo>
                      <a:pt x="8" y="43"/>
                      <a:pt x="10" y="45"/>
                      <a:pt x="13" y="46"/>
                    </a:cubicBezTo>
                    <a:cubicBezTo>
                      <a:pt x="16" y="47"/>
                      <a:pt x="20" y="48"/>
                      <a:pt x="24" y="48"/>
                    </a:cubicBezTo>
                    <a:cubicBezTo>
                      <a:pt x="37" y="48"/>
                      <a:pt x="48" y="38"/>
                      <a:pt x="48" y="24"/>
                    </a:cubicBezTo>
                    <a:cubicBezTo>
                      <a:pt x="48" y="21"/>
                      <a:pt x="47" y="18"/>
                      <a:pt x="46" y="1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45" name="Freeform 178"/>
              <p:cNvSpPr>
                <a:spLocks noEditPoints="1"/>
              </p:cNvSpPr>
              <p:nvPr/>
            </p:nvSpPr>
            <p:spPr bwMode="auto">
              <a:xfrm>
                <a:off x="5842000" y="3790950"/>
                <a:ext cx="469900" cy="600075"/>
              </a:xfrm>
              <a:custGeom>
                <a:avLst/>
                <a:gdLst>
                  <a:gd name="T0" fmla="*/ 273 w 296"/>
                  <a:gd name="T1" fmla="*/ 0 h 378"/>
                  <a:gd name="T2" fmla="*/ 77 w 296"/>
                  <a:gd name="T3" fmla="*/ 0 h 378"/>
                  <a:gd name="T4" fmla="*/ 0 w 296"/>
                  <a:gd name="T5" fmla="*/ 73 h 378"/>
                  <a:gd name="T6" fmla="*/ 0 w 296"/>
                  <a:gd name="T7" fmla="*/ 353 h 378"/>
                  <a:gd name="T8" fmla="*/ 3 w 296"/>
                  <a:gd name="T9" fmla="*/ 363 h 378"/>
                  <a:gd name="T10" fmla="*/ 7 w 296"/>
                  <a:gd name="T11" fmla="*/ 371 h 378"/>
                  <a:gd name="T12" fmla="*/ 16 w 296"/>
                  <a:gd name="T13" fmla="*/ 375 h 378"/>
                  <a:gd name="T14" fmla="*/ 24 w 296"/>
                  <a:gd name="T15" fmla="*/ 378 h 378"/>
                  <a:gd name="T16" fmla="*/ 296 w 296"/>
                  <a:gd name="T17" fmla="*/ 378 h 378"/>
                  <a:gd name="T18" fmla="*/ 296 w 296"/>
                  <a:gd name="T19" fmla="*/ 25 h 378"/>
                  <a:gd name="T20" fmla="*/ 294 w 296"/>
                  <a:gd name="T21" fmla="*/ 15 h 378"/>
                  <a:gd name="T22" fmla="*/ 289 w 296"/>
                  <a:gd name="T23" fmla="*/ 7 h 378"/>
                  <a:gd name="T24" fmla="*/ 282 w 296"/>
                  <a:gd name="T25" fmla="*/ 3 h 378"/>
                  <a:gd name="T26" fmla="*/ 273 w 296"/>
                  <a:gd name="T27" fmla="*/ 0 h 378"/>
                  <a:gd name="T28" fmla="*/ 278 w 296"/>
                  <a:gd name="T29" fmla="*/ 357 h 378"/>
                  <a:gd name="T30" fmla="*/ 34 w 296"/>
                  <a:gd name="T31" fmla="*/ 357 h 378"/>
                  <a:gd name="T32" fmla="*/ 28 w 296"/>
                  <a:gd name="T33" fmla="*/ 357 h 378"/>
                  <a:gd name="T34" fmla="*/ 24 w 296"/>
                  <a:gd name="T35" fmla="*/ 356 h 378"/>
                  <a:gd name="T36" fmla="*/ 20 w 296"/>
                  <a:gd name="T37" fmla="*/ 347 h 378"/>
                  <a:gd name="T38" fmla="*/ 20 w 296"/>
                  <a:gd name="T39" fmla="*/ 343 h 378"/>
                  <a:gd name="T40" fmla="*/ 20 w 296"/>
                  <a:gd name="T41" fmla="*/ 85 h 378"/>
                  <a:gd name="T42" fmla="*/ 66 w 296"/>
                  <a:gd name="T43" fmla="*/ 85 h 378"/>
                  <a:gd name="T44" fmla="*/ 73 w 296"/>
                  <a:gd name="T45" fmla="*/ 85 h 378"/>
                  <a:gd name="T46" fmla="*/ 80 w 296"/>
                  <a:gd name="T47" fmla="*/ 80 h 378"/>
                  <a:gd name="T48" fmla="*/ 84 w 296"/>
                  <a:gd name="T49" fmla="*/ 73 h 378"/>
                  <a:gd name="T50" fmla="*/ 87 w 296"/>
                  <a:gd name="T51" fmla="*/ 63 h 378"/>
                  <a:gd name="T52" fmla="*/ 87 w 296"/>
                  <a:gd name="T53" fmla="*/ 20 h 378"/>
                  <a:gd name="T54" fmla="*/ 264 w 296"/>
                  <a:gd name="T55" fmla="*/ 20 h 378"/>
                  <a:gd name="T56" fmla="*/ 269 w 296"/>
                  <a:gd name="T57" fmla="*/ 20 h 378"/>
                  <a:gd name="T58" fmla="*/ 273 w 296"/>
                  <a:gd name="T59" fmla="*/ 22 h 378"/>
                  <a:gd name="T60" fmla="*/ 278 w 296"/>
                  <a:gd name="T61" fmla="*/ 28 h 378"/>
                  <a:gd name="T62" fmla="*/ 278 w 296"/>
                  <a:gd name="T63" fmla="*/ 35 h 378"/>
                  <a:gd name="T64" fmla="*/ 278 w 296"/>
                  <a:gd name="T65" fmla="*/ 357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6" h="378">
                    <a:moveTo>
                      <a:pt x="273" y="0"/>
                    </a:moveTo>
                    <a:lnTo>
                      <a:pt x="77" y="0"/>
                    </a:lnTo>
                    <a:lnTo>
                      <a:pt x="0" y="73"/>
                    </a:lnTo>
                    <a:lnTo>
                      <a:pt x="0" y="353"/>
                    </a:lnTo>
                    <a:lnTo>
                      <a:pt x="3" y="363"/>
                    </a:lnTo>
                    <a:lnTo>
                      <a:pt x="7" y="371"/>
                    </a:lnTo>
                    <a:lnTo>
                      <a:pt x="16" y="375"/>
                    </a:lnTo>
                    <a:lnTo>
                      <a:pt x="24" y="378"/>
                    </a:lnTo>
                    <a:lnTo>
                      <a:pt x="296" y="378"/>
                    </a:lnTo>
                    <a:lnTo>
                      <a:pt x="296" y="25"/>
                    </a:lnTo>
                    <a:lnTo>
                      <a:pt x="294" y="15"/>
                    </a:lnTo>
                    <a:lnTo>
                      <a:pt x="289" y="7"/>
                    </a:lnTo>
                    <a:lnTo>
                      <a:pt x="282" y="3"/>
                    </a:lnTo>
                    <a:lnTo>
                      <a:pt x="273" y="0"/>
                    </a:lnTo>
                    <a:close/>
                    <a:moveTo>
                      <a:pt x="278" y="357"/>
                    </a:moveTo>
                    <a:lnTo>
                      <a:pt x="34" y="357"/>
                    </a:lnTo>
                    <a:lnTo>
                      <a:pt x="28" y="357"/>
                    </a:lnTo>
                    <a:lnTo>
                      <a:pt x="24" y="356"/>
                    </a:lnTo>
                    <a:lnTo>
                      <a:pt x="20" y="347"/>
                    </a:lnTo>
                    <a:lnTo>
                      <a:pt x="20" y="343"/>
                    </a:lnTo>
                    <a:lnTo>
                      <a:pt x="20" y="85"/>
                    </a:lnTo>
                    <a:lnTo>
                      <a:pt x="66" y="85"/>
                    </a:lnTo>
                    <a:lnTo>
                      <a:pt x="73" y="85"/>
                    </a:lnTo>
                    <a:lnTo>
                      <a:pt x="80" y="80"/>
                    </a:lnTo>
                    <a:lnTo>
                      <a:pt x="84" y="73"/>
                    </a:lnTo>
                    <a:lnTo>
                      <a:pt x="87" y="63"/>
                    </a:lnTo>
                    <a:lnTo>
                      <a:pt x="87" y="20"/>
                    </a:lnTo>
                    <a:lnTo>
                      <a:pt x="264" y="20"/>
                    </a:lnTo>
                    <a:lnTo>
                      <a:pt x="269" y="20"/>
                    </a:lnTo>
                    <a:lnTo>
                      <a:pt x="273" y="22"/>
                    </a:lnTo>
                    <a:lnTo>
                      <a:pt x="278" y="28"/>
                    </a:lnTo>
                    <a:lnTo>
                      <a:pt x="278" y="35"/>
                    </a:lnTo>
                    <a:lnTo>
                      <a:pt x="278" y="357"/>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46" name="Freeform 179"/>
              <p:cNvSpPr>
                <a:spLocks/>
              </p:cNvSpPr>
              <p:nvPr/>
            </p:nvSpPr>
            <p:spPr bwMode="auto">
              <a:xfrm>
                <a:off x="6027738" y="3656013"/>
                <a:ext cx="14288" cy="39688"/>
              </a:xfrm>
              <a:custGeom>
                <a:avLst/>
                <a:gdLst>
                  <a:gd name="T0" fmla="*/ 7 w 7"/>
                  <a:gd name="T1" fmla="*/ 0 h 18"/>
                  <a:gd name="T2" fmla="*/ 7 w 7"/>
                  <a:gd name="T3" fmla="*/ 18 h 18"/>
                  <a:gd name="T4" fmla="*/ 4 w 7"/>
                  <a:gd name="T5" fmla="*/ 18 h 18"/>
                  <a:gd name="T6" fmla="*/ 4 w 7"/>
                  <a:gd name="T7" fmla="*/ 5 h 18"/>
                  <a:gd name="T8" fmla="*/ 2 w 7"/>
                  <a:gd name="T9" fmla="*/ 5 h 18"/>
                  <a:gd name="T10" fmla="*/ 2 w 7"/>
                  <a:gd name="T11" fmla="*/ 6 h 18"/>
                  <a:gd name="T12" fmla="*/ 1 w 7"/>
                  <a:gd name="T13" fmla="*/ 6 h 18"/>
                  <a:gd name="T14" fmla="*/ 0 w 7"/>
                  <a:gd name="T15" fmla="*/ 6 h 18"/>
                  <a:gd name="T16" fmla="*/ 0 w 7"/>
                  <a:gd name="T17" fmla="*/ 3 h 18"/>
                  <a:gd name="T18" fmla="*/ 2 w 7"/>
                  <a:gd name="T19" fmla="*/ 2 h 18"/>
                  <a:gd name="T20" fmla="*/ 5 w 7"/>
                  <a:gd name="T21" fmla="*/ 0 h 18"/>
                  <a:gd name="T22" fmla="*/ 7 w 7"/>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18">
                    <a:moveTo>
                      <a:pt x="7" y="0"/>
                    </a:moveTo>
                    <a:cubicBezTo>
                      <a:pt x="7" y="18"/>
                      <a:pt x="7" y="18"/>
                      <a:pt x="7" y="18"/>
                    </a:cubicBezTo>
                    <a:cubicBezTo>
                      <a:pt x="4" y="18"/>
                      <a:pt x="4" y="18"/>
                      <a:pt x="4" y="18"/>
                    </a:cubicBezTo>
                    <a:cubicBezTo>
                      <a:pt x="4" y="5"/>
                      <a:pt x="4" y="5"/>
                      <a:pt x="4" y="5"/>
                    </a:cubicBezTo>
                    <a:cubicBezTo>
                      <a:pt x="3" y="5"/>
                      <a:pt x="3" y="5"/>
                      <a:pt x="2" y="5"/>
                    </a:cubicBezTo>
                    <a:cubicBezTo>
                      <a:pt x="2" y="5"/>
                      <a:pt x="2" y="5"/>
                      <a:pt x="2" y="6"/>
                    </a:cubicBezTo>
                    <a:cubicBezTo>
                      <a:pt x="1" y="6"/>
                      <a:pt x="1" y="6"/>
                      <a:pt x="1" y="6"/>
                    </a:cubicBezTo>
                    <a:cubicBezTo>
                      <a:pt x="0" y="6"/>
                      <a:pt x="0" y="6"/>
                      <a:pt x="0" y="6"/>
                    </a:cubicBezTo>
                    <a:cubicBezTo>
                      <a:pt x="0" y="3"/>
                      <a:pt x="0" y="3"/>
                      <a:pt x="0" y="3"/>
                    </a:cubicBezTo>
                    <a:cubicBezTo>
                      <a:pt x="1" y="2"/>
                      <a:pt x="2" y="2"/>
                      <a:pt x="2" y="2"/>
                    </a:cubicBezTo>
                    <a:cubicBezTo>
                      <a:pt x="4" y="1"/>
                      <a:pt x="4" y="1"/>
                      <a:pt x="5" y="0"/>
                    </a:cubicBezTo>
                    <a:lnTo>
                      <a:pt x="7"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47" name="Freeform 180"/>
              <p:cNvSpPr>
                <a:spLocks noEditPoints="1"/>
              </p:cNvSpPr>
              <p:nvPr/>
            </p:nvSpPr>
            <p:spPr bwMode="auto">
              <a:xfrm>
                <a:off x="6056313" y="3656013"/>
                <a:ext cx="28575" cy="39688"/>
              </a:xfrm>
              <a:custGeom>
                <a:avLst/>
                <a:gdLst>
                  <a:gd name="T0" fmla="*/ 6 w 13"/>
                  <a:gd name="T1" fmla="*/ 18 h 18"/>
                  <a:gd name="T2" fmla="*/ 0 w 13"/>
                  <a:gd name="T3" fmla="*/ 9 h 18"/>
                  <a:gd name="T4" fmla="*/ 2 w 13"/>
                  <a:gd name="T5" fmla="*/ 3 h 18"/>
                  <a:gd name="T6" fmla="*/ 6 w 13"/>
                  <a:gd name="T7" fmla="*/ 0 h 18"/>
                  <a:gd name="T8" fmla="*/ 13 w 13"/>
                  <a:gd name="T9" fmla="*/ 9 h 18"/>
                  <a:gd name="T10" fmla="*/ 11 w 13"/>
                  <a:gd name="T11" fmla="*/ 15 h 18"/>
                  <a:gd name="T12" fmla="*/ 6 w 13"/>
                  <a:gd name="T13" fmla="*/ 18 h 18"/>
                  <a:gd name="T14" fmla="*/ 6 w 13"/>
                  <a:gd name="T15" fmla="*/ 3 h 18"/>
                  <a:gd name="T16" fmla="*/ 4 w 13"/>
                  <a:gd name="T17" fmla="*/ 9 h 18"/>
                  <a:gd name="T18" fmla="*/ 6 w 13"/>
                  <a:gd name="T19" fmla="*/ 15 h 18"/>
                  <a:gd name="T20" fmla="*/ 9 w 13"/>
                  <a:gd name="T21" fmla="*/ 9 h 18"/>
                  <a:gd name="T22" fmla="*/ 6 w 13"/>
                  <a:gd name="T23"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8">
                    <a:moveTo>
                      <a:pt x="6" y="18"/>
                    </a:moveTo>
                    <a:cubicBezTo>
                      <a:pt x="2" y="18"/>
                      <a:pt x="0" y="15"/>
                      <a:pt x="0" y="9"/>
                    </a:cubicBezTo>
                    <a:cubicBezTo>
                      <a:pt x="0" y="6"/>
                      <a:pt x="1" y="4"/>
                      <a:pt x="2" y="3"/>
                    </a:cubicBezTo>
                    <a:cubicBezTo>
                      <a:pt x="3" y="1"/>
                      <a:pt x="5" y="0"/>
                      <a:pt x="6" y="0"/>
                    </a:cubicBezTo>
                    <a:cubicBezTo>
                      <a:pt x="11" y="0"/>
                      <a:pt x="13" y="3"/>
                      <a:pt x="13" y="9"/>
                    </a:cubicBezTo>
                    <a:cubicBezTo>
                      <a:pt x="13" y="12"/>
                      <a:pt x="12" y="14"/>
                      <a:pt x="11" y="15"/>
                    </a:cubicBezTo>
                    <a:cubicBezTo>
                      <a:pt x="10" y="17"/>
                      <a:pt x="8" y="18"/>
                      <a:pt x="6" y="18"/>
                    </a:cubicBezTo>
                    <a:close/>
                    <a:moveTo>
                      <a:pt x="6" y="3"/>
                    </a:moveTo>
                    <a:cubicBezTo>
                      <a:pt x="5" y="3"/>
                      <a:pt x="4" y="5"/>
                      <a:pt x="4" y="9"/>
                    </a:cubicBezTo>
                    <a:cubicBezTo>
                      <a:pt x="4" y="13"/>
                      <a:pt x="5" y="15"/>
                      <a:pt x="6" y="15"/>
                    </a:cubicBezTo>
                    <a:cubicBezTo>
                      <a:pt x="8" y="15"/>
                      <a:pt x="9" y="13"/>
                      <a:pt x="9" y="9"/>
                    </a:cubicBezTo>
                    <a:cubicBezTo>
                      <a:pt x="9" y="5"/>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48" name="Freeform 181"/>
              <p:cNvSpPr>
                <a:spLocks/>
              </p:cNvSpPr>
              <p:nvPr/>
            </p:nvSpPr>
            <p:spPr bwMode="auto">
              <a:xfrm>
                <a:off x="6091238" y="3656013"/>
                <a:ext cx="17463" cy="39688"/>
              </a:xfrm>
              <a:custGeom>
                <a:avLst/>
                <a:gdLst>
                  <a:gd name="T0" fmla="*/ 8 w 8"/>
                  <a:gd name="T1" fmla="*/ 0 h 18"/>
                  <a:gd name="T2" fmla="*/ 8 w 8"/>
                  <a:gd name="T3" fmla="*/ 18 h 18"/>
                  <a:gd name="T4" fmla="*/ 4 w 8"/>
                  <a:gd name="T5" fmla="*/ 18 h 18"/>
                  <a:gd name="T6" fmla="*/ 4 w 8"/>
                  <a:gd name="T7" fmla="*/ 5 h 18"/>
                  <a:gd name="T8" fmla="*/ 3 w 8"/>
                  <a:gd name="T9" fmla="*/ 5 h 18"/>
                  <a:gd name="T10" fmla="*/ 2 w 8"/>
                  <a:gd name="T11" fmla="*/ 6 h 18"/>
                  <a:gd name="T12" fmla="*/ 1 w 8"/>
                  <a:gd name="T13" fmla="*/ 6 h 18"/>
                  <a:gd name="T14" fmla="*/ 0 w 8"/>
                  <a:gd name="T15" fmla="*/ 6 h 18"/>
                  <a:gd name="T16" fmla="*/ 0 w 8"/>
                  <a:gd name="T17" fmla="*/ 3 h 18"/>
                  <a:gd name="T18" fmla="*/ 3 w 8"/>
                  <a:gd name="T19" fmla="*/ 2 h 18"/>
                  <a:gd name="T20" fmla="*/ 5 w 8"/>
                  <a:gd name="T21" fmla="*/ 0 h 18"/>
                  <a:gd name="T22" fmla="*/ 8 w 8"/>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8">
                    <a:moveTo>
                      <a:pt x="8" y="0"/>
                    </a:moveTo>
                    <a:cubicBezTo>
                      <a:pt x="8" y="18"/>
                      <a:pt x="8" y="18"/>
                      <a:pt x="8" y="18"/>
                    </a:cubicBezTo>
                    <a:cubicBezTo>
                      <a:pt x="4" y="18"/>
                      <a:pt x="4" y="18"/>
                      <a:pt x="4" y="18"/>
                    </a:cubicBezTo>
                    <a:cubicBezTo>
                      <a:pt x="4" y="5"/>
                      <a:pt x="4" y="5"/>
                      <a:pt x="4" y="5"/>
                    </a:cubicBezTo>
                    <a:cubicBezTo>
                      <a:pt x="4" y="5"/>
                      <a:pt x="3" y="5"/>
                      <a:pt x="3" y="5"/>
                    </a:cubicBezTo>
                    <a:cubicBezTo>
                      <a:pt x="3" y="5"/>
                      <a:pt x="3" y="5"/>
                      <a:pt x="2" y="6"/>
                    </a:cubicBezTo>
                    <a:cubicBezTo>
                      <a:pt x="1" y="6"/>
                      <a:pt x="1" y="6"/>
                      <a:pt x="1" y="6"/>
                    </a:cubicBezTo>
                    <a:cubicBezTo>
                      <a:pt x="1" y="6"/>
                      <a:pt x="0" y="6"/>
                      <a:pt x="0" y="6"/>
                    </a:cubicBezTo>
                    <a:cubicBezTo>
                      <a:pt x="0" y="3"/>
                      <a:pt x="0" y="3"/>
                      <a:pt x="0" y="3"/>
                    </a:cubicBezTo>
                    <a:cubicBezTo>
                      <a:pt x="1" y="2"/>
                      <a:pt x="2" y="2"/>
                      <a:pt x="3" y="2"/>
                    </a:cubicBezTo>
                    <a:cubicBezTo>
                      <a:pt x="4" y="1"/>
                      <a:pt x="4" y="1"/>
                      <a:pt x="5" y="0"/>
                    </a:cubicBezTo>
                    <a:lnTo>
                      <a:pt x="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49" name="Freeform 182"/>
              <p:cNvSpPr>
                <a:spLocks noEditPoints="1"/>
              </p:cNvSpPr>
              <p:nvPr/>
            </p:nvSpPr>
            <p:spPr bwMode="auto">
              <a:xfrm>
                <a:off x="6022975" y="3711575"/>
                <a:ext cx="28575" cy="38100"/>
              </a:xfrm>
              <a:custGeom>
                <a:avLst/>
                <a:gdLst>
                  <a:gd name="T0" fmla="*/ 6 w 13"/>
                  <a:gd name="T1" fmla="*/ 17 h 17"/>
                  <a:gd name="T2" fmla="*/ 0 w 13"/>
                  <a:gd name="T3" fmla="*/ 8 h 17"/>
                  <a:gd name="T4" fmla="*/ 2 w 13"/>
                  <a:gd name="T5" fmla="*/ 2 h 17"/>
                  <a:gd name="T6" fmla="*/ 7 w 13"/>
                  <a:gd name="T7" fmla="*/ 0 h 17"/>
                  <a:gd name="T8" fmla="*/ 13 w 13"/>
                  <a:gd name="T9" fmla="*/ 8 h 17"/>
                  <a:gd name="T10" fmla="*/ 11 w 13"/>
                  <a:gd name="T11" fmla="*/ 15 h 17"/>
                  <a:gd name="T12" fmla="*/ 6 w 13"/>
                  <a:gd name="T13" fmla="*/ 17 h 17"/>
                  <a:gd name="T14" fmla="*/ 6 w 13"/>
                  <a:gd name="T15" fmla="*/ 2 h 17"/>
                  <a:gd name="T16" fmla="*/ 4 w 13"/>
                  <a:gd name="T17" fmla="*/ 8 h 17"/>
                  <a:gd name="T18" fmla="*/ 6 w 13"/>
                  <a:gd name="T19" fmla="*/ 14 h 17"/>
                  <a:gd name="T20" fmla="*/ 9 w 13"/>
                  <a:gd name="T21" fmla="*/ 8 h 17"/>
                  <a:gd name="T22" fmla="*/ 6 w 13"/>
                  <a:gd name="T23"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8"/>
                    </a:cubicBezTo>
                    <a:cubicBezTo>
                      <a:pt x="0" y="6"/>
                      <a:pt x="1" y="3"/>
                      <a:pt x="2" y="2"/>
                    </a:cubicBezTo>
                    <a:cubicBezTo>
                      <a:pt x="3" y="0"/>
                      <a:pt x="5" y="0"/>
                      <a:pt x="7" y="0"/>
                    </a:cubicBezTo>
                    <a:cubicBezTo>
                      <a:pt x="11" y="0"/>
                      <a:pt x="13" y="2"/>
                      <a:pt x="13" y="8"/>
                    </a:cubicBezTo>
                    <a:cubicBezTo>
                      <a:pt x="13" y="11"/>
                      <a:pt x="12" y="13"/>
                      <a:pt x="11" y="15"/>
                    </a:cubicBezTo>
                    <a:cubicBezTo>
                      <a:pt x="10" y="16"/>
                      <a:pt x="8" y="17"/>
                      <a:pt x="6" y="17"/>
                    </a:cubicBezTo>
                    <a:close/>
                    <a:moveTo>
                      <a:pt x="6" y="2"/>
                    </a:moveTo>
                    <a:cubicBezTo>
                      <a:pt x="5" y="2"/>
                      <a:pt x="4" y="4"/>
                      <a:pt x="4" y="8"/>
                    </a:cubicBezTo>
                    <a:cubicBezTo>
                      <a:pt x="4" y="12"/>
                      <a:pt x="5" y="14"/>
                      <a:pt x="6" y="14"/>
                    </a:cubicBezTo>
                    <a:cubicBezTo>
                      <a:pt x="8" y="14"/>
                      <a:pt x="9" y="12"/>
                      <a:pt x="9" y="8"/>
                    </a:cubicBezTo>
                    <a:cubicBezTo>
                      <a:pt x="9" y="4"/>
                      <a:pt x="8" y="2"/>
                      <a:pt x="6" y="2"/>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50" name="Freeform 183"/>
              <p:cNvSpPr>
                <a:spLocks/>
              </p:cNvSpPr>
              <p:nvPr/>
            </p:nvSpPr>
            <p:spPr bwMode="auto">
              <a:xfrm>
                <a:off x="6061075" y="3711575"/>
                <a:ext cx="14288" cy="34925"/>
              </a:xfrm>
              <a:custGeom>
                <a:avLst/>
                <a:gdLst>
                  <a:gd name="T0" fmla="*/ 7 w 7"/>
                  <a:gd name="T1" fmla="*/ 0 h 16"/>
                  <a:gd name="T2" fmla="*/ 7 w 7"/>
                  <a:gd name="T3" fmla="*/ 16 h 16"/>
                  <a:gd name="T4" fmla="*/ 3 w 7"/>
                  <a:gd name="T5" fmla="*/ 16 h 16"/>
                  <a:gd name="T6" fmla="*/ 3 w 7"/>
                  <a:gd name="T7" fmla="*/ 4 h 16"/>
                  <a:gd name="T8" fmla="*/ 3 w 7"/>
                  <a:gd name="T9" fmla="*/ 4 h 16"/>
                  <a:gd name="T10" fmla="*/ 2 w 7"/>
                  <a:gd name="T11" fmla="*/ 4 h 16"/>
                  <a:gd name="T12" fmla="*/ 1 w 7"/>
                  <a:gd name="T13" fmla="*/ 5 h 16"/>
                  <a:gd name="T14" fmla="*/ 0 w 7"/>
                  <a:gd name="T15" fmla="*/ 5 h 16"/>
                  <a:gd name="T16" fmla="*/ 0 w 7"/>
                  <a:gd name="T17" fmla="*/ 2 h 16"/>
                  <a:gd name="T18" fmla="*/ 3 w 7"/>
                  <a:gd name="T19" fmla="*/ 1 h 16"/>
                  <a:gd name="T20" fmla="*/ 5 w 7"/>
                  <a:gd name="T21" fmla="*/ 0 h 16"/>
                  <a:gd name="T22" fmla="*/ 7 w 7"/>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16">
                    <a:moveTo>
                      <a:pt x="7" y="0"/>
                    </a:moveTo>
                    <a:cubicBezTo>
                      <a:pt x="7" y="16"/>
                      <a:pt x="7" y="16"/>
                      <a:pt x="7" y="16"/>
                    </a:cubicBezTo>
                    <a:cubicBezTo>
                      <a:pt x="3" y="16"/>
                      <a:pt x="3" y="16"/>
                      <a:pt x="3" y="16"/>
                    </a:cubicBezTo>
                    <a:cubicBezTo>
                      <a:pt x="3" y="4"/>
                      <a:pt x="3" y="4"/>
                      <a:pt x="3" y="4"/>
                    </a:cubicBezTo>
                    <a:cubicBezTo>
                      <a:pt x="3" y="4"/>
                      <a:pt x="3" y="4"/>
                      <a:pt x="3" y="4"/>
                    </a:cubicBezTo>
                    <a:cubicBezTo>
                      <a:pt x="2" y="4"/>
                      <a:pt x="2" y="4"/>
                      <a:pt x="2" y="4"/>
                    </a:cubicBezTo>
                    <a:cubicBezTo>
                      <a:pt x="2" y="5"/>
                      <a:pt x="1" y="5"/>
                      <a:pt x="1" y="5"/>
                    </a:cubicBezTo>
                    <a:cubicBezTo>
                      <a:pt x="0" y="5"/>
                      <a:pt x="0" y="5"/>
                      <a:pt x="0" y="5"/>
                    </a:cubicBezTo>
                    <a:cubicBezTo>
                      <a:pt x="0" y="2"/>
                      <a:pt x="0" y="2"/>
                      <a:pt x="0" y="2"/>
                    </a:cubicBezTo>
                    <a:cubicBezTo>
                      <a:pt x="1" y="2"/>
                      <a:pt x="2" y="1"/>
                      <a:pt x="3" y="1"/>
                    </a:cubicBezTo>
                    <a:cubicBezTo>
                      <a:pt x="3" y="1"/>
                      <a:pt x="5" y="0"/>
                      <a:pt x="5" y="0"/>
                    </a:cubicBezTo>
                    <a:lnTo>
                      <a:pt x="7"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51" name="Freeform 184"/>
              <p:cNvSpPr>
                <a:spLocks noEditPoints="1"/>
              </p:cNvSpPr>
              <p:nvPr/>
            </p:nvSpPr>
            <p:spPr bwMode="auto">
              <a:xfrm>
                <a:off x="6086475" y="3711575"/>
                <a:ext cx="30163" cy="38100"/>
              </a:xfrm>
              <a:custGeom>
                <a:avLst/>
                <a:gdLst>
                  <a:gd name="T0" fmla="*/ 6 w 13"/>
                  <a:gd name="T1" fmla="*/ 17 h 17"/>
                  <a:gd name="T2" fmla="*/ 0 w 13"/>
                  <a:gd name="T3" fmla="*/ 8 h 17"/>
                  <a:gd name="T4" fmla="*/ 2 w 13"/>
                  <a:gd name="T5" fmla="*/ 2 h 17"/>
                  <a:gd name="T6" fmla="*/ 7 w 13"/>
                  <a:gd name="T7" fmla="*/ 0 h 17"/>
                  <a:gd name="T8" fmla="*/ 13 w 13"/>
                  <a:gd name="T9" fmla="*/ 8 h 17"/>
                  <a:gd name="T10" fmla="*/ 11 w 13"/>
                  <a:gd name="T11" fmla="*/ 15 h 17"/>
                  <a:gd name="T12" fmla="*/ 6 w 13"/>
                  <a:gd name="T13" fmla="*/ 17 h 17"/>
                  <a:gd name="T14" fmla="*/ 7 w 13"/>
                  <a:gd name="T15" fmla="*/ 2 h 17"/>
                  <a:gd name="T16" fmla="*/ 4 w 13"/>
                  <a:gd name="T17" fmla="*/ 8 h 17"/>
                  <a:gd name="T18" fmla="*/ 7 w 13"/>
                  <a:gd name="T19" fmla="*/ 14 h 17"/>
                  <a:gd name="T20" fmla="*/ 9 w 13"/>
                  <a:gd name="T21" fmla="*/ 8 h 17"/>
                  <a:gd name="T22" fmla="*/ 7 w 13"/>
                  <a:gd name="T23"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8"/>
                    </a:cubicBezTo>
                    <a:cubicBezTo>
                      <a:pt x="0" y="6"/>
                      <a:pt x="1" y="3"/>
                      <a:pt x="2" y="2"/>
                    </a:cubicBezTo>
                    <a:cubicBezTo>
                      <a:pt x="3" y="0"/>
                      <a:pt x="5" y="0"/>
                      <a:pt x="7" y="0"/>
                    </a:cubicBezTo>
                    <a:cubicBezTo>
                      <a:pt x="11" y="0"/>
                      <a:pt x="13" y="2"/>
                      <a:pt x="13" y="8"/>
                    </a:cubicBezTo>
                    <a:cubicBezTo>
                      <a:pt x="13" y="11"/>
                      <a:pt x="12" y="13"/>
                      <a:pt x="11" y="15"/>
                    </a:cubicBezTo>
                    <a:cubicBezTo>
                      <a:pt x="10" y="16"/>
                      <a:pt x="8" y="17"/>
                      <a:pt x="6" y="17"/>
                    </a:cubicBezTo>
                    <a:close/>
                    <a:moveTo>
                      <a:pt x="7" y="2"/>
                    </a:moveTo>
                    <a:cubicBezTo>
                      <a:pt x="5" y="2"/>
                      <a:pt x="4" y="4"/>
                      <a:pt x="4" y="8"/>
                    </a:cubicBezTo>
                    <a:cubicBezTo>
                      <a:pt x="4" y="12"/>
                      <a:pt x="5" y="14"/>
                      <a:pt x="7" y="14"/>
                    </a:cubicBezTo>
                    <a:cubicBezTo>
                      <a:pt x="8" y="14"/>
                      <a:pt x="9" y="12"/>
                      <a:pt x="9" y="8"/>
                    </a:cubicBezTo>
                    <a:cubicBezTo>
                      <a:pt x="9" y="4"/>
                      <a:pt x="8" y="2"/>
                      <a:pt x="7" y="2"/>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52" name="Freeform 185"/>
              <p:cNvSpPr>
                <a:spLocks noEditPoints="1"/>
              </p:cNvSpPr>
              <p:nvPr/>
            </p:nvSpPr>
            <p:spPr bwMode="auto">
              <a:xfrm>
                <a:off x="6022975" y="3763963"/>
                <a:ext cx="28575" cy="38100"/>
              </a:xfrm>
              <a:custGeom>
                <a:avLst/>
                <a:gdLst>
                  <a:gd name="T0" fmla="*/ 6 w 13"/>
                  <a:gd name="T1" fmla="*/ 17 h 17"/>
                  <a:gd name="T2" fmla="*/ 0 w 13"/>
                  <a:gd name="T3" fmla="*/ 9 h 17"/>
                  <a:gd name="T4" fmla="*/ 2 w 13"/>
                  <a:gd name="T5" fmla="*/ 2 h 17"/>
                  <a:gd name="T6" fmla="*/ 7 w 13"/>
                  <a:gd name="T7" fmla="*/ 0 h 17"/>
                  <a:gd name="T8" fmla="*/ 13 w 13"/>
                  <a:gd name="T9" fmla="*/ 8 h 17"/>
                  <a:gd name="T10" fmla="*/ 11 w 13"/>
                  <a:gd name="T11" fmla="*/ 15 h 17"/>
                  <a:gd name="T12" fmla="*/ 6 w 13"/>
                  <a:gd name="T13" fmla="*/ 17 h 17"/>
                  <a:gd name="T14" fmla="*/ 6 w 13"/>
                  <a:gd name="T15" fmla="*/ 3 h 17"/>
                  <a:gd name="T16" fmla="*/ 4 w 13"/>
                  <a:gd name="T17" fmla="*/ 9 h 17"/>
                  <a:gd name="T18" fmla="*/ 6 w 13"/>
                  <a:gd name="T19" fmla="*/ 14 h 17"/>
                  <a:gd name="T20" fmla="*/ 9 w 13"/>
                  <a:gd name="T21" fmla="*/ 8 h 17"/>
                  <a:gd name="T22" fmla="*/ 6 w 13"/>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9"/>
                    </a:cubicBezTo>
                    <a:cubicBezTo>
                      <a:pt x="0" y="6"/>
                      <a:pt x="1" y="4"/>
                      <a:pt x="2" y="2"/>
                    </a:cubicBezTo>
                    <a:cubicBezTo>
                      <a:pt x="3" y="0"/>
                      <a:pt x="5" y="0"/>
                      <a:pt x="7" y="0"/>
                    </a:cubicBezTo>
                    <a:cubicBezTo>
                      <a:pt x="11" y="0"/>
                      <a:pt x="13" y="3"/>
                      <a:pt x="13" y="8"/>
                    </a:cubicBezTo>
                    <a:cubicBezTo>
                      <a:pt x="13" y="11"/>
                      <a:pt x="12" y="13"/>
                      <a:pt x="11" y="15"/>
                    </a:cubicBezTo>
                    <a:cubicBezTo>
                      <a:pt x="10" y="16"/>
                      <a:pt x="8" y="17"/>
                      <a:pt x="6" y="17"/>
                    </a:cubicBezTo>
                    <a:close/>
                    <a:moveTo>
                      <a:pt x="6" y="3"/>
                    </a:moveTo>
                    <a:cubicBezTo>
                      <a:pt x="5" y="3"/>
                      <a:pt x="4" y="5"/>
                      <a:pt x="4" y="9"/>
                    </a:cubicBezTo>
                    <a:cubicBezTo>
                      <a:pt x="4" y="12"/>
                      <a:pt x="5" y="14"/>
                      <a:pt x="6" y="14"/>
                    </a:cubicBezTo>
                    <a:cubicBezTo>
                      <a:pt x="8" y="14"/>
                      <a:pt x="9" y="12"/>
                      <a:pt x="9" y="8"/>
                    </a:cubicBezTo>
                    <a:cubicBezTo>
                      <a:pt x="9" y="4"/>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53" name="Freeform 186"/>
              <p:cNvSpPr>
                <a:spLocks noEditPoints="1"/>
              </p:cNvSpPr>
              <p:nvPr/>
            </p:nvSpPr>
            <p:spPr bwMode="auto">
              <a:xfrm>
                <a:off x="6056313" y="3763963"/>
                <a:ext cx="28575" cy="38100"/>
              </a:xfrm>
              <a:custGeom>
                <a:avLst/>
                <a:gdLst>
                  <a:gd name="T0" fmla="*/ 6 w 13"/>
                  <a:gd name="T1" fmla="*/ 17 h 17"/>
                  <a:gd name="T2" fmla="*/ 0 w 13"/>
                  <a:gd name="T3" fmla="*/ 9 h 17"/>
                  <a:gd name="T4" fmla="*/ 2 w 13"/>
                  <a:gd name="T5" fmla="*/ 2 h 17"/>
                  <a:gd name="T6" fmla="*/ 6 w 13"/>
                  <a:gd name="T7" fmla="*/ 0 h 17"/>
                  <a:gd name="T8" fmla="*/ 13 w 13"/>
                  <a:gd name="T9" fmla="*/ 8 h 17"/>
                  <a:gd name="T10" fmla="*/ 11 w 13"/>
                  <a:gd name="T11" fmla="*/ 15 h 17"/>
                  <a:gd name="T12" fmla="*/ 6 w 13"/>
                  <a:gd name="T13" fmla="*/ 17 h 17"/>
                  <a:gd name="T14" fmla="*/ 6 w 13"/>
                  <a:gd name="T15" fmla="*/ 3 h 17"/>
                  <a:gd name="T16" fmla="*/ 4 w 13"/>
                  <a:gd name="T17" fmla="*/ 9 h 17"/>
                  <a:gd name="T18" fmla="*/ 6 w 13"/>
                  <a:gd name="T19" fmla="*/ 14 h 17"/>
                  <a:gd name="T20" fmla="*/ 9 w 13"/>
                  <a:gd name="T21" fmla="*/ 8 h 17"/>
                  <a:gd name="T22" fmla="*/ 6 w 13"/>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9"/>
                    </a:cubicBezTo>
                    <a:cubicBezTo>
                      <a:pt x="0" y="6"/>
                      <a:pt x="1" y="4"/>
                      <a:pt x="2" y="2"/>
                    </a:cubicBezTo>
                    <a:cubicBezTo>
                      <a:pt x="3" y="0"/>
                      <a:pt x="5" y="0"/>
                      <a:pt x="6" y="0"/>
                    </a:cubicBezTo>
                    <a:cubicBezTo>
                      <a:pt x="11" y="0"/>
                      <a:pt x="13" y="3"/>
                      <a:pt x="13" y="8"/>
                    </a:cubicBezTo>
                    <a:cubicBezTo>
                      <a:pt x="13" y="11"/>
                      <a:pt x="12" y="13"/>
                      <a:pt x="11" y="15"/>
                    </a:cubicBezTo>
                    <a:cubicBezTo>
                      <a:pt x="10" y="16"/>
                      <a:pt x="8" y="17"/>
                      <a:pt x="6" y="17"/>
                    </a:cubicBezTo>
                    <a:close/>
                    <a:moveTo>
                      <a:pt x="6" y="3"/>
                    </a:moveTo>
                    <a:cubicBezTo>
                      <a:pt x="5" y="3"/>
                      <a:pt x="4" y="5"/>
                      <a:pt x="4" y="9"/>
                    </a:cubicBezTo>
                    <a:cubicBezTo>
                      <a:pt x="4" y="12"/>
                      <a:pt x="5" y="14"/>
                      <a:pt x="6" y="14"/>
                    </a:cubicBezTo>
                    <a:cubicBezTo>
                      <a:pt x="8" y="14"/>
                      <a:pt x="9" y="12"/>
                      <a:pt x="9" y="8"/>
                    </a:cubicBezTo>
                    <a:cubicBezTo>
                      <a:pt x="9" y="4"/>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54" name="Freeform 187"/>
              <p:cNvSpPr>
                <a:spLocks/>
              </p:cNvSpPr>
              <p:nvPr/>
            </p:nvSpPr>
            <p:spPr bwMode="auto">
              <a:xfrm>
                <a:off x="6091238" y="3763963"/>
                <a:ext cx="17463" cy="38100"/>
              </a:xfrm>
              <a:custGeom>
                <a:avLst/>
                <a:gdLst>
                  <a:gd name="T0" fmla="*/ 8 w 8"/>
                  <a:gd name="T1" fmla="*/ 0 h 17"/>
                  <a:gd name="T2" fmla="*/ 8 w 8"/>
                  <a:gd name="T3" fmla="*/ 17 h 17"/>
                  <a:gd name="T4" fmla="*/ 4 w 8"/>
                  <a:gd name="T5" fmla="*/ 17 h 17"/>
                  <a:gd name="T6" fmla="*/ 4 w 8"/>
                  <a:gd name="T7" fmla="*/ 4 h 17"/>
                  <a:gd name="T8" fmla="*/ 3 w 8"/>
                  <a:gd name="T9" fmla="*/ 4 h 17"/>
                  <a:gd name="T10" fmla="*/ 2 w 8"/>
                  <a:gd name="T11" fmla="*/ 5 h 17"/>
                  <a:gd name="T12" fmla="*/ 1 w 8"/>
                  <a:gd name="T13" fmla="*/ 5 h 17"/>
                  <a:gd name="T14" fmla="*/ 0 w 8"/>
                  <a:gd name="T15" fmla="*/ 5 h 17"/>
                  <a:gd name="T16" fmla="*/ 0 w 8"/>
                  <a:gd name="T17" fmla="*/ 2 h 17"/>
                  <a:gd name="T18" fmla="*/ 3 w 8"/>
                  <a:gd name="T19" fmla="*/ 1 h 17"/>
                  <a:gd name="T20" fmla="*/ 5 w 8"/>
                  <a:gd name="T21" fmla="*/ 0 h 17"/>
                  <a:gd name="T22" fmla="*/ 8 w 8"/>
                  <a:gd name="T2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7">
                    <a:moveTo>
                      <a:pt x="8" y="0"/>
                    </a:moveTo>
                    <a:cubicBezTo>
                      <a:pt x="8" y="17"/>
                      <a:pt x="8" y="17"/>
                      <a:pt x="8" y="17"/>
                    </a:cubicBezTo>
                    <a:cubicBezTo>
                      <a:pt x="4" y="17"/>
                      <a:pt x="4" y="17"/>
                      <a:pt x="4" y="17"/>
                    </a:cubicBezTo>
                    <a:cubicBezTo>
                      <a:pt x="4" y="4"/>
                      <a:pt x="4" y="4"/>
                      <a:pt x="4" y="4"/>
                    </a:cubicBezTo>
                    <a:cubicBezTo>
                      <a:pt x="4" y="4"/>
                      <a:pt x="3" y="4"/>
                      <a:pt x="3" y="4"/>
                    </a:cubicBezTo>
                    <a:cubicBezTo>
                      <a:pt x="3" y="4"/>
                      <a:pt x="3" y="5"/>
                      <a:pt x="2" y="5"/>
                    </a:cubicBezTo>
                    <a:cubicBezTo>
                      <a:pt x="1" y="5"/>
                      <a:pt x="1" y="5"/>
                      <a:pt x="1" y="5"/>
                    </a:cubicBezTo>
                    <a:cubicBezTo>
                      <a:pt x="1" y="5"/>
                      <a:pt x="0" y="5"/>
                      <a:pt x="0" y="5"/>
                    </a:cubicBezTo>
                    <a:cubicBezTo>
                      <a:pt x="0" y="2"/>
                      <a:pt x="0" y="2"/>
                      <a:pt x="0" y="2"/>
                    </a:cubicBezTo>
                    <a:cubicBezTo>
                      <a:pt x="1" y="2"/>
                      <a:pt x="2" y="2"/>
                      <a:pt x="3" y="1"/>
                    </a:cubicBezTo>
                    <a:cubicBezTo>
                      <a:pt x="4" y="0"/>
                      <a:pt x="4" y="0"/>
                      <a:pt x="5" y="0"/>
                    </a:cubicBezTo>
                    <a:lnTo>
                      <a:pt x="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55" name="Freeform 188"/>
              <p:cNvSpPr>
                <a:spLocks/>
              </p:cNvSpPr>
              <p:nvPr/>
            </p:nvSpPr>
            <p:spPr bwMode="auto">
              <a:xfrm>
                <a:off x="6157913" y="3656013"/>
                <a:ext cx="17463" cy="39688"/>
              </a:xfrm>
              <a:custGeom>
                <a:avLst/>
                <a:gdLst>
                  <a:gd name="T0" fmla="*/ 8 w 8"/>
                  <a:gd name="T1" fmla="*/ 0 h 18"/>
                  <a:gd name="T2" fmla="*/ 8 w 8"/>
                  <a:gd name="T3" fmla="*/ 18 h 18"/>
                  <a:gd name="T4" fmla="*/ 3 w 8"/>
                  <a:gd name="T5" fmla="*/ 18 h 18"/>
                  <a:gd name="T6" fmla="*/ 3 w 8"/>
                  <a:gd name="T7" fmla="*/ 5 h 18"/>
                  <a:gd name="T8" fmla="*/ 3 w 8"/>
                  <a:gd name="T9" fmla="*/ 5 h 18"/>
                  <a:gd name="T10" fmla="*/ 2 w 8"/>
                  <a:gd name="T11" fmla="*/ 6 h 18"/>
                  <a:gd name="T12" fmla="*/ 1 w 8"/>
                  <a:gd name="T13" fmla="*/ 6 h 18"/>
                  <a:gd name="T14" fmla="*/ 0 w 8"/>
                  <a:gd name="T15" fmla="*/ 6 h 18"/>
                  <a:gd name="T16" fmla="*/ 0 w 8"/>
                  <a:gd name="T17" fmla="*/ 3 h 18"/>
                  <a:gd name="T18" fmla="*/ 3 w 8"/>
                  <a:gd name="T19" fmla="*/ 2 h 18"/>
                  <a:gd name="T20" fmla="*/ 5 w 8"/>
                  <a:gd name="T21" fmla="*/ 0 h 18"/>
                  <a:gd name="T22" fmla="*/ 8 w 8"/>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8">
                    <a:moveTo>
                      <a:pt x="8" y="0"/>
                    </a:moveTo>
                    <a:cubicBezTo>
                      <a:pt x="8" y="18"/>
                      <a:pt x="8" y="18"/>
                      <a:pt x="8" y="18"/>
                    </a:cubicBezTo>
                    <a:cubicBezTo>
                      <a:pt x="3" y="18"/>
                      <a:pt x="3" y="18"/>
                      <a:pt x="3" y="18"/>
                    </a:cubicBezTo>
                    <a:cubicBezTo>
                      <a:pt x="3" y="5"/>
                      <a:pt x="3" y="5"/>
                      <a:pt x="3" y="5"/>
                    </a:cubicBezTo>
                    <a:cubicBezTo>
                      <a:pt x="3" y="5"/>
                      <a:pt x="3" y="5"/>
                      <a:pt x="3" y="5"/>
                    </a:cubicBezTo>
                    <a:cubicBezTo>
                      <a:pt x="3" y="5"/>
                      <a:pt x="2" y="5"/>
                      <a:pt x="2" y="6"/>
                    </a:cubicBezTo>
                    <a:cubicBezTo>
                      <a:pt x="2" y="6"/>
                      <a:pt x="1" y="6"/>
                      <a:pt x="1" y="6"/>
                    </a:cubicBezTo>
                    <a:cubicBezTo>
                      <a:pt x="0" y="6"/>
                      <a:pt x="0" y="6"/>
                      <a:pt x="0" y="6"/>
                    </a:cubicBezTo>
                    <a:cubicBezTo>
                      <a:pt x="0" y="3"/>
                      <a:pt x="0" y="3"/>
                      <a:pt x="0" y="3"/>
                    </a:cubicBezTo>
                    <a:cubicBezTo>
                      <a:pt x="1" y="2"/>
                      <a:pt x="2" y="2"/>
                      <a:pt x="3" y="2"/>
                    </a:cubicBezTo>
                    <a:cubicBezTo>
                      <a:pt x="3" y="1"/>
                      <a:pt x="5" y="1"/>
                      <a:pt x="5" y="0"/>
                    </a:cubicBezTo>
                    <a:lnTo>
                      <a:pt x="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56" name="Freeform 189"/>
              <p:cNvSpPr>
                <a:spLocks noEditPoints="1"/>
              </p:cNvSpPr>
              <p:nvPr/>
            </p:nvSpPr>
            <p:spPr bwMode="auto">
              <a:xfrm>
                <a:off x="6153150" y="3711575"/>
                <a:ext cx="30163" cy="38100"/>
              </a:xfrm>
              <a:custGeom>
                <a:avLst/>
                <a:gdLst>
                  <a:gd name="T0" fmla="*/ 6 w 13"/>
                  <a:gd name="T1" fmla="*/ 17 h 17"/>
                  <a:gd name="T2" fmla="*/ 0 w 13"/>
                  <a:gd name="T3" fmla="*/ 8 h 17"/>
                  <a:gd name="T4" fmla="*/ 2 w 13"/>
                  <a:gd name="T5" fmla="*/ 2 h 17"/>
                  <a:gd name="T6" fmla="*/ 6 w 13"/>
                  <a:gd name="T7" fmla="*/ 0 h 17"/>
                  <a:gd name="T8" fmla="*/ 13 w 13"/>
                  <a:gd name="T9" fmla="*/ 8 h 17"/>
                  <a:gd name="T10" fmla="*/ 11 w 13"/>
                  <a:gd name="T11" fmla="*/ 15 h 17"/>
                  <a:gd name="T12" fmla="*/ 6 w 13"/>
                  <a:gd name="T13" fmla="*/ 17 h 17"/>
                  <a:gd name="T14" fmla="*/ 6 w 13"/>
                  <a:gd name="T15" fmla="*/ 2 h 17"/>
                  <a:gd name="T16" fmla="*/ 4 w 13"/>
                  <a:gd name="T17" fmla="*/ 8 h 17"/>
                  <a:gd name="T18" fmla="*/ 6 w 13"/>
                  <a:gd name="T19" fmla="*/ 14 h 17"/>
                  <a:gd name="T20" fmla="*/ 9 w 13"/>
                  <a:gd name="T21" fmla="*/ 8 h 17"/>
                  <a:gd name="T22" fmla="*/ 6 w 13"/>
                  <a:gd name="T23"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8"/>
                    </a:cubicBezTo>
                    <a:cubicBezTo>
                      <a:pt x="0" y="6"/>
                      <a:pt x="1" y="3"/>
                      <a:pt x="2" y="2"/>
                    </a:cubicBezTo>
                    <a:cubicBezTo>
                      <a:pt x="3" y="0"/>
                      <a:pt x="5" y="0"/>
                      <a:pt x="6" y="0"/>
                    </a:cubicBezTo>
                    <a:cubicBezTo>
                      <a:pt x="10" y="0"/>
                      <a:pt x="13" y="2"/>
                      <a:pt x="13" y="8"/>
                    </a:cubicBezTo>
                    <a:cubicBezTo>
                      <a:pt x="13" y="11"/>
                      <a:pt x="12" y="13"/>
                      <a:pt x="11" y="15"/>
                    </a:cubicBezTo>
                    <a:cubicBezTo>
                      <a:pt x="10" y="16"/>
                      <a:pt x="8" y="17"/>
                      <a:pt x="6" y="17"/>
                    </a:cubicBezTo>
                    <a:close/>
                    <a:moveTo>
                      <a:pt x="6" y="2"/>
                    </a:moveTo>
                    <a:cubicBezTo>
                      <a:pt x="5" y="2"/>
                      <a:pt x="4" y="4"/>
                      <a:pt x="4" y="8"/>
                    </a:cubicBezTo>
                    <a:cubicBezTo>
                      <a:pt x="4" y="12"/>
                      <a:pt x="5" y="14"/>
                      <a:pt x="6" y="14"/>
                    </a:cubicBezTo>
                    <a:cubicBezTo>
                      <a:pt x="8" y="14"/>
                      <a:pt x="9" y="12"/>
                      <a:pt x="9" y="8"/>
                    </a:cubicBezTo>
                    <a:cubicBezTo>
                      <a:pt x="9" y="4"/>
                      <a:pt x="8" y="2"/>
                      <a:pt x="6" y="2"/>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57" name="Freeform 190"/>
              <p:cNvSpPr>
                <a:spLocks noEditPoints="1"/>
              </p:cNvSpPr>
              <p:nvPr/>
            </p:nvSpPr>
            <p:spPr bwMode="auto">
              <a:xfrm>
                <a:off x="6153150" y="3763963"/>
                <a:ext cx="30163" cy="38100"/>
              </a:xfrm>
              <a:custGeom>
                <a:avLst/>
                <a:gdLst>
                  <a:gd name="T0" fmla="*/ 6 w 13"/>
                  <a:gd name="T1" fmla="*/ 17 h 17"/>
                  <a:gd name="T2" fmla="*/ 0 w 13"/>
                  <a:gd name="T3" fmla="*/ 9 h 17"/>
                  <a:gd name="T4" fmla="*/ 2 w 13"/>
                  <a:gd name="T5" fmla="*/ 2 h 17"/>
                  <a:gd name="T6" fmla="*/ 6 w 13"/>
                  <a:gd name="T7" fmla="*/ 0 h 17"/>
                  <a:gd name="T8" fmla="*/ 13 w 13"/>
                  <a:gd name="T9" fmla="*/ 8 h 17"/>
                  <a:gd name="T10" fmla="*/ 11 w 13"/>
                  <a:gd name="T11" fmla="*/ 15 h 17"/>
                  <a:gd name="T12" fmla="*/ 6 w 13"/>
                  <a:gd name="T13" fmla="*/ 17 h 17"/>
                  <a:gd name="T14" fmla="*/ 6 w 13"/>
                  <a:gd name="T15" fmla="*/ 3 h 17"/>
                  <a:gd name="T16" fmla="*/ 4 w 13"/>
                  <a:gd name="T17" fmla="*/ 9 h 17"/>
                  <a:gd name="T18" fmla="*/ 6 w 13"/>
                  <a:gd name="T19" fmla="*/ 14 h 17"/>
                  <a:gd name="T20" fmla="*/ 9 w 13"/>
                  <a:gd name="T21" fmla="*/ 8 h 17"/>
                  <a:gd name="T22" fmla="*/ 6 w 13"/>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6" y="17"/>
                    </a:moveTo>
                    <a:cubicBezTo>
                      <a:pt x="2" y="17"/>
                      <a:pt x="0" y="14"/>
                      <a:pt x="0" y="9"/>
                    </a:cubicBezTo>
                    <a:cubicBezTo>
                      <a:pt x="0" y="6"/>
                      <a:pt x="1" y="4"/>
                      <a:pt x="2" y="2"/>
                    </a:cubicBezTo>
                    <a:cubicBezTo>
                      <a:pt x="3" y="0"/>
                      <a:pt x="5" y="0"/>
                      <a:pt x="6" y="0"/>
                    </a:cubicBezTo>
                    <a:cubicBezTo>
                      <a:pt x="10" y="0"/>
                      <a:pt x="13" y="3"/>
                      <a:pt x="13" y="8"/>
                    </a:cubicBezTo>
                    <a:cubicBezTo>
                      <a:pt x="13" y="11"/>
                      <a:pt x="12" y="13"/>
                      <a:pt x="11" y="15"/>
                    </a:cubicBezTo>
                    <a:cubicBezTo>
                      <a:pt x="10" y="16"/>
                      <a:pt x="8" y="17"/>
                      <a:pt x="6" y="17"/>
                    </a:cubicBezTo>
                    <a:close/>
                    <a:moveTo>
                      <a:pt x="6" y="3"/>
                    </a:moveTo>
                    <a:cubicBezTo>
                      <a:pt x="5" y="3"/>
                      <a:pt x="4" y="5"/>
                      <a:pt x="4" y="9"/>
                    </a:cubicBezTo>
                    <a:cubicBezTo>
                      <a:pt x="4" y="12"/>
                      <a:pt x="5" y="14"/>
                      <a:pt x="6" y="14"/>
                    </a:cubicBezTo>
                    <a:cubicBezTo>
                      <a:pt x="8" y="14"/>
                      <a:pt x="9" y="12"/>
                      <a:pt x="9" y="8"/>
                    </a:cubicBezTo>
                    <a:cubicBezTo>
                      <a:pt x="9" y="4"/>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58" name="Freeform 191"/>
              <p:cNvSpPr>
                <a:spLocks noEditPoints="1"/>
              </p:cNvSpPr>
              <p:nvPr/>
            </p:nvSpPr>
            <p:spPr bwMode="auto">
              <a:xfrm>
                <a:off x="6119813" y="3656013"/>
                <a:ext cx="26988" cy="39688"/>
              </a:xfrm>
              <a:custGeom>
                <a:avLst/>
                <a:gdLst>
                  <a:gd name="T0" fmla="*/ 6 w 12"/>
                  <a:gd name="T1" fmla="*/ 18 h 18"/>
                  <a:gd name="T2" fmla="*/ 0 w 12"/>
                  <a:gd name="T3" fmla="*/ 9 h 18"/>
                  <a:gd name="T4" fmla="*/ 1 w 12"/>
                  <a:gd name="T5" fmla="*/ 3 h 18"/>
                  <a:gd name="T6" fmla="*/ 7 w 12"/>
                  <a:gd name="T7" fmla="*/ 0 h 18"/>
                  <a:gd name="T8" fmla="*/ 12 w 12"/>
                  <a:gd name="T9" fmla="*/ 9 h 18"/>
                  <a:gd name="T10" fmla="*/ 11 w 12"/>
                  <a:gd name="T11" fmla="*/ 15 h 18"/>
                  <a:gd name="T12" fmla="*/ 6 w 12"/>
                  <a:gd name="T13" fmla="*/ 18 h 18"/>
                  <a:gd name="T14" fmla="*/ 6 w 12"/>
                  <a:gd name="T15" fmla="*/ 3 h 18"/>
                  <a:gd name="T16" fmla="*/ 4 w 12"/>
                  <a:gd name="T17" fmla="*/ 9 h 18"/>
                  <a:gd name="T18" fmla="*/ 6 w 12"/>
                  <a:gd name="T19" fmla="*/ 15 h 18"/>
                  <a:gd name="T20" fmla="*/ 8 w 12"/>
                  <a:gd name="T21" fmla="*/ 9 h 18"/>
                  <a:gd name="T22" fmla="*/ 6 w 12"/>
                  <a:gd name="T23"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8">
                    <a:moveTo>
                      <a:pt x="6" y="18"/>
                    </a:moveTo>
                    <a:cubicBezTo>
                      <a:pt x="2" y="18"/>
                      <a:pt x="0" y="15"/>
                      <a:pt x="0" y="9"/>
                    </a:cubicBezTo>
                    <a:cubicBezTo>
                      <a:pt x="0" y="6"/>
                      <a:pt x="0" y="4"/>
                      <a:pt x="1" y="3"/>
                    </a:cubicBezTo>
                    <a:cubicBezTo>
                      <a:pt x="3" y="1"/>
                      <a:pt x="4" y="0"/>
                      <a:pt x="7" y="0"/>
                    </a:cubicBezTo>
                    <a:cubicBezTo>
                      <a:pt x="10" y="0"/>
                      <a:pt x="12" y="3"/>
                      <a:pt x="12" y="9"/>
                    </a:cubicBezTo>
                    <a:cubicBezTo>
                      <a:pt x="12" y="12"/>
                      <a:pt x="12" y="14"/>
                      <a:pt x="11" y="15"/>
                    </a:cubicBezTo>
                    <a:cubicBezTo>
                      <a:pt x="10" y="17"/>
                      <a:pt x="8" y="18"/>
                      <a:pt x="6" y="18"/>
                    </a:cubicBezTo>
                    <a:close/>
                    <a:moveTo>
                      <a:pt x="6" y="3"/>
                    </a:moveTo>
                    <a:cubicBezTo>
                      <a:pt x="5" y="3"/>
                      <a:pt x="4" y="5"/>
                      <a:pt x="4" y="9"/>
                    </a:cubicBezTo>
                    <a:cubicBezTo>
                      <a:pt x="4" y="13"/>
                      <a:pt x="5" y="15"/>
                      <a:pt x="6" y="15"/>
                    </a:cubicBezTo>
                    <a:cubicBezTo>
                      <a:pt x="8" y="15"/>
                      <a:pt x="8" y="13"/>
                      <a:pt x="8" y="9"/>
                    </a:cubicBezTo>
                    <a:cubicBezTo>
                      <a:pt x="8" y="5"/>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59" name="Freeform 192"/>
              <p:cNvSpPr>
                <a:spLocks/>
              </p:cNvSpPr>
              <p:nvPr/>
            </p:nvSpPr>
            <p:spPr bwMode="auto">
              <a:xfrm>
                <a:off x="6122988" y="3711575"/>
                <a:ext cx="17463" cy="34925"/>
              </a:xfrm>
              <a:custGeom>
                <a:avLst/>
                <a:gdLst>
                  <a:gd name="T0" fmla="*/ 8 w 8"/>
                  <a:gd name="T1" fmla="*/ 0 h 16"/>
                  <a:gd name="T2" fmla="*/ 8 w 8"/>
                  <a:gd name="T3" fmla="*/ 16 h 16"/>
                  <a:gd name="T4" fmla="*/ 5 w 8"/>
                  <a:gd name="T5" fmla="*/ 16 h 16"/>
                  <a:gd name="T6" fmla="*/ 5 w 8"/>
                  <a:gd name="T7" fmla="*/ 4 h 16"/>
                  <a:gd name="T8" fmla="*/ 4 w 8"/>
                  <a:gd name="T9" fmla="*/ 4 h 16"/>
                  <a:gd name="T10" fmla="*/ 3 w 8"/>
                  <a:gd name="T11" fmla="*/ 4 h 16"/>
                  <a:gd name="T12" fmla="*/ 1 w 8"/>
                  <a:gd name="T13" fmla="*/ 5 h 16"/>
                  <a:gd name="T14" fmla="*/ 0 w 8"/>
                  <a:gd name="T15" fmla="*/ 5 h 16"/>
                  <a:gd name="T16" fmla="*/ 0 w 8"/>
                  <a:gd name="T17" fmla="*/ 2 h 16"/>
                  <a:gd name="T18" fmla="*/ 3 w 8"/>
                  <a:gd name="T19" fmla="*/ 1 h 16"/>
                  <a:gd name="T20" fmla="*/ 6 w 8"/>
                  <a:gd name="T21" fmla="*/ 0 h 16"/>
                  <a:gd name="T22" fmla="*/ 8 w 8"/>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6">
                    <a:moveTo>
                      <a:pt x="8" y="0"/>
                    </a:moveTo>
                    <a:cubicBezTo>
                      <a:pt x="8" y="16"/>
                      <a:pt x="8" y="16"/>
                      <a:pt x="8" y="16"/>
                    </a:cubicBezTo>
                    <a:cubicBezTo>
                      <a:pt x="5" y="16"/>
                      <a:pt x="5" y="16"/>
                      <a:pt x="5" y="16"/>
                    </a:cubicBezTo>
                    <a:cubicBezTo>
                      <a:pt x="5" y="4"/>
                      <a:pt x="5" y="4"/>
                      <a:pt x="5" y="4"/>
                    </a:cubicBezTo>
                    <a:cubicBezTo>
                      <a:pt x="4" y="4"/>
                      <a:pt x="4" y="4"/>
                      <a:pt x="4" y="4"/>
                    </a:cubicBezTo>
                    <a:cubicBezTo>
                      <a:pt x="3" y="4"/>
                      <a:pt x="3" y="4"/>
                      <a:pt x="3" y="4"/>
                    </a:cubicBezTo>
                    <a:cubicBezTo>
                      <a:pt x="2" y="5"/>
                      <a:pt x="2" y="5"/>
                      <a:pt x="1" y="5"/>
                    </a:cubicBezTo>
                    <a:cubicBezTo>
                      <a:pt x="1" y="5"/>
                      <a:pt x="1" y="5"/>
                      <a:pt x="0" y="5"/>
                    </a:cubicBezTo>
                    <a:cubicBezTo>
                      <a:pt x="0" y="2"/>
                      <a:pt x="0" y="2"/>
                      <a:pt x="0" y="2"/>
                    </a:cubicBezTo>
                    <a:cubicBezTo>
                      <a:pt x="1" y="2"/>
                      <a:pt x="3" y="1"/>
                      <a:pt x="3" y="1"/>
                    </a:cubicBezTo>
                    <a:cubicBezTo>
                      <a:pt x="5" y="1"/>
                      <a:pt x="5" y="0"/>
                      <a:pt x="6" y="0"/>
                    </a:cubicBezTo>
                    <a:lnTo>
                      <a:pt x="8"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60" name="Freeform 193"/>
              <p:cNvSpPr>
                <a:spLocks noEditPoints="1"/>
              </p:cNvSpPr>
              <p:nvPr/>
            </p:nvSpPr>
            <p:spPr bwMode="auto">
              <a:xfrm>
                <a:off x="6119813" y="3763963"/>
                <a:ext cx="26988" cy="38100"/>
              </a:xfrm>
              <a:custGeom>
                <a:avLst/>
                <a:gdLst>
                  <a:gd name="T0" fmla="*/ 6 w 12"/>
                  <a:gd name="T1" fmla="*/ 17 h 17"/>
                  <a:gd name="T2" fmla="*/ 0 w 12"/>
                  <a:gd name="T3" fmla="*/ 9 h 17"/>
                  <a:gd name="T4" fmla="*/ 1 w 12"/>
                  <a:gd name="T5" fmla="*/ 2 h 17"/>
                  <a:gd name="T6" fmla="*/ 7 w 12"/>
                  <a:gd name="T7" fmla="*/ 0 h 17"/>
                  <a:gd name="T8" fmla="*/ 12 w 12"/>
                  <a:gd name="T9" fmla="*/ 8 h 17"/>
                  <a:gd name="T10" fmla="*/ 11 w 12"/>
                  <a:gd name="T11" fmla="*/ 15 h 17"/>
                  <a:gd name="T12" fmla="*/ 6 w 12"/>
                  <a:gd name="T13" fmla="*/ 17 h 17"/>
                  <a:gd name="T14" fmla="*/ 6 w 12"/>
                  <a:gd name="T15" fmla="*/ 3 h 17"/>
                  <a:gd name="T16" fmla="*/ 4 w 12"/>
                  <a:gd name="T17" fmla="*/ 9 h 17"/>
                  <a:gd name="T18" fmla="*/ 6 w 12"/>
                  <a:gd name="T19" fmla="*/ 14 h 17"/>
                  <a:gd name="T20" fmla="*/ 8 w 12"/>
                  <a:gd name="T21" fmla="*/ 8 h 17"/>
                  <a:gd name="T22" fmla="*/ 6 w 12"/>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7">
                    <a:moveTo>
                      <a:pt x="6" y="17"/>
                    </a:moveTo>
                    <a:cubicBezTo>
                      <a:pt x="2" y="17"/>
                      <a:pt x="0" y="14"/>
                      <a:pt x="0" y="9"/>
                    </a:cubicBezTo>
                    <a:cubicBezTo>
                      <a:pt x="0" y="6"/>
                      <a:pt x="0" y="4"/>
                      <a:pt x="1" y="2"/>
                    </a:cubicBezTo>
                    <a:cubicBezTo>
                      <a:pt x="3" y="0"/>
                      <a:pt x="4" y="0"/>
                      <a:pt x="7" y="0"/>
                    </a:cubicBezTo>
                    <a:cubicBezTo>
                      <a:pt x="10" y="0"/>
                      <a:pt x="12" y="3"/>
                      <a:pt x="12" y="8"/>
                    </a:cubicBezTo>
                    <a:cubicBezTo>
                      <a:pt x="12" y="11"/>
                      <a:pt x="12" y="13"/>
                      <a:pt x="11" y="15"/>
                    </a:cubicBezTo>
                    <a:cubicBezTo>
                      <a:pt x="10" y="16"/>
                      <a:pt x="8" y="17"/>
                      <a:pt x="6" y="17"/>
                    </a:cubicBezTo>
                    <a:close/>
                    <a:moveTo>
                      <a:pt x="6" y="3"/>
                    </a:moveTo>
                    <a:cubicBezTo>
                      <a:pt x="5" y="3"/>
                      <a:pt x="4" y="5"/>
                      <a:pt x="4" y="9"/>
                    </a:cubicBezTo>
                    <a:cubicBezTo>
                      <a:pt x="4" y="12"/>
                      <a:pt x="5" y="14"/>
                      <a:pt x="6" y="14"/>
                    </a:cubicBezTo>
                    <a:cubicBezTo>
                      <a:pt x="8" y="14"/>
                      <a:pt x="8" y="12"/>
                      <a:pt x="8" y="8"/>
                    </a:cubicBezTo>
                    <a:cubicBezTo>
                      <a:pt x="8" y="4"/>
                      <a:pt x="8" y="3"/>
                      <a:pt x="6"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62" name="Freeform 195"/>
              <p:cNvSpPr>
                <a:spLocks noEditPoints="1"/>
              </p:cNvSpPr>
              <p:nvPr/>
            </p:nvSpPr>
            <p:spPr bwMode="auto">
              <a:xfrm>
                <a:off x="6234113" y="2765425"/>
                <a:ext cx="90488" cy="106363"/>
              </a:xfrm>
              <a:custGeom>
                <a:avLst/>
                <a:gdLst>
                  <a:gd name="T0" fmla="*/ 21 w 41"/>
                  <a:gd name="T1" fmla="*/ 3 h 48"/>
                  <a:gd name="T2" fmla="*/ 38 w 41"/>
                  <a:gd name="T3" fmla="*/ 7 h 48"/>
                  <a:gd name="T4" fmla="*/ 21 w 41"/>
                  <a:gd name="T5" fmla="*/ 12 h 48"/>
                  <a:gd name="T6" fmla="*/ 4 w 41"/>
                  <a:gd name="T7" fmla="*/ 7 h 48"/>
                  <a:gd name="T8" fmla="*/ 21 w 41"/>
                  <a:gd name="T9" fmla="*/ 3 h 48"/>
                  <a:gd name="T10" fmla="*/ 21 w 41"/>
                  <a:gd name="T11" fmla="*/ 0 h 48"/>
                  <a:gd name="T12" fmla="*/ 13 w 41"/>
                  <a:gd name="T13" fmla="*/ 1 h 48"/>
                  <a:gd name="T14" fmla="*/ 6 w 41"/>
                  <a:gd name="T15" fmla="*/ 2 h 48"/>
                  <a:gd name="T16" fmla="*/ 2 w 41"/>
                  <a:gd name="T17" fmla="*/ 5 h 48"/>
                  <a:gd name="T18" fmla="*/ 1 w 41"/>
                  <a:gd name="T19" fmla="*/ 7 h 48"/>
                  <a:gd name="T20" fmla="*/ 0 w 41"/>
                  <a:gd name="T21" fmla="*/ 8 h 48"/>
                  <a:gd name="T22" fmla="*/ 0 w 41"/>
                  <a:gd name="T23" fmla="*/ 40 h 48"/>
                  <a:gd name="T24" fmla="*/ 1 w 41"/>
                  <a:gd name="T25" fmla="*/ 42 h 48"/>
                  <a:gd name="T26" fmla="*/ 2 w 41"/>
                  <a:gd name="T27" fmla="*/ 43 h 48"/>
                  <a:gd name="T28" fmla="*/ 6 w 41"/>
                  <a:gd name="T29" fmla="*/ 46 h 48"/>
                  <a:gd name="T30" fmla="*/ 13 w 41"/>
                  <a:gd name="T31" fmla="*/ 48 h 48"/>
                  <a:gd name="T32" fmla="*/ 21 w 41"/>
                  <a:gd name="T33" fmla="*/ 48 h 48"/>
                  <a:gd name="T34" fmla="*/ 35 w 41"/>
                  <a:gd name="T35" fmla="*/ 46 h 48"/>
                  <a:gd name="T36" fmla="*/ 40 w 41"/>
                  <a:gd name="T37" fmla="*/ 43 h 48"/>
                  <a:gd name="T38" fmla="*/ 41 w 41"/>
                  <a:gd name="T39" fmla="*/ 42 h 48"/>
                  <a:gd name="T40" fmla="*/ 41 w 41"/>
                  <a:gd name="T41" fmla="*/ 40 h 48"/>
                  <a:gd name="T42" fmla="*/ 41 w 41"/>
                  <a:gd name="T43" fmla="*/ 8 h 48"/>
                  <a:gd name="T44" fmla="*/ 40 w 41"/>
                  <a:gd name="T45" fmla="*/ 5 h 48"/>
                  <a:gd name="T46" fmla="*/ 35 w 41"/>
                  <a:gd name="T47" fmla="*/ 2 h 48"/>
                  <a:gd name="T48" fmla="*/ 29 w 41"/>
                  <a:gd name="T49" fmla="*/ 1 h 48"/>
                  <a:gd name="T50" fmla="*/ 21 w 41"/>
                  <a:gd name="T5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 h="48">
                    <a:moveTo>
                      <a:pt x="21" y="3"/>
                    </a:moveTo>
                    <a:cubicBezTo>
                      <a:pt x="30" y="3"/>
                      <a:pt x="38" y="5"/>
                      <a:pt x="38" y="7"/>
                    </a:cubicBezTo>
                    <a:cubicBezTo>
                      <a:pt x="38" y="10"/>
                      <a:pt x="30" y="12"/>
                      <a:pt x="21" y="12"/>
                    </a:cubicBezTo>
                    <a:cubicBezTo>
                      <a:pt x="11" y="12"/>
                      <a:pt x="4" y="10"/>
                      <a:pt x="4" y="7"/>
                    </a:cubicBezTo>
                    <a:cubicBezTo>
                      <a:pt x="4" y="5"/>
                      <a:pt x="11" y="3"/>
                      <a:pt x="21" y="3"/>
                    </a:cubicBezTo>
                    <a:close/>
                    <a:moveTo>
                      <a:pt x="21" y="0"/>
                    </a:moveTo>
                    <a:cubicBezTo>
                      <a:pt x="13" y="1"/>
                      <a:pt x="13" y="1"/>
                      <a:pt x="13" y="1"/>
                    </a:cubicBezTo>
                    <a:cubicBezTo>
                      <a:pt x="6" y="2"/>
                      <a:pt x="6" y="2"/>
                      <a:pt x="6" y="2"/>
                    </a:cubicBezTo>
                    <a:cubicBezTo>
                      <a:pt x="2" y="5"/>
                      <a:pt x="2" y="5"/>
                      <a:pt x="2" y="5"/>
                    </a:cubicBezTo>
                    <a:cubicBezTo>
                      <a:pt x="1" y="7"/>
                      <a:pt x="1" y="7"/>
                      <a:pt x="1" y="7"/>
                    </a:cubicBezTo>
                    <a:cubicBezTo>
                      <a:pt x="0" y="8"/>
                      <a:pt x="0" y="8"/>
                      <a:pt x="0" y="8"/>
                    </a:cubicBezTo>
                    <a:cubicBezTo>
                      <a:pt x="0" y="40"/>
                      <a:pt x="0" y="40"/>
                      <a:pt x="0" y="40"/>
                    </a:cubicBezTo>
                    <a:cubicBezTo>
                      <a:pt x="1" y="42"/>
                      <a:pt x="1" y="42"/>
                      <a:pt x="1" y="42"/>
                    </a:cubicBezTo>
                    <a:cubicBezTo>
                      <a:pt x="2" y="43"/>
                      <a:pt x="2" y="43"/>
                      <a:pt x="2" y="43"/>
                    </a:cubicBezTo>
                    <a:cubicBezTo>
                      <a:pt x="6" y="46"/>
                      <a:pt x="6" y="46"/>
                      <a:pt x="6" y="46"/>
                    </a:cubicBezTo>
                    <a:cubicBezTo>
                      <a:pt x="13" y="48"/>
                      <a:pt x="13" y="48"/>
                      <a:pt x="13" y="48"/>
                    </a:cubicBezTo>
                    <a:cubicBezTo>
                      <a:pt x="15" y="48"/>
                      <a:pt x="18" y="48"/>
                      <a:pt x="21" y="48"/>
                    </a:cubicBezTo>
                    <a:cubicBezTo>
                      <a:pt x="26" y="48"/>
                      <a:pt x="31" y="47"/>
                      <a:pt x="35" y="46"/>
                    </a:cubicBezTo>
                    <a:cubicBezTo>
                      <a:pt x="37" y="45"/>
                      <a:pt x="38" y="44"/>
                      <a:pt x="40" y="43"/>
                    </a:cubicBezTo>
                    <a:cubicBezTo>
                      <a:pt x="40" y="43"/>
                      <a:pt x="40" y="42"/>
                      <a:pt x="41" y="42"/>
                    </a:cubicBezTo>
                    <a:cubicBezTo>
                      <a:pt x="41" y="41"/>
                      <a:pt x="41" y="41"/>
                      <a:pt x="41" y="40"/>
                    </a:cubicBezTo>
                    <a:cubicBezTo>
                      <a:pt x="41" y="8"/>
                      <a:pt x="41" y="8"/>
                      <a:pt x="41" y="8"/>
                    </a:cubicBezTo>
                    <a:cubicBezTo>
                      <a:pt x="41" y="7"/>
                      <a:pt x="41" y="6"/>
                      <a:pt x="40" y="5"/>
                    </a:cubicBezTo>
                    <a:cubicBezTo>
                      <a:pt x="38" y="4"/>
                      <a:pt x="37" y="3"/>
                      <a:pt x="35" y="2"/>
                    </a:cubicBezTo>
                    <a:cubicBezTo>
                      <a:pt x="33" y="2"/>
                      <a:pt x="31" y="1"/>
                      <a:pt x="29" y="1"/>
                    </a:cubicBezTo>
                    <a:cubicBezTo>
                      <a:pt x="26" y="0"/>
                      <a:pt x="24" y="0"/>
                      <a:pt x="21" y="0"/>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63" name="Freeform 196"/>
              <p:cNvSpPr>
                <a:spLocks noEditPoints="1"/>
              </p:cNvSpPr>
              <p:nvPr/>
            </p:nvSpPr>
            <p:spPr bwMode="auto">
              <a:xfrm>
                <a:off x="6234113" y="2928938"/>
                <a:ext cx="122238" cy="142875"/>
              </a:xfrm>
              <a:custGeom>
                <a:avLst/>
                <a:gdLst>
                  <a:gd name="T0" fmla="*/ 27 w 55"/>
                  <a:gd name="T1" fmla="*/ 4 h 64"/>
                  <a:gd name="T2" fmla="*/ 50 w 55"/>
                  <a:gd name="T3" fmla="*/ 10 h 64"/>
                  <a:gd name="T4" fmla="*/ 27 w 55"/>
                  <a:gd name="T5" fmla="*/ 16 h 64"/>
                  <a:gd name="T6" fmla="*/ 5 w 55"/>
                  <a:gd name="T7" fmla="*/ 10 h 64"/>
                  <a:gd name="T8" fmla="*/ 27 w 55"/>
                  <a:gd name="T9" fmla="*/ 4 h 64"/>
                  <a:gd name="T10" fmla="*/ 28 w 55"/>
                  <a:gd name="T11" fmla="*/ 0 h 64"/>
                  <a:gd name="T12" fmla="*/ 17 w 55"/>
                  <a:gd name="T13" fmla="*/ 1 h 64"/>
                  <a:gd name="T14" fmla="*/ 8 w 55"/>
                  <a:gd name="T15" fmla="*/ 3 h 64"/>
                  <a:gd name="T16" fmla="*/ 3 w 55"/>
                  <a:gd name="T17" fmla="*/ 7 h 64"/>
                  <a:gd name="T18" fmla="*/ 1 w 55"/>
                  <a:gd name="T19" fmla="*/ 9 h 64"/>
                  <a:gd name="T20" fmla="*/ 0 w 55"/>
                  <a:gd name="T21" fmla="*/ 11 h 64"/>
                  <a:gd name="T22" fmla="*/ 0 w 55"/>
                  <a:gd name="T23" fmla="*/ 54 h 64"/>
                  <a:gd name="T24" fmla="*/ 1 w 55"/>
                  <a:gd name="T25" fmla="*/ 56 h 64"/>
                  <a:gd name="T26" fmla="*/ 3 w 55"/>
                  <a:gd name="T27" fmla="*/ 58 h 64"/>
                  <a:gd name="T28" fmla="*/ 8 w 55"/>
                  <a:gd name="T29" fmla="*/ 61 h 64"/>
                  <a:gd name="T30" fmla="*/ 17 w 55"/>
                  <a:gd name="T31" fmla="*/ 64 h 64"/>
                  <a:gd name="T32" fmla="*/ 28 w 55"/>
                  <a:gd name="T33" fmla="*/ 64 h 64"/>
                  <a:gd name="T34" fmla="*/ 47 w 55"/>
                  <a:gd name="T35" fmla="*/ 61 h 64"/>
                  <a:gd name="T36" fmla="*/ 53 w 55"/>
                  <a:gd name="T37" fmla="*/ 58 h 64"/>
                  <a:gd name="T38" fmla="*/ 54 w 55"/>
                  <a:gd name="T39" fmla="*/ 56 h 64"/>
                  <a:gd name="T40" fmla="*/ 55 w 55"/>
                  <a:gd name="T41" fmla="*/ 54 h 64"/>
                  <a:gd name="T42" fmla="*/ 55 w 55"/>
                  <a:gd name="T43" fmla="*/ 11 h 64"/>
                  <a:gd name="T44" fmla="*/ 53 w 55"/>
                  <a:gd name="T45" fmla="*/ 7 h 64"/>
                  <a:gd name="T46" fmla="*/ 47 w 55"/>
                  <a:gd name="T47" fmla="*/ 3 h 64"/>
                  <a:gd name="T48" fmla="*/ 38 w 55"/>
                  <a:gd name="T49" fmla="*/ 1 h 64"/>
                  <a:gd name="T50" fmla="*/ 28 w 55"/>
                  <a:gd name="T5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4">
                    <a:moveTo>
                      <a:pt x="27" y="4"/>
                    </a:moveTo>
                    <a:cubicBezTo>
                      <a:pt x="40" y="4"/>
                      <a:pt x="50" y="6"/>
                      <a:pt x="50" y="10"/>
                    </a:cubicBezTo>
                    <a:cubicBezTo>
                      <a:pt x="50" y="13"/>
                      <a:pt x="40" y="16"/>
                      <a:pt x="27" y="16"/>
                    </a:cubicBezTo>
                    <a:cubicBezTo>
                      <a:pt x="15" y="16"/>
                      <a:pt x="5" y="13"/>
                      <a:pt x="5" y="10"/>
                    </a:cubicBezTo>
                    <a:cubicBezTo>
                      <a:pt x="5" y="6"/>
                      <a:pt x="15" y="4"/>
                      <a:pt x="27" y="4"/>
                    </a:cubicBezTo>
                    <a:close/>
                    <a:moveTo>
                      <a:pt x="28" y="0"/>
                    </a:moveTo>
                    <a:cubicBezTo>
                      <a:pt x="17" y="1"/>
                      <a:pt x="17" y="1"/>
                      <a:pt x="17" y="1"/>
                    </a:cubicBezTo>
                    <a:cubicBezTo>
                      <a:pt x="8" y="3"/>
                      <a:pt x="8" y="3"/>
                      <a:pt x="8" y="3"/>
                    </a:cubicBezTo>
                    <a:cubicBezTo>
                      <a:pt x="3" y="7"/>
                      <a:pt x="3" y="7"/>
                      <a:pt x="3" y="7"/>
                    </a:cubicBezTo>
                    <a:cubicBezTo>
                      <a:pt x="1" y="9"/>
                      <a:pt x="1" y="9"/>
                      <a:pt x="1" y="9"/>
                    </a:cubicBezTo>
                    <a:cubicBezTo>
                      <a:pt x="0" y="11"/>
                      <a:pt x="0" y="11"/>
                      <a:pt x="0" y="11"/>
                    </a:cubicBezTo>
                    <a:cubicBezTo>
                      <a:pt x="0" y="54"/>
                      <a:pt x="0" y="54"/>
                      <a:pt x="0" y="54"/>
                    </a:cubicBezTo>
                    <a:cubicBezTo>
                      <a:pt x="1" y="56"/>
                      <a:pt x="1" y="56"/>
                      <a:pt x="1" y="56"/>
                    </a:cubicBezTo>
                    <a:cubicBezTo>
                      <a:pt x="3" y="58"/>
                      <a:pt x="3" y="58"/>
                      <a:pt x="3" y="58"/>
                    </a:cubicBezTo>
                    <a:cubicBezTo>
                      <a:pt x="8" y="61"/>
                      <a:pt x="8" y="61"/>
                      <a:pt x="8" y="61"/>
                    </a:cubicBezTo>
                    <a:cubicBezTo>
                      <a:pt x="17" y="64"/>
                      <a:pt x="17" y="64"/>
                      <a:pt x="17" y="64"/>
                    </a:cubicBezTo>
                    <a:cubicBezTo>
                      <a:pt x="20" y="64"/>
                      <a:pt x="24" y="64"/>
                      <a:pt x="28" y="64"/>
                    </a:cubicBezTo>
                    <a:cubicBezTo>
                      <a:pt x="35" y="64"/>
                      <a:pt x="42" y="63"/>
                      <a:pt x="47" y="61"/>
                    </a:cubicBezTo>
                    <a:cubicBezTo>
                      <a:pt x="49" y="60"/>
                      <a:pt x="51" y="59"/>
                      <a:pt x="53" y="58"/>
                    </a:cubicBezTo>
                    <a:cubicBezTo>
                      <a:pt x="53" y="57"/>
                      <a:pt x="54" y="57"/>
                      <a:pt x="54" y="56"/>
                    </a:cubicBezTo>
                    <a:cubicBezTo>
                      <a:pt x="54" y="55"/>
                      <a:pt x="55" y="54"/>
                      <a:pt x="55" y="54"/>
                    </a:cubicBezTo>
                    <a:cubicBezTo>
                      <a:pt x="55" y="11"/>
                      <a:pt x="55" y="11"/>
                      <a:pt x="55" y="11"/>
                    </a:cubicBezTo>
                    <a:cubicBezTo>
                      <a:pt x="55" y="10"/>
                      <a:pt x="54" y="8"/>
                      <a:pt x="53" y="7"/>
                    </a:cubicBezTo>
                    <a:cubicBezTo>
                      <a:pt x="51" y="6"/>
                      <a:pt x="49" y="4"/>
                      <a:pt x="47" y="3"/>
                    </a:cubicBezTo>
                    <a:cubicBezTo>
                      <a:pt x="44" y="2"/>
                      <a:pt x="41" y="2"/>
                      <a:pt x="38" y="1"/>
                    </a:cubicBezTo>
                    <a:cubicBezTo>
                      <a:pt x="35" y="1"/>
                      <a:pt x="31" y="0"/>
                      <a:pt x="28" y="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64" name="Freeform 197"/>
              <p:cNvSpPr>
                <a:spLocks noEditPoints="1"/>
              </p:cNvSpPr>
              <p:nvPr/>
            </p:nvSpPr>
            <p:spPr bwMode="auto">
              <a:xfrm>
                <a:off x="6350000" y="2765425"/>
                <a:ext cx="107950" cy="128588"/>
              </a:xfrm>
              <a:custGeom>
                <a:avLst/>
                <a:gdLst>
                  <a:gd name="T0" fmla="*/ 24 w 49"/>
                  <a:gd name="T1" fmla="*/ 3 h 58"/>
                  <a:gd name="T2" fmla="*/ 45 w 49"/>
                  <a:gd name="T3" fmla="*/ 9 h 58"/>
                  <a:gd name="T4" fmla="*/ 24 w 49"/>
                  <a:gd name="T5" fmla="*/ 15 h 58"/>
                  <a:gd name="T6" fmla="*/ 4 w 49"/>
                  <a:gd name="T7" fmla="*/ 9 h 58"/>
                  <a:gd name="T8" fmla="*/ 24 w 49"/>
                  <a:gd name="T9" fmla="*/ 3 h 58"/>
                  <a:gd name="T10" fmla="*/ 24 w 49"/>
                  <a:gd name="T11" fmla="*/ 0 h 58"/>
                  <a:gd name="T12" fmla="*/ 15 w 49"/>
                  <a:gd name="T13" fmla="*/ 1 h 58"/>
                  <a:gd name="T14" fmla="*/ 7 w 49"/>
                  <a:gd name="T15" fmla="*/ 3 h 58"/>
                  <a:gd name="T16" fmla="*/ 2 w 49"/>
                  <a:gd name="T17" fmla="*/ 6 h 58"/>
                  <a:gd name="T18" fmla="*/ 0 w 49"/>
                  <a:gd name="T19" fmla="*/ 8 h 58"/>
                  <a:gd name="T20" fmla="*/ 0 w 49"/>
                  <a:gd name="T21" fmla="*/ 10 h 58"/>
                  <a:gd name="T22" fmla="*/ 0 w 49"/>
                  <a:gd name="T23" fmla="*/ 48 h 58"/>
                  <a:gd name="T24" fmla="*/ 0 w 49"/>
                  <a:gd name="T25" fmla="*/ 50 h 58"/>
                  <a:gd name="T26" fmla="*/ 2 w 49"/>
                  <a:gd name="T27" fmla="*/ 52 h 58"/>
                  <a:gd name="T28" fmla="*/ 7 w 49"/>
                  <a:gd name="T29" fmla="*/ 55 h 58"/>
                  <a:gd name="T30" fmla="*/ 15 w 49"/>
                  <a:gd name="T31" fmla="*/ 57 h 58"/>
                  <a:gd name="T32" fmla="*/ 24 w 49"/>
                  <a:gd name="T33" fmla="*/ 58 h 58"/>
                  <a:gd name="T34" fmla="*/ 42 w 49"/>
                  <a:gd name="T35" fmla="*/ 55 h 58"/>
                  <a:gd name="T36" fmla="*/ 47 w 49"/>
                  <a:gd name="T37" fmla="*/ 52 h 58"/>
                  <a:gd name="T38" fmla="*/ 48 w 49"/>
                  <a:gd name="T39" fmla="*/ 50 h 58"/>
                  <a:gd name="T40" fmla="*/ 49 w 49"/>
                  <a:gd name="T41" fmla="*/ 48 h 58"/>
                  <a:gd name="T42" fmla="*/ 49 w 49"/>
                  <a:gd name="T43" fmla="*/ 10 h 58"/>
                  <a:gd name="T44" fmla="*/ 47 w 49"/>
                  <a:gd name="T45" fmla="*/ 6 h 58"/>
                  <a:gd name="T46" fmla="*/ 42 w 49"/>
                  <a:gd name="T47" fmla="*/ 3 h 58"/>
                  <a:gd name="T48" fmla="*/ 34 w 49"/>
                  <a:gd name="T49" fmla="*/ 1 h 58"/>
                  <a:gd name="T50" fmla="*/ 24 w 49"/>
                  <a:gd name="T5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8">
                    <a:moveTo>
                      <a:pt x="24" y="3"/>
                    </a:moveTo>
                    <a:cubicBezTo>
                      <a:pt x="36" y="3"/>
                      <a:pt x="45" y="6"/>
                      <a:pt x="45" y="9"/>
                    </a:cubicBezTo>
                    <a:cubicBezTo>
                      <a:pt x="45" y="12"/>
                      <a:pt x="36" y="15"/>
                      <a:pt x="24" y="15"/>
                    </a:cubicBezTo>
                    <a:cubicBezTo>
                      <a:pt x="13" y="15"/>
                      <a:pt x="4" y="12"/>
                      <a:pt x="4" y="9"/>
                    </a:cubicBezTo>
                    <a:cubicBezTo>
                      <a:pt x="4" y="6"/>
                      <a:pt x="13" y="3"/>
                      <a:pt x="24" y="3"/>
                    </a:cubicBezTo>
                    <a:close/>
                    <a:moveTo>
                      <a:pt x="24" y="0"/>
                    </a:moveTo>
                    <a:cubicBezTo>
                      <a:pt x="15" y="1"/>
                      <a:pt x="15" y="1"/>
                      <a:pt x="15" y="1"/>
                    </a:cubicBezTo>
                    <a:cubicBezTo>
                      <a:pt x="7" y="3"/>
                      <a:pt x="7" y="3"/>
                      <a:pt x="7" y="3"/>
                    </a:cubicBezTo>
                    <a:cubicBezTo>
                      <a:pt x="2" y="6"/>
                      <a:pt x="2" y="6"/>
                      <a:pt x="2" y="6"/>
                    </a:cubicBezTo>
                    <a:cubicBezTo>
                      <a:pt x="0" y="8"/>
                      <a:pt x="0" y="8"/>
                      <a:pt x="0" y="8"/>
                    </a:cubicBezTo>
                    <a:cubicBezTo>
                      <a:pt x="0" y="10"/>
                      <a:pt x="0" y="10"/>
                      <a:pt x="0" y="10"/>
                    </a:cubicBezTo>
                    <a:cubicBezTo>
                      <a:pt x="0" y="48"/>
                      <a:pt x="0" y="48"/>
                      <a:pt x="0" y="48"/>
                    </a:cubicBezTo>
                    <a:cubicBezTo>
                      <a:pt x="0" y="50"/>
                      <a:pt x="0" y="50"/>
                      <a:pt x="0" y="50"/>
                    </a:cubicBezTo>
                    <a:cubicBezTo>
                      <a:pt x="2" y="52"/>
                      <a:pt x="2" y="52"/>
                      <a:pt x="2" y="52"/>
                    </a:cubicBezTo>
                    <a:cubicBezTo>
                      <a:pt x="7" y="55"/>
                      <a:pt x="7" y="55"/>
                      <a:pt x="7" y="55"/>
                    </a:cubicBezTo>
                    <a:cubicBezTo>
                      <a:pt x="15" y="57"/>
                      <a:pt x="15" y="57"/>
                      <a:pt x="15" y="57"/>
                    </a:cubicBezTo>
                    <a:cubicBezTo>
                      <a:pt x="18" y="58"/>
                      <a:pt x="21" y="58"/>
                      <a:pt x="24" y="58"/>
                    </a:cubicBezTo>
                    <a:cubicBezTo>
                      <a:pt x="31" y="58"/>
                      <a:pt x="37" y="57"/>
                      <a:pt x="42" y="55"/>
                    </a:cubicBezTo>
                    <a:cubicBezTo>
                      <a:pt x="44" y="54"/>
                      <a:pt x="46" y="53"/>
                      <a:pt x="47" y="52"/>
                    </a:cubicBezTo>
                    <a:cubicBezTo>
                      <a:pt x="48" y="52"/>
                      <a:pt x="48" y="51"/>
                      <a:pt x="48" y="50"/>
                    </a:cubicBezTo>
                    <a:cubicBezTo>
                      <a:pt x="49" y="50"/>
                      <a:pt x="49" y="49"/>
                      <a:pt x="49" y="48"/>
                    </a:cubicBezTo>
                    <a:cubicBezTo>
                      <a:pt x="49" y="10"/>
                      <a:pt x="49" y="10"/>
                      <a:pt x="49" y="10"/>
                    </a:cubicBezTo>
                    <a:cubicBezTo>
                      <a:pt x="49" y="8"/>
                      <a:pt x="48" y="7"/>
                      <a:pt x="47" y="6"/>
                    </a:cubicBezTo>
                    <a:cubicBezTo>
                      <a:pt x="46" y="5"/>
                      <a:pt x="44" y="4"/>
                      <a:pt x="42" y="3"/>
                    </a:cubicBezTo>
                    <a:cubicBezTo>
                      <a:pt x="40" y="2"/>
                      <a:pt x="37" y="1"/>
                      <a:pt x="34" y="1"/>
                    </a:cubicBezTo>
                    <a:cubicBezTo>
                      <a:pt x="31" y="0"/>
                      <a:pt x="28" y="0"/>
                      <a:pt x="24"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65" name="Freeform 198"/>
              <p:cNvSpPr>
                <a:spLocks noEditPoints="1"/>
              </p:cNvSpPr>
              <p:nvPr/>
            </p:nvSpPr>
            <p:spPr bwMode="auto">
              <a:xfrm>
                <a:off x="6034088" y="3138488"/>
                <a:ext cx="122238" cy="144463"/>
              </a:xfrm>
              <a:custGeom>
                <a:avLst/>
                <a:gdLst>
                  <a:gd name="T0" fmla="*/ 27 w 55"/>
                  <a:gd name="T1" fmla="*/ 3 h 65"/>
                  <a:gd name="T2" fmla="*/ 50 w 55"/>
                  <a:gd name="T3" fmla="*/ 10 h 65"/>
                  <a:gd name="T4" fmla="*/ 27 w 55"/>
                  <a:gd name="T5" fmla="*/ 16 h 65"/>
                  <a:gd name="T6" fmla="*/ 4 w 55"/>
                  <a:gd name="T7" fmla="*/ 10 h 65"/>
                  <a:gd name="T8" fmla="*/ 27 w 55"/>
                  <a:gd name="T9" fmla="*/ 3 h 65"/>
                  <a:gd name="T10" fmla="*/ 27 w 55"/>
                  <a:gd name="T11" fmla="*/ 0 h 65"/>
                  <a:gd name="T12" fmla="*/ 17 w 55"/>
                  <a:gd name="T13" fmla="*/ 1 h 65"/>
                  <a:gd name="T14" fmla="*/ 8 w 55"/>
                  <a:gd name="T15" fmla="*/ 3 h 65"/>
                  <a:gd name="T16" fmla="*/ 2 w 55"/>
                  <a:gd name="T17" fmla="*/ 7 h 65"/>
                  <a:gd name="T18" fmla="*/ 0 w 55"/>
                  <a:gd name="T19" fmla="*/ 9 h 65"/>
                  <a:gd name="T20" fmla="*/ 0 w 55"/>
                  <a:gd name="T21" fmla="*/ 11 h 65"/>
                  <a:gd name="T22" fmla="*/ 0 w 55"/>
                  <a:gd name="T23" fmla="*/ 54 h 65"/>
                  <a:gd name="T24" fmla="*/ 0 w 55"/>
                  <a:gd name="T25" fmla="*/ 56 h 65"/>
                  <a:gd name="T26" fmla="*/ 2 w 55"/>
                  <a:gd name="T27" fmla="*/ 58 h 65"/>
                  <a:gd name="T28" fmla="*/ 8 w 55"/>
                  <a:gd name="T29" fmla="*/ 62 h 65"/>
                  <a:gd name="T30" fmla="*/ 17 w 55"/>
                  <a:gd name="T31" fmla="*/ 64 h 65"/>
                  <a:gd name="T32" fmla="*/ 27 w 55"/>
                  <a:gd name="T33" fmla="*/ 65 h 65"/>
                  <a:gd name="T34" fmla="*/ 47 w 55"/>
                  <a:gd name="T35" fmla="*/ 62 h 65"/>
                  <a:gd name="T36" fmla="*/ 52 w 55"/>
                  <a:gd name="T37" fmla="*/ 58 h 65"/>
                  <a:gd name="T38" fmla="*/ 54 w 55"/>
                  <a:gd name="T39" fmla="*/ 56 h 65"/>
                  <a:gd name="T40" fmla="*/ 55 w 55"/>
                  <a:gd name="T41" fmla="*/ 54 h 65"/>
                  <a:gd name="T42" fmla="*/ 55 w 55"/>
                  <a:gd name="T43" fmla="*/ 11 h 65"/>
                  <a:gd name="T44" fmla="*/ 52 w 55"/>
                  <a:gd name="T45" fmla="*/ 7 h 65"/>
                  <a:gd name="T46" fmla="*/ 47 w 55"/>
                  <a:gd name="T47" fmla="*/ 3 h 65"/>
                  <a:gd name="T48" fmla="*/ 38 w 55"/>
                  <a:gd name="T49" fmla="*/ 1 h 65"/>
                  <a:gd name="T50" fmla="*/ 27 w 55"/>
                  <a:gd name="T51"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5">
                    <a:moveTo>
                      <a:pt x="27" y="3"/>
                    </a:moveTo>
                    <a:cubicBezTo>
                      <a:pt x="40" y="3"/>
                      <a:pt x="50" y="6"/>
                      <a:pt x="50" y="10"/>
                    </a:cubicBezTo>
                    <a:cubicBezTo>
                      <a:pt x="50" y="13"/>
                      <a:pt x="40" y="16"/>
                      <a:pt x="27" y="16"/>
                    </a:cubicBezTo>
                    <a:cubicBezTo>
                      <a:pt x="14" y="16"/>
                      <a:pt x="4" y="13"/>
                      <a:pt x="4" y="10"/>
                    </a:cubicBezTo>
                    <a:cubicBezTo>
                      <a:pt x="4" y="6"/>
                      <a:pt x="14" y="3"/>
                      <a:pt x="27" y="3"/>
                    </a:cubicBezTo>
                    <a:close/>
                    <a:moveTo>
                      <a:pt x="27" y="0"/>
                    </a:moveTo>
                    <a:cubicBezTo>
                      <a:pt x="17" y="1"/>
                      <a:pt x="17" y="1"/>
                      <a:pt x="17" y="1"/>
                    </a:cubicBezTo>
                    <a:cubicBezTo>
                      <a:pt x="8" y="3"/>
                      <a:pt x="8" y="3"/>
                      <a:pt x="8" y="3"/>
                    </a:cubicBezTo>
                    <a:cubicBezTo>
                      <a:pt x="2" y="7"/>
                      <a:pt x="2" y="7"/>
                      <a:pt x="2" y="7"/>
                    </a:cubicBezTo>
                    <a:cubicBezTo>
                      <a:pt x="0" y="9"/>
                      <a:pt x="0" y="9"/>
                      <a:pt x="0" y="9"/>
                    </a:cubicBezTo>
                    <a:cubicBezTo>
                      <a:pt x="0" y="11"/>
                      <a:pt x="0" y="11"/>
                      <a:pt x="0" y="11"/>
                    </a:cubicBezTo>
                    <a:cubicBezTo>
                      <a:pt x="0" y="54"/>
                      <a:pt x="0" y="54"/>
                      <a:pt x="0" y="54"/>
                    </a:cubicBezTo>
                    <a:cubicBezTo>
                      <a:pt x="0" y="56"/>
                      <a:pt x="0" y="56"/>
                      <a:pt x="0" y="56"/>
                    </a:cubicBezTo>
                    <a:cubicBezTo>
                      <a:pt x="2" y="58"/>
                      <a:pt x="2" y="58"/>
                      <a:pt x="2" y="58"/>
                    </a:cubicBezTo>
                    <a:cubicBezTo>
                      <a:pt x="8" y="62"/>
                      <a:pt x="8" y="62"/>
                      <a:pt x="8" y="62"/>
                    </a:cubicBezTo>
                    <a:cubicBezTo>
                      <a:pt x="17" y="64"/>
                      <a:pt x="17" y="64"/>
                      <a:pt x="17" y="64"/>
                    </a:cubicBezTo>
                    <a:cubicBezTo>
                      <a:pt x="20" y="65"/>
                      <a:pt x="23" y="65"/>
                      <a:pt x="27" y="65"/>
                    </a:cubicBezTo>
                    <a:cubicBezTo>
                      <a:pt x="35" y="65"/>
                      <a:pt x="42" y="64"/>
                      <a:pt x="47" y="62"/>
                    </a:cubicBezTo>
                    <a:cubicBezTo>
                      <a:pt x="49" y="61"/>
                      <a:pt x="51" y="60"/>
                      <a:pt x="52" y="58"/>
                    </a:cubicBezTo>
                    <a:cubicBezTo>
                      <a:pt x="53" y="58"/>
                      <a:pt x="54" y="57"/>
                      <a:pt x="54" y="56"/>
                    </a:cubicBezTo>
                    <a:cubicBezTo>
                      <a:pt x="54" y="56"/>
                      <a:pt x="55" y="55"/>
                      <a:pt x="55" y="54"/>
                    </a:cubicBezTo>
                    <a:cubicBezTo>
                      <a:pt x="55" y="11"/>
                      <a:pt x="55" y="11"/>
                      <a:pt x="55" y="11"/>
                    </a:cubicBezTo>
                    <a:cubicBezTo>
                      <a:pt x="55" y="9"/>
                      <a:pt x="54" y="8"/>
                      <a:pt x="52" y="7"/>
                    </a:cubicBezTo>
                    <a:cubicBezTo>
                      <a:pt x="51" y="5"/>
                      <a:pt x="49" y="4"/>
                      <a:pt x="47" y="3"/>
                    </a:cubicBezTo>
                    <a:cubicBezTo>
                      <a:pt x="44" y="2"/>
                      <a:pt x="41" y="2"/>
                      <a:pt x="38" y="1"/>
                    </a:cubicBezTo>
                    <a:cubicBezTo>
                      <a:pt x="35" y="0"/>
                      <a:pt x="31" y="0"/>
                      <a:pt x="27" y="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66" name="Freeform 199"/>
              <p:cNvSpPr>
                <a:spLocks/>
              </p:cNvSpPr>
              <p:nvPr/>
            </p:nvSpPr>
            <p:spPr bwMode="auto">
              <a:xfrm>
                <a:off x="5819775" y="2835275"/>
                <a:ext cx="98425" cy="14288"/>
              </a:xfrm>
              <a:custGeom>
                <a:avLst/>
                <a:gdLst>
                  <a:gd name="T0" fmla="*/ 58 w 62"/>
                  <a:gd name="T1" fmla="*/ 9 h 9"/>
                  <a:gd name="T2" fmla="*/ 5 w 62"/>
                  <a:gd name="T3" fmla="*/ 9 h 9"/>
                  <a:gd name="T4" fmla="*/ 3 w 62"/>
                  <a:gd name="T5" fmla="*/ 9 h 9"/>
                  <a:gd name="T6" fmla="*/ 3 w 62"/>
                  <a:gd name="T7" fmla="*/ 9 h 9"/>
                  <a:gd name="T8" fmla="*/ 0 w 62"/>
                  <a:gd name="T9" fmla="*/ 5 h 9"/>
                  <a:gd name="T10" fmla="*/ 3 w 62"/>
                  <a:gd name="T11" fmla="*/ 3 h 9"/>
                  <a:gd name="T12" fmla="*/ 3 w 62"/>
                  <a:gd name="T13" fmla="*/ 2 h 9"/>
                  <a:gd name="T14" fmla="*/ 5 w 62"/>
                  <a:gd name="T15" fmla="*/ 0 h 9"/>
                  <a:gd name="T16" fmla="*/ 58 w 62"/>
                  <a:gd name="T17" fmla="*/ 0 h 9"/>
                  <a:gd name="T18" fmla="*/ 59 w 62"/>
                  <a:gd name="T19" fmla="*/ 2 h 9"/>
                  <a:gd name="T20" fmla="*/ 61 w 62"/>
                  <a:gd name="T21" fmla="*/ 3 h 9"/>
                  <a:gd name="T22" fmla="*/ 62 w 62"/>
                  <a:gd name="T23" fmla="*/ 5 h 9"/>
                  <a:gd name="T24" fmla="*/ 62 w 62"/>
                  <a:gd name="T25" fmla="*/ 7 h 9"/>
                  <a:gd name="T26" fmla="*/ 61 w 62"/>
                  <a:gd name="T27" fmla="*/ 9 h 9"/>
                  <a:gd name="T28" fmla="*/ 59 w 62"/>
                  <a:gd name="T29" fmla="*/ 9 h 9"/>
                  <a:gd name="T30" fmla="*/ 58 w 62"/>
                  <a:gd name="T3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2" h="9">
                    <a:moveTo>
                      <a:pt x="58" y="9"/>
                    </a:moveTo>
                    <a:lnTo>
                      <a:pt x="5" y="9"/>
                    </a:lnTo>
                    <a:lnTo>
                      <a:pt x="3" y="9"/>
                    </a:lnTo>
                    <a:lnTo>
                      <a:pt x="3" y="9"/>
                    </a:lnTo>
                    <a:lnTo>
                      <a:pt x="0" y="5"/>
                    </a:lnTo>
                    <a:lnTo>
                      <a:pt x="3" y="3"/>
                    </a:lnTo>
                    <a:lnTo>
                      <a:pt x="3" y="2"/>
                    </a:lnTo>
                    <a:lnTo>
                      <a:pt x="5" y="0"/>
                    </a:lnTo>
                    <a:lnTo>
                      <a:pt x="58" y="0"/>
                    </a:lnTo>
                    <a:lnTo>
                      <a:pt x="59" y="2"/>
                    </a:lnTo>
                    <a:lnTo>
                      <a:pt x="61" y="3"/>
                    </a:lnTo>
                    <a:lnTo>
                      <a:pt x="62" y="5"/>
                    </a:lnTo>
                    <a:lnTo>
                      <a:pt x="62" y="7"/>
                    </a:lnTo>
                    <a:lnTo>
                      <a:pt x="61" y="9"/>
                    </a:lnTo>
                    <a:lnTo>
                      <a:pt x="59" y="9"/>
                    </a:lnTo>
                    <a:lnTo>
                      <a:pt x="58" y="9"/>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67" name="Freeform 200"/>
              <p:cNvSpPr>
                <a:spLocks/>
              </p:cNvSpPr>
              <p:nvPr/>
            </p:nvSpPr>
            <p:spPr bwMode="auto">
              <a:xfrm>
                <a:off x="5861050" y="2811463"/>
                <a:ext cx="57150" cy="12700"/>
              </a:xfrm>
              <a:custGeom>
                <a:avLst/>
                <a:gdLst>
                  <a:gd name="T0" fmla="*/ 32 w 36"/>
                  <a:gd name="T1" fmla="*/ 8 h 8"/>
                  <a:gd name="T2" fmla="*/ 2 w 36"/>
                  <a:gd name="T3" fmla="*/ 8 h 8"/>
                  <a:gd name="T4" fmla="*/ 1 w 36"/>
                  <a:gd name="T5" fmla="*/ 7 h 8"/>
                  <a:gd name="T6" fmla="*/ 0 w 36"/>
                  <a:gd name="T7" fmla="*/ 7 h 8"/>
                  <a:gd name="T8" fmla="*/ 0 w 36"/>
                  <a:gd name="T9" fmla="*/ 4 h 8"/>
                  <a:gd name="T10" fmla="*/ 0 w 36"/>
                  <a:gd name="T11" fmla="*/ 4 h 8"/>
                  <a:gd name="T12" fmla="*/ 0 w 36"/>
                  <a:gd name="T13" fmla="*/ 1 h 8"/>
                  <a:gd name="T14" fmla="*/ 0 w 36"/>
                  <a:gd name="T15" fmla="*/ 0 h 8"/>
                  <a:gd name="T16" fmla="*/ 2 w 36"/>
                  <a:gd name="T17" fmla="*/ 0 h 8"/>
                  <a:gd name="T18" fmla="*/ 32 w 36"/>
                  <a:gd name="T19" fmla="*/ 0 h 8"/>
                  <a:gd name="T20" fmla="*/ 33 w 36"/>
                  <a:gd name="T21" fmla="*/ 0 h 8"/>
                  <a:gd name="T22" fmla="*/ 35 w 36"/>
                  <a:gd name="T23" fmla="*/ 0 h 8"/>
                  <a:gd name="T24" fmla="*/ 36 w 36"/>
                  <a:gd name="T25" fmla="*/ 1 h 8"/>
                  <a:gd name="T26" fmla="*/ 36 w 36"/>
                  <a:gd name="T27" fmla="*/ 4 h 8"/>
                  <a:gd name="T28" fmla="*/ 36 w 36"/>
                  <a:gd name="T29" fmla="*/ 4 h 8"/>
                  <a:gd name="T30" fmla="*/ 35 w 36"/>
                  <a:gd name="T31" fmla="*/ 7 h 8"/>
                  <a:gd name="T32" fmla="*/ 33 w 36"/>
                  <a:gd name="T33" fmla="*/ 7 h 8"/>
                  <a:gd name="T34" fmla="*/ 32 w 36"/>
                  <a:gd name="T3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8">
                    <a:moveTo>
                      <a:pt x="32" y="8"/>
                    </a:moveTo>
                    <a:lnTo>
                      <a:pt x="2" y="8"/>
                    </a:lnTo>
                    <a:lnTo>
                      <a:pt x="1" y="7"/>
                    </a:lnTo>
                    <a:lnTo>
                      <a:pt x="0" y="7"/>
                    </a:lnTo>
                    <a:lnTo>
                      <a:pt x="0" y="4"/>
                    </a:lnTo>
                    <a:lnTo>
                      <a:pt x="0" y="4"/>
                    </a:lnTo>
                    <a:lnTo>
                      <a:pt x="0" y="1"/>
                    </a:lnTo>
                    <a:lnTo>
                      <a:pt x="0" y="0"/>
                    </a:lnTo>
                    <a:lnTo>
                      <a:pt x="2" y="0"/>
                    </a:lnTo>
                    <a:lnTo>
                      <a:pt x="32" y="0"/>
                    </a:lnTo>
                    <a:lnTo>
                      <a:pt x="33" y="0"/>
                    </a:lnTo>
                    <a:lnTo>
                      <a:pt x="35" y="0"/>
                    </a:lnTo>
                    <a:lnTo>
                      <a:pt x="36" y="1"/>
                    </a:lnTo>
                    <a:lnTo>
                      <a:pt x="36" y="4"/>
                    </a:lnTo>
                    <a:lnTo>
                      <a:pt x="36" y="4"/>
                    </a:lnTo>
                    <a:lnTo>
                      <a:pt x="35" y="7"/>
                    </a:lnTo>
                    <a:lnTo>
                      <a:pt x="33" y="7"/>
                    </a:lnTo>
                    <a:lnTo>
                      <a:pt x="32" y="8"/>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68" name="Freeform 201"/>
              <p:cNvSpPr>
                <a:spLocks/>
              </p:cNvSpPr>
              <p:nvPr/>
            </p:nvSpPr>
            <p:spPr bwMode="auto">
              <a:xfrm>
                <a:off x="5819775" y="2865438"/>
                <a:ext cx="98425" cy="12700"/>
              </a:xfrm>
              <a:custGeom>
                <a:avLst/>
                <a:gdLst>
                  <a:gd name="T0" fmla="*/ 58 w 62"/>
                  <a:gd name="T1" fmla="*/ 8 h 8"/>
                  <a:gd name="T2" fmla="*/ 5 w 62"/>
                  <a:gd name="T3" fmla="*/ 8 h 8"/>
                  <a:gd name="T4" fmla="*/ 3 w 62"/>
                  <a:gd name="T5" fmla="*/ 7 h 8"/>
                  <a:gd name="T6" fmla="*/ 3 w 62"/>
                  <a:gd name="T7" fmla="*/ 5 h 8"/>
                  <a:gd name="T8" fmla="*/ 0 w 62"/>
                  <a:gd name="T9" fmla="*/ 4 h 8"/>
                  <a:gd name="T10" fmla="*/ 3 w 62"/>
                  <a:gd name="T11" fmla="*/ 1 h 8"/>
                  <a:gd name="T12" fmla="*/ 3 w 62"/>
                  <a:gd name="T13" fmla="*/ 0 h 8"/>
                  <a:gd name="T14" fmla="*/ 5 w 62"/>
                  <a:gd name="T15" fmla="*/ 0 h 8"/>
                  <a:gd name="T16" fmla="*/ 58 w 62"/>
                  <a:gd name="T17" fmla="*/ 0 h 8"/>
                  <a:gd name="T18" fmla="*/ 59 w 62"/>
                  <a:gd name="T19" fmla="*/ 0 h 8"/>
                  <a:gd name="T20" fmla="*/ 61 w 62"/>
                  <a:gd name="T21" fmla="*/ 1 h 8"/>
                  <a:gd name="T22" fmla="*/ 62 w 62"/>
                  <a:gd name="T23" fmla="*/ 1 h 8"/>
                  <a:gd name="T24" fmla="*/ 62 w 62"/>
                  <a:gd name="T25" fmla="*/ 4 h 8"/>
                  <a:gd name="T26" fmla="*/ 61 w 62"/>
                  <a:gd name="T27" fmla="*/ 5 h 8"/>
                  <a:gd name="T28" fmla="*/ 59 w 62"/>
                  <a:gd name="T29" fmla="*/ 7 h 8"/>
                  <a:gd name="T30" fmla="*/ 58 w 62"/>
                  <a:gd name="T3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2" h="8">
                    <a:moveTo>
                      <a:pt x="58" y="8"/>
                    </a:moveTo>
                    <a:lnTo>
                      <a:pt x="5" y="8"/>
                    </a:lnTo>
                    <a:lnTo>
                      <a:pt x="3" y="7"/>
                    </a:lnTo>
                    <a:lnTo>
                      <a:pt x="3" y="5"/>
                    </a:lnTo>
                    <a:lnTo>
                      <a:pt x="0" y="4"/>
                    </a:lnTo>
                    <a:lnTo>
                      <a:pt x="3" y="1"/>
                    </a:lnTo>
                    <a:lnTo>
                      <a:pt x="3" y="0"/>
                    </a:lnTo>
                    <a:lnTo>
                      <a:pt x="5" y="0"/>
                    </a:lnTo>
                    <a:lnTo>
                      <a:pt x="58" y="0"/>
                    </a:lnTo>
                    <a:lnTo>
                      <a:pt x="59" y="0"/>
                    </a:lnTo>
                    <a:lnTo>
                      <a:pt x="61" y="1"/>
                    </a:lnTo>
                    <a:lnTo>
                      <a:pt x="62" y="1"/>
                    </a:lnTo>
                    <a:lnTo>
                      <a:pt x="62" y="4"/>
                    </a:lnTo>
                    <a:lnTo>
                      <a:pt x="61" y="5"/>
                    </a:lnTo>
                    <a:lnTo>
                      <a:pt x="59" y="7"/>
                    </a:lnTo>
                    <a:lnTo>
                      <a:pt x="58" y="8"/>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69" name="Freeform 202"/>
              <p:cNvSpPr>
                <a:spLocks/>
              </p:cNvSpPr>
              <p:nvPr/>
            </p:nvSpPr>
            <p:spPr bwMode="auto">
              <a:xfrm>
                <a:off x="5819775" y="2890838"/>
                <a:ext cx="98425" cy="14288"/>
              </a:xfrm>
              <a:custGeom>
                <a:avLst/>
                <a:gdLst>
                  <a:gd name="T0" fmla="*/ 58 w 62"/>
                  <a:gd name="T1" fmla="*/ 9 h 9"/>
                  <a:gd name="T2" fmla="*/ 5 w 62"/>
                  <a:gd name="T3" fmla="*/ 9 h 9"/>
                  <a:gd name="T4" fmla="*/ 3 w 62"/>
                  <a:gd name="T5" fmla="*/ 9 h 9"/>
                  <a:gd name="T6" fmla="*/ 3 w 62"/>
                  <a:gd name="T7" fmla="*/ 7 h 9"/>
                  <a:gd name="T8" fmla="*/ 2 w 62"/>
                  <a:gd name="T9" fmla="*/ 6 h 9"/>
                  <a:gd name="T10" fmla="*/ 0 w 62"/>
                  <a:gd name="T11" fmla="*/ 5 h 9"/>
                  <a:gd name="T12" fmla="*/ 3 w 62"/>
                  <a:gd name="T13" fmla="*/ 0 h 9"/>
                  <a:gd name="T14" fmla="*/ 3 w 62"/>
                  <a:gd name="T15" fmla="*/ 0 h 9"/>
                  <a:gd name="T16" fmla="*/ 5 w 62"/>
                  <a:gd name="T17" fmla="*/ 0 h 9"/>
                  <a:gd name="T18" fmla="*/ 58 w 62"/>
                  <a:gd name="T19" fmla="*/ 0 h 9"/>
                  <a:gd name="T20" fmla="*/ 59 w 62"/>
                  <a:gd name="T21" fmla="*/ 0 h 9"/>
                  <a:gd name="T22" fmla="*/ 61 w 62"/>
                  <a:gd name="T23" fmla="*/ 0 h 9"/>
                  <a:gd name="T24" fmla="*/ 62 w 62"/>
                  <a:gd name="T25" fmla="*/ 3 h 9"/>
                  <a:gd name="T26" fmla="*/ 62 w 62"/>
                  <a:gd name="T27" fmla="*/ 5 h 9"/>
                  <a:gd name="T28" fmla="*/ 62 w 62"/>
                  <a:gd name="T29" fmla="*/ 6 h 9"/>
                  <a:gd name="T30" fmla="*/ 61 w 62"/>
                  <a:gd name="T31" fmla="*/ 7 h 9"/>
                  <a:gd name="T32" fmla="*/ 59 w 62"/>
                  <a:gd name="T33" fmla="*/ 9 h 9"/>
                  <a:gd name="T34" fmla="*/ 58 w 62"/>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9">
                    <a:moveTo>
                      <a:pt x="58" y="9"/>
                    </a:moveTo>
                    <a:lnTo>
                      <a:pt x="5" y="9"/>
                    </a:lnTo>
                    <a:lnTo>
                      <a:pt x="3" y="9"/>
                    </a:lnTo>
                    <a:lnTo>
                      <a:pt x="3" y="7"/>
                    </a:lnTo>
                    <a:lnTo>
                      <a:pt x="2" y="6"/>
                    </a:lnTo>
                    <a:lnTo>
                      <a:pt x="0" y="5"/>
                    </a:lnTo>
                    <a:lnTo>
                      <a:pt x="3" y="0"/>
                    </a:lnTo>
                    <a:lnTo>
                      <a:pt x="3" y="0"/>
                    </a:lnTo>
                    <a:lnTo>
                      <a:pt x="5" y="0"/>
                    </a:lnTo>
                    <a:lnTo>
                      <a:pt x="58" y="0"/>
                    </a:lnTo>
                    <a:lnTo>
                      <a:pt x="59" y="0"/>
                    </a:lnTo>
                    <a:lnTo>
                      <a:pt x="61" y="0"/>
                    </a:lnTo>
                    <a:lnTo>
                      <a:pt x="62" y="3"/>
                    </a:lnTo>
                    <a:lnTo>
                      <a:pt x="62" y="5"/>
                    </a:lnTo>
                    <a:lnTo>
                      <a:pt x="62" y="6"/>
                    </a:lnTo>
                    <a:lnTo>
                      <a:pt x="61" y="7"/>
                    </a:lnTo>
                    <a:lnTo>
                      <a:pt x="59" y="9"/>
                    </a:lnTo>
                    <a:lnTo>
                      <a:pt x="58" y="9"/>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70" name="Freeform 203"/>
              <p:cNvSpPr>
                <a:spLocks noEditPoints="1"/>
              </p:cNvSpPr>
              <p:nvPr/>
            </p:nvSpPr>
            <p:spPr bwMode="auto">
              <a:xfrm>
                <a:off x="5791200" y="2757488"/>
                <a:ext cx="155575" cy="192088"/>
              </a:xfrm>
              <a:custGeom>
                <a:avLst/>
                <a:gdLst>
                  <a:gd name="T0" fmla="*/ 88 w 98"/>
                  <a:gd name="T1" fmla="*/ 0 h 121"/>
                  <a:gd name="T2" fmla="*/ 32 w 98"/>
                  <a:gd name="T3" fmla="*/ 0 h 121"/>
                  <a:gd name="T4" fmla="*/ 0 w 98"/>
                  <a:gd name="T5" fmla="*/ 31 h 121"/>
                  <a:gd name="T6" fmla="*/ 0 w 98"/>
                  <a:gd name="T7" fmla="*/ 111 h 121"/>
                  <a:gd name="T8" fmla="*/ 2 w 98"/>
                  <a:gd name="T9" fmla="*/ 115 h 121"/>
                  <a:gd name="T10" fmla="*/ 3 w 98"/>
                  <a:gd name="T11" fmla="*/ 118 h 121"/>
                  <a:gd name="T12" fmla="*/ 6 w 98"/>
                  <a:gd name="T13" fmla="*/ 119 h 121"/>
                  <a:gd name="T14" fmla="*/ 10 w 98"/>
                  <a:gd name="T15" fmla="*/ 121 h 121"/>
                  <a:gd name="T16" fmla="*/ 98 w 98"/>
                  <a:gd name="T17" fmla="*/ 121 h 121"/>
                  <a:gd name="T18" fmla="*/ 98 w 98"/>
                  <a:gd name="T19" fmla="*/ 12 h 121"/>
                  <a:gd name="T20" fmla="*/ 97 w 98"/>
                  <a:gd name="T21" fmla="*/ 7 h 121"/>
                  <a:gd name="T22" fmla="*/ 95 w 98"/>
                  <a:gd name="T23" fmla="*/ 5 h 121"/>
                  <a:gd name="T24" fmla="*/ 93 w 98"/>
                  <a:gd name="T25" fmla="*/ 2 h 121"/>
                  <a:gd name="T26" fmla="*/ 88 w 98"/>
                  <a:gd name="T27" fmla="*/ 0 h 121"/>
                  <a:gd name="T28" fmla="*/ 91 w 98"/>
                  <a:gd name="T29" fmla="*/ 112 h 121"/>
                  <a:gd name="T30" fmla="*/ 14 w 98"/>
                  <a:gd name="T31" fmla="*/ 112 h 121"/>
                  <a:gd name="T32" fmla="*/ 13 w 98"/>
                  <a:gd name="T33" fmla="*/ 112 h 121"/>
                  <a:gd name="T34" fmla="*/ 10 w 98"/>
                  <a:gd name="T35" fmla="*/ 111 h 121"/>
                  <a:gd name="T36" fmla="*/ 9 w 98"/>
                  <a:gd name="T37" fmla="*/ 108 h 121"/>
                  <a:gd name="T38" fmla="*/ 9 w 98"/>
                  <a:gd name="T39" fmla="*/ 107 h 121"/>
                  <a:gd name="T40" fmla="*/ 9 w 98"/>
                  <a:gd name="T41" fmla="*/ 35 h 121"/>
                  <a:gd name="T42" fmla="*/ 27 w 98"/>
                  <a:gd name="T43" fmla="*/ 35 h 121"/>
                  <a:gd name="T44" fmla="*/ 30 w 98"/>
                  <a:gd name="T45" fmla="*/ 35 h 121"/>
                  <a:gd name="T46" fmla="*/ 32 w 98"/>
                  <a:gd name="T47" fmla="*/ 34 h 121"/>
                  <a:gd name="T48" fmla="*/ 35 w 98"/>
                  <a:gd name="T49" fmla="*/ 31 h 121"/>
                  <a:gd name="T50" fmla="*/ 35 w 98"/>
                  <a:gd name="T51" fmla="*/ 27 h 121"/>
                  <a:gd name="T52" fmla="*/ 35 w 98"/>
                  <a:gd name="T53" fmla="*/ 9 h 121"/>
                  <a:gd name="T54" fmla="*/ 86 w 98"/>
                  <a:gd name="T55" fmla="*/ 9 h 121"/>
                  <a:gd name="T56" fmla="*/ 87 w 98"/>
                  <a:gd name="T57" fmla="*/ 9 h 121"/>
                  <a:gd name="T58" fmla="*/ 88 w 98"/>
                  <a:gd name="T59" fmla="*/ 10 h 121"/>
                  <a:gd name="T60" fmla="*/ 91 w 98"/>
                  <a:gd name="T61" fmla="*/ 13 h 121"/>
                  <a:gd name="T62" fmla="*/ 91 w 98"/>
                  <a:gd name="T63" fmla="*/ 16 h 121"/>
                  <a:gd name="T64" fmla="*/ 91 w 98"/>
                  <a:gd name="T65" fmla="*/ 112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8" h="121">
                    <a:moveTo>
                      <a:pt x="88" y="0"/>
                    </a:moveTo>
                    <a:lnTo>
                      <a:pt x="32" y="0"/>
                    </a:lnTo>
                    <a:lnTo>
                      <a:pt x="0" y="31"/>
                    </a:lnTo>
                    <a:lnTo>
                      <a:pt x="0" y="111"/>
                    </a:lnTo>
                    <a:lnTo>
                      <a:pt x="2" y="115"/>
                    </a:lnTo>
                    <a:lnTo>
                      <a:pt x="3" y="118"/>
                    </a:lnTo>
                    <a:lnTo>
                      <a:pt x="6" y="119"/>
                    </a:lnTo>
                    <a:lnTo>
                      <a:pt x="10" y="121"/>
                    </a:lnTo>
                    <a:lnTo>
                      <a:pt x="98" y="121"/>
                    </a:lnTo>
                    <a:lnTo>
                      <a:pt x="98" y="12"/>
                    </a:lnTo>
                    <a:lnTo>
                      <a:pt x="97" y="7"/>
                    </a:lnTo>
                    <a:lnTo>
                      <a:pt x="95" y="5"/>
                    </a:lnTo>
                    <a:lnTo>
                      <a:pt x="93" y="2"/>
                    </a:lnTo>
                    <a:lnTo>
                      <a:pt x="88" y="0"/>
                    </a:lnTo>
                    <a:close/>
                    <a:moveTo>
                      <a:pt x="91" y="112"/>
                    </a:moveTo>
                    <a:lnTo>
                      <a:pt x="14" y="112"/>
                    </a:lnTo>
                    <a:lnTo>
                      <a:pt x="13" y="112"/>
                    </a:lnTo>
                    <a:lnTo>
                      <a:pt x="10" y="111"/>
                    </a:lnTo>
                    <a:lnTo>
                      <a:pt x="9" y="108"/>
                    </a:lnTo>
                    <a:lnTo>
                      <a:pt x="9" y="107"/>
                    </a:lnTo>
                    <a:lnTo>
                      <a:pt x="9" y="35"/>
                    </a:lnTo>
                    <a:lnTo>
                      <a:pt x="27" y="35"/>
                    </a:lnTo>
                    <a:lnTo>
                      <a:pt x="30" y="35"/>
                    </a:lnTo>
                    <a:lnTo>
                      <a:pt x="32" y="34"/>
                    </a:lnTo>
                    <a:lnTo>
                      <a:pt x="35" y="31"/>
                    </a:lnTo>
                    <a:lnTo>
                      <a:pt x="35" y="27"/>
                    </a:lnTo>
                    <a:lnTo>
                      <a:pt x="35" y="9"/>
                    </a:lnTo>
                    <a:lnTo>
                      <a:pt x="86" y="9"/>
                    </a:lnTo>
                    <a:lnTo>
                      <a:pt x="87" y="9"/>
                    </a:lnTo>
                    <a:lnTo>
                      <a:pt x="88" y="10"/>
                    </a:lnTo>
                    <a:lnTo>
                      <a:pt x="91" y="13"/>
                    </a:lnTo>
                    <a:lnTo>
                      <a:pt x="91" y="16"/>
                    </a:lnTo>
                    <a:lnTo>
                      <a:pt x="91" y="11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71" name="Freeform 204"/>
              <p:cNvSpPr>
                <a:spLocks/>
              </p:cNvSpPr>
              <p:nvPr/>
            </p:nvSpPr>
            <p:spPr bwMode="auto">
              <a:xfrm>
                <a:off x="6280150" y="2638425"/>
                <a:ext cx="66675" cy="11113"/>
              </a:xfrm>
              <a:custGeom>
                <a:avLst/>
                <a:gdLst>
                  <a:gd name="T0" fmla="*/ 39 w 42"/>
                  <a:gd name="T1" fmla="*/ 7 h 7"/>
                  <a:gd name="T2" fmla="*/ 2 w 42"/>
                  <a:gd name="T3" fmla="*/ 7 h 7"/>
                  <a:gd name="T4" fmla="*/ 2 w 42"/>
                  <a:gd name="T5" fmla="*/ 7 h 7"/>
                  <a:gd name="T6" fmla="*/ 2 w 42"/>
                  <a:gd name="T7" fmla="*/ 5 h 7"/>
                  <a:gd name="T8" fmla="*/ 0 w 42"/>
                  <a:gd name="T9" fmla="*/ 4 h 7"/>
                  <a:gd name="T10" fmla="*/ 2 w 42"/>
                  <a:gd name="T11" fmla="*/ 3 h 7"/>
                  <a:gd name="T12" fmla="*/ 2 w 42"/>
                  <a:gd name="T13" fmla="*/ 1 h 7"/>
                  <a:gd name="T14" fmla="*/ 2 w 42"/>
                  <a:gd name="T15" fmla="*/ 0 h 7"/>
                  <a:gd name="T16" fmla="*/ 39 w 42"/>
                  <a:gd name="T17" fmla="*/ 0 h 7"/>
                  <a:gd name="T18" fmla="*/ 41 w 42"/>
                  <a:gd name="T19" fmla="*/ 1 h 7"/>
                  <a:gd name="T20" fmla="*/ 42 w 42"/>
                  <a:gd name="T21" fmla="*/ 3 h 7"/>
                  <a:gd name="T22" fmla="*/ 42 w 42"/>
                  <a:gd name="T23" fmla="*/ 4 h 7"/>
                  <a:gd name="T24" fmla="*/ 42 w 42"/>
                  <a:gd name="T25" fmla="*/ 5 h 7"/>
                  <a:gd name="T26" fmla="*/ 42 w 42"/>
                  <a:gd name="T27" fmla="*/ 5 h 7"/>
                  <a:gd name="T28" fmla="*/ 41 w 42"/>
                  <a:gd name="T29" fmla="*/ 7 h 7"/>
                  <a:gd name="T30" fmla="*/ 39 w 42"/>
                  <a:gd name="T3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7">
                    <a:moveTo>
                      <a:pt x="39" y="7"/>
                    </a:moveTo>
                    <a:lnTo>
                      <a:pt x="2" y="7"/>
                    </a:lnTo>
                    <a:lnTo>
                      <a:pt x="2" y="7"/>
                    </a:lnTo>
                    <a:lnTo>
                      <a:pt x="2" y="5"/>
                    </a:lnTo>
                    <a:lnTo>
                      <a:pt x="0" y="4"/>
                    </a:lnTo>
                    <a:lnTo>
                      <a:pt x="2" y="3"/>
                    </a:lnTo>
                    <a:lnTo>
                      <a:pt x="2" y="1"/>
                    </a:lnTo>
                    <a:lnTo>
                      <a:pt x="2" y="0"/>
                    </a:lnTo>
                    <a:lnTo>
                      <a:pt x="39" y="0"/>
                    </a:lnTo>
                    <a:lnTo>
                      <a:pt x="41" y="1"/>
                    </a:lnTo>
                    <a:lnTo>
                      <a:pt x="42" y="3"/>
                    </a:lnTo>
                    <a:lnTo>
                      <a:pt x="42" y="4"/>
                    </a:lnTo>
                    <a:lnTo>
                      <a:pt x="42" y="5"/>
                    </a:lnTo>
                    <a:lnTo>
                      <a:pt x="42" y="5"/>
                    </a:lnTo>
                    <a:lnTo>
                      <a:pt x="41" y="7"/>
                    </a:lnTo>
                    <a:lnTo>
                      <a:pt x="39" y="7"/>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72" name="Freeform 205"/>
              <p:cNvSpPr>
                <a:spLocks/>
              </p:cNvSpPr>
              <p:nvPr/>
            </p:nvSpPr>
            <p:spPr bwMode="auto">
              <a:xfrm>
                <a:off x="6307138" y="2620963"/>
                <a:ext cx="39688" cy="7938"/>
              </a:xfrm>
              <a:custGeom>
                <a:avLst/>
                <a:gdLst>
                  <a:gd name="T0" fmla="*/ 22 w 25"/>
                  <a:gd name="T1" fmla="*/ 5 h 5"/>
                  <a:gd name="T2" fmla="*/ 3 w 25"/>
                  <a:gd name="T3" fmla="*/ 5 h 5"/>
                  <a:gd name="T4" fmla="*/ 1 w 25"/>
                  <a:gd name="T5" fmla="*/ 5 h 5"/>
                  <a:gd name="T6" fmla="*/ 0 w 25"/>
                  <a:gd name="T7" fmla="*/ 5 h 5"/>
                  <a:gd name="T8" fmla="*/ 0 w 25"/>
                  <a:gd name="T9" fmla="*/ 4 h 5"/>
                  <a:gd name="T10" fmla="*/ 0 w 25"/>
                  <a:gd name="T11" fmla="*/ 2 h 5"/>
                  <a:gd name="T12" fmla="*/ 0 w 25"/>
                  <a:gd name="T13" fmla="*/ 1 h 5"/>
                  <a:gd name="T14" fmla="*/ 0 w 25"/>
                  <a:gd name="T15" fmla="*/ 1 h 5"/>
                  <a:gd name="T16" fmla="*/ 3 w 25"/>
                  <a:gd name="T17" fmla="*/ 0 h 5"/>
                  <a:gd name="T18" fmla="*/ 22 w 25"/>
                  <a:gd name="T19" fmla="*/ 0 h 5"/>
                  <a:gd name="T20" fmla="*/ 24 w 25"/>
                  <a:gd name="T21" fmla="*/ 0 h 5"/>
                  <a:gd name="T22" fmla="*/ 25 w 25"/>
                  <a:gd name="T23" fmla="*/ 1 h 5"/>
                  <a:gd name="T24" fmla="*/ 25 w 25"/>
                  <a:gd name="T25" fmla="*/ 1 h 5"/>
                  <a:gd name="T26" fmla="*/ 25 w 25"/>
                  <a:gd name="T27" fmla="*/ 2 h 5"/>
                  <a:gd name="T28" fmla="*/ 25 w 25"/>
                  <a:gd name="T29" fmla="*/ 4 h 5"/>
                  <a:gd name="T30" fmla="*/ 25 w 25"/>
                  <a:gd name="T31" fmla="*/ 5 h 5"/>
                  <a:gd name="T32" fmla="*/ 24 w 25"/>
                  <a:gd name="T33" fmla="*/ 5 h 5"/>
                  <a:gd name="T34" fmla="*/ 22 w 25"/>
                  <a:gd name="T35"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2" y="5"/>
                    </a:moveTo>
                    <a:lnTo>
                      <a:pt x="3" y="5"/>
                    </a:lnTo>
                    <a:lnTo>
                      <a:pt x="1" y="5"/>
                    </a:lnTo>
                    <a:lnTo>
                      <a:pt x="0" y="5"/>
                    </a:lnTo>
                    <a:lnTo>
                      <a:pt x="0" y="4"/>
                    </a:lnTo>
                    <a:lnTo>
                      <a:pt x="0" y="2"/>
                    </a:lnTo>
                    <a:lnTo>
                      <a:pt x="0" y="1"/>
                    </a:lnTo>
                    <a:lnTo>
                      <a:pt x="0" y="1"/>
                    </a:lnTo>
                    <a:lnTo>
                      <a:pt x="3" y="0"/>
                    </a:lnTo>
                    <a:lnTo>
                      <a:pt x="22" y="0"/>
                    </a:lnTo>
                    <a:lnTo>
                      <a:pt x="24" y="0"/>
                    </a:lnTo>
                    <a:lnTo>
                      <a:pt x="25" y="1"/>
                    </a:lnTo>
                    <a:lnTo>
                      <a:pt x="25" y="1"/>
                    </a:lnTo>
                    <a:lnTo>
                      <a:pt x="25" y="2"/>
                    </a:lnTo>
                    <a:lnTo>
                      <a:pt x="25" y="4"/>
                    </a:lnTo>
                    <a:lnTo>
                      <a:pt x="25" y="5"/>
                    </a:lnTo>
                    <a:lnTo>
                      <a:pt x="24" y="5"/>
                    </a:lnTo>
                    <a:lnTo>
                      <a:pt x="22" y="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74" name="Freeform 207"/>
              <p:cNvSpPr>
                <a:spLocks/>
              </p:cNvSpPr>
              <p:nvPr/>
            </p:nvSpPr>
            <p:spPr bwMode="auto">
              <a:xfrm>
                <a:off x="6280150" y="2678113"/>
                <a:ext cx="66675" cy="9525"/>
              </a:xfrm>
              <a:custGeom>
                <a:avLst/>
                <a:gdLst>
                  <a:gd name="T0" fmla="*/ 39 w 42"/>
                  <a:gd name="T1" fmla="*/ 6 h 6"/>
                  <a:gd name="T2" fmla="*/ 2 w 42"/>
                  <a:gd name="T3" fmla="*/ 6 h 6"/>
                  <a:gd name="T4" fmla="*/ 2 w 42"/>
                  <a:gd name="T5" fmla="*/ 6 h 6"/>
                  <a:gd name="T6" fmla="*/ 2 w 42"/>
                  <a:gd name="T7" fmla="*/ 4 h 6"/>
                  <a:gd name="T8" fmla="*/ 0 w 42"/>
                  <a:gd name="T9" fmla="*/ 4 h 6"/>
                  <a:gd name="T10" fmla="*/ 0 w 42"/>
                  <a:gd name="T11" fmla="*/ 3 h 6"/>
                  <a:gd name="T12" fmla="*/ 2 w 42"/>
                  <a:gd name="T13" fmla="*/ 0 h 6"/>
                  <a:gd name="T14" fmla="*/ 2 w 42"/>
                  <a:gd name="T15" fmla="*/ 0 h 6"/>
                  <a:gd name="T16" fmla="*/ 2 w 42"/>
                  <a:gd name="T17" fmla="*/ 0 h 6"/>
                  <a:gd name="T18" fmla="*/ 39 w 42"/>
                  <a:gd name="T19" fmla="*/ 0 h 6"/>
                  <a:gd name="T20" fmla="*/ 41 w 42"/>
                  <a:gd name="T21" fmla="*/ 0 h 6"/>
                  <a:gd name="T22" fmla="*/ 42 w 42"/>
                  <a:gd name="T23" fmla="*/ 0 h 6"/>
                  <a:gd name="T24" fmla="*/ 42 w 42"/>
                  <a:gd name="T25" fmla="*/ 1 h 6"/>
                  <a:gd name="T26" fmla="*/ 42 w 42"/>
                  <a:gd name="T27" fmla="*/ 3 h 6"/>
                  <a:gd name="T28" fmla="*/ 42 w 42"/>
                  <a:gd name="T29" fmla="*/ 4 h 6"/>
                  <a:gd name="T30" fmla="*/ 42 w 42"/>
                  <a:gd name="T31" fmla="*/ 4 h 6"/>
                  <a:gd name="T32" fmla="*/ 41 w 42"/>
                  <a:gd name="T33" fmla="*/ 6 h 6"/>
                  <a:gd name="T34" fmla="*/ 39 w 42"/>
                  <a:gd name="T3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 h="6">
                    <a:moveTo>
                      <a:pt x="39" y="6"/>
                    </a:moveTo>
                    <a:lnTo>
                      <a:pt x="2" y="6"/>
                    </a:lnTo>
                    <a:lnTo>
                      <a:pt x="2" y="6"/>
                    </a:lnTo>
                    <a:lnTo>
                      <a:pt x="2" y="4"/>
                    </a:lnTo>
                    <a:lnTo>
                      <a:pt x="0" y="4"/>
                    </a:lnTo>
                    <a:lnTo>
                      <a:pt x="0" y="3"/>
                    </a:lnTo>
                    <a:lnTo>
                      <a:pt x="2" y="0"/>
                    </a:lnTo>
                    <a:lnTo>
                      <a:pt x="2" y="0"/>
                    </a:lnTo>
                    <a:lnTo>
                      <a:pt x="2" y="0"/>
                    </a:lnTo>
                    <a:lnTo>
                      <a:pt x="39" y="0"/>
                    </a:lnTo>
                    <a:lnTo>
                      <a:pt x="41" y="0"/>
                    </a:lnTo>
                    <a:lnTo>
                      <a:pt x="42" y="0"/>
                    </a:lnTo>
                    <a:lnTo>
                      <a:pt x="42" y="1"/>
                    </a:lnTo>
                    <a:lnTo>
                      <a:pt x="42" y="3"/>
                    </a:lnTo>
                    <a:lnTo>
                      <a:pt x="42" y="4"/>
                    </a:lnTo>
                    <a:lnTo>
                      <a:pt x="42" y="4"/>
                    </a:lnTo>
                    <a:lnTo>
                      <a:pt x="41" y="6"/>
                    </a:lnTo>
                    <a:lnTo>
                      <a:pt x="39" y="6"/>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75" name="Freeform 208"/>
              <p:cNvSpPr>
                <a:spLocks noEditPoints="1"/>
              </p:cNvSpPr>
              <p:nvPr/>
            </p:nvSpPr>
            <p:spPr bwMode="auto">
              <a:xfrm>
                <a:off x="6257925" y="2584450"/>
                <a:ext cx="111125" cy="133350"/>
              </a:xfrm>
              <a:custGeom>
                <a:avLst/>
                <a:gdLst>
                  <a:gd name="T0" fmla="*/ 63 w 70"/>
                  <a:gd name="T1" fmla="*/ 0 h 84"/>
                  <a:gd name="T2" fmla="*/ 23 w 70"/>
                  <a:gd name="T3" fmla="*/ 0 h 84"/>
                  <a:gd name="T4" fmla="*/ 0 w 70"/>
                  <a:gd name="T5" fmla="*/ 21 h 84"/>
                  <a:gd name="T6" fmla="*/ 0 w 70"/>
                  <a:gd name="T7" fmla="*/ 77 h 84"/>
                  <a:gd name="T8" fmla="*/ 2 w 70"/>
                  <a:gd name="T9" fmla="*/ 80 h 84"/>
                  <a:gd name="T10" fmla="*/ 3 w 70"/>
                  <a:gd name="T11" fmla="*/ 83 h 84"/>
                  <a:gd name="T12" fmla="*/ 4 w 70"/>
                  <a:gd name="T13" fmla="*/ 84 h 84"/>
                  <a:gd name="T14" fmla="*/ 7 w 70"/>
                  <a:gd name="T15" fmla="*/ 84 h 84"/>
                  <a:gd name="T16" fmla="*/ 70 w 70"/>
                  <a:gd name="T17" fmla="*/ 84 h 84"/>
                  <a:gd name="T18" fmla="*/ 70 w 70"/>
                  <a:gd name="T19" fmla="*/ 7 h 84"/>
                  <a:gd name="T20" fmla="*/ 69 w 70"/>
                  <a:gd name="T21" fmla="*/ 4 h 84"/>
                  <a:gd name="T22" fmla="*/ 67 w 70"/>
                  <a:gd name="T23" fmla="*/ 2 h 84"/>
                  <a:gd name="T24" fmla="*/ 66 w 70"/>
                  <a:gd name="T25" fmla="*/ 0 h 84"/>
                  <a:gd name="T26" fmla="*/ 63 w 70"/>
                  <a:gd name="T27" fmla="*/ 0 h 84"/>
                  <a:gd name="T28" fmla="*/ 65 w 70"/>
                  <a:gd name="T29" fmla="*/ 79 h 84"/>
                  <a:gd name="T30" fmla="*/ 10 w 70"/>
                  <a:gd name="T31" fmla="*/ 79 h 84"/>
                  <a:gd name="T32" fmla="*/ 9 w 70"/>
                  <a:gd name="T33" fmla="*/ 79 h 84"/>
                  <a:gd name="T34" fmla="*/ 7 w 70"/>
                  <a:gd name="T35" fmla="*/ 77 h 84"/>
                  <a:gd name="T36" fmla="*/ 6 w 70"/>
                  <a:gd name="T37" fmla="*/ 76 h 84"/>
                  <a:gd name="T38" fmla="*/ 6 w 70"/>
                  <a:gd name="T39" fmla="*/ 74 h 84"/>
                  <a:gd name="T40" fmla="*/ 6 w 70"/>
                  <a:gd name="T41" fmla="*/ 24 h 84"/>
                  <a:gd name="T42" fmla="*/ 20 w 70"/>
                  <a:gd name="T43" fmla="*/ 24 h 84"/>
                  <a:gd name="T44" fmla="*/ 21 w 70"/>
                  <a:gd name="T45" fmla="*/ 24 h 84"/>
                  <a:gd name="T46" fmla="*/ 24 w 70"/>
                  <a:gd name="T47" fmla="*/ 23 h 84"/>
                  <a:gd name="T48" fmla="*/ 25 w 70"/>
                  <a:gd name="T49" fmla="*/ 21 h 84"/>
                  <a:gd name="T50" fmla="*/ 25 w 70"/>
                  <a:gd name="T51" fmla="*/ 18 h 84"/>
                  <a:gd name="T52" fmla="*/ 25 w 70"/>
                  <a:gd name="T53" fmla="*/ 6 h 84"/>
                  <a:gd name="T54" fmla="*/ 60 w 70"/>
                  <a:gd name="T55" fmla="*/ 6 h 84"/>
                  <a:gd name="T56" fmla="*/ 62 w 70"/>
                  <a:gd name="T57" fmla="*/ 6 h 84"/>
                  <a:gd name="T58" fmla="*/ 63 w 70"/>
                  <a:gd name="T59" fmla="*/ 6 h 84"/>
                  <a:gd name="T60" fmla="*/ 65 w 70"/>
                  <a:gd name="T61" fmla="*/ 9 h 84"/>
                  <a:gd name="T62" fmla="*/ 65 w 70"/>
                  <a:gd name="T63" fmla="*/ 10 h 84"/>
                  <a:gd name="T64" fmla="*/ 65 w 70"/>
                  <a:gd name="T65" fmla="*/ 7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 h="84">
                    <a:moveTo>
                      <a:pt x="63" y="0"/>
                    </a:moveTo>
                    <a:lnTo>
                      <a:pt x="23" y="0"/>
                    </a:lnTo>
                    <a:lnTo>
                      <a:pt x="0" y="21"/>
                    </a:lnTo>
                    <a:lnTo>
                      <a:pt x="0" y="77"/>
                    </a:lnTo>
                    <a:lnTo>
                      <a:pt x="2" y="80"/>
                    </a:lnTo>
                    <a:lnTo>
                      <a:pt x="3" y="83"/>
                    </a:lnTo>
                    <a:lnTo>
                      <a:pt x="4" y="84"/>
                    </a:lnTo>
                    <a:lnTo>
                      <a:pt x="7" y="84"/>
                    </a:lnTo>
                    <a:lnTo>
                      <a:pt x="70" y="84"/>
                    </a:lnTo>
                    <a:lnTo>
                      <a:pt x="70" y="7"/>
                    </a:lnTo>
                    <a:lnTo>
                      <a:pt x="69" y="4"/>
                    </a:lnTo>
                    <a:lnTo>
                      <a:pt x="67" y="2"/>
                    </a:lnTo>
                    <a:lnTo>
                      <a:pt x="66" y="0"/>
                    </a:lnTo>
                    <a:lnTo>
                      <a:pt x="63" y="0"/>
                    </a:lnTo>
                    <a:close/>
                    <a:moveTo>
                      <a:pt x="65" y="79"/>
                    </a:moveTo>
                    <a:lnTo>
                      <a:pt x="10" y="79"/>
                    </a:lnTo>
                    <a:lnTo>
                      <a:pt x="9" y="79"/>
                    </a:lnTo>
                    <a:lnTo>
                      <a:pt x="7" y="77"/>
                    </a:lnTo>
                    <a:lnTo>
                      <a:pt x="6" y="76"/>
                    </a:lnTo>
                    <a:lnTo>
                      <a:pt x="6" y="74"/>
                    </a:lnTo>
                    <a:lnTo>
                      <a:pt x="6" y="24"/>
                    </a:lnTo>
                    <a:lnTo>
                      <a:pt x="20" y="24"/>
                    </a:lnTo>
                    <a:lnTo>
                      <a:pt x="21" y="24"/>
                    </a:lnTo>
                    <a:lnTo>
                      <a:pt x="24" y="23"/>
                    </a:lnTo>
                    <a:lnTo>
                      <a:pt x="25" y="21"/>
                    </a:lnTo>
                    <a:lnTo>
                      <a:pt x="25" y="18"/>
                    </a:lnTo>
                    <a:lnTo>
                      <a:pt x="25" y="6"/>
                    </a:lnTo>
                    <a:lnTo>
                      <a:pt x="60" y="6"/>
                    </a:lnTo>
                    <a:lnTo>
                      <a:pt x="62" y="6"/>
                    </a:lnTo>
                    <a:lnTo>
                      <a:pt x="63" y="6"/>
                    </a:lnTo>
                    <a:lnTo>
                      <a:pt x="65" y="9"/>
                    </a:lnTo>
                    <a:lnTo>
                      <a:pt x="65" y="10"/>
                    </a:lnTo>
                    <a:lnTo>
                      <a:pt x="65" y="79"/>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76" name="Freeform 209"/>
              <p:cNvSpPr>
                <a:spLocks/>
              </p:cNvSpPr>
              <p:nvPr/>
            </p:nvSpPr>
            <p:spPr bwMode="auto">
              <a:xfrm>
                <a:off x="5995988" y="2689225"/>
                <a:ext cx="44450" cy="77788"/>
              </a:xfrm>
              <a:custGeom>
                <a:avLst/>
                <a:gdLst>
                  <a:gd name="T0" fmla="*/ 28 w 28"/>
                  <a:gd name="T1" fmla="*/ 17 h 49"/>
                  <a:gd name="T2" fmla="*/ 28 w 28"/>
                  <a:gd name="T3" fmla="*/ 49 h 49"/>
                  <a:gd name="T4" fmla="*/ 0 w 28"/>
                  <a:gd name="T5" fmla="*/ 32 h 49"/>
                  <a:gd name="T6" fmla="*/ 0 w 28"/>
                  <a:gd name="T7" fmla="*/ 0 h 49"/>
                  <a:gd name="T8" fmla="*/ 28 w 28"/>
                  <a:gd name="T9" fmla="*/ 17 h 49"/>
                </a:gdLst>
                <a:ahLst/>
                <a:cxnLst>
                  <a:cxn ang="0">
                    <a:pos x="T0" y="T1"/>
                  </a:cxn>
                  <a:cxn ang="0">
                    <a:pos x="T2" y="T3"/>
                  </a:cxn>
                  <a:cxn ang="0">
                    <a:pos x="T4" y="T5"/>
                  </a:cxn>
                  <a:cxn ang="0">
                    <a:pos x="T6" y="T7"/>
                  </a:cxn>
                  <a:cxn ang="0">
                    <a:pos x="T8" y="T9"/>
                  </a:cxn>
                </a:cxnLst>
                <a:rect l="0" t="0" r="r" b="b"/>
                <a:pathLst>
                  <a:path w="28" h="49">
                    <a:moveTo>
                      <a:pt x="28" y="17"/>
                    </a:moveTo>
                    <a:lnTo>
                      <a:pt x="28" y="49"/>
                    </a:lnTo>
                    <a:lnTo>
                      <a:pt x="0" y="32"/>
                    </a:lnTo>
                    <a:lnTo>
                      <a:pt x="0" y="0"/>
                    </a:lnTo>
                    <a:lnTo>
                      <a:pt x="28"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77" name="Freeform 210"/>
              <p:cNvSpPr>
                <a:spLocks/>
              </p:cNvSpPr>
              <p:nvPr/>
            </p:nvSpPr>
            <p:spPr bwMode="auto">
              <a:xfrm>
                <a:off x="6051550" y="2689225"/>
                <a:ext cx="44450" cy="77788"/>
              </a:xfrm>
              <a:custGeom>
                <a:avLst/>
                <a:gdLst>
                  <a:gd name="T0" fmla="*/ 0 w 28"/>
                  <a:gd name="T1" fmla="*/ 17 h 49"/>
                  <a:gd name="T2" fmla="*/ 0 w 28"/>
                  <a:gd name="T3" fmla="*/ 49 h 49"/>
                  <a:gd name="T4" fmla="*/ 28 w 28"/>
                  <a:gd name="T5" fmla="*/ 32 h 49"/>
                  <a:gd name="T6" fmla="*/ 28 w 28"/>
                  <a:gd name="T7" fmla="*/ 0 h 49"/>
                  <a:gd name="T8" fmla="*/ 0 w 28"/>
                  <a:gd name="T9" fmla="*/ 17 h 49"/>
                </a:gdLst>
                <a:ahLst/>
                <a:cxnLst>
                  <a:cxn ang="0">
                    <a:pos x="T0" y="T1"/>
                  </a:cxn>
                  <a:cxn ang="0">
                    <a:pos x="T2" y="T3"/>
                  </a:cxn>
                  <a:cxn ang="0">
                    <a:pos x="T4" y="T5"/>
                  </a:cxn>
                  <a:cxn ang="0">
                    <a:pos x="T6" y="T7"/>
                  </a:cxn>
                  <a:cxn ang="0">
                    <a:pos x="T8" y="T9"/>
                  </a:cxn>
                </a:cxnLst>
                <a:rect l="0" t="0" r="r" b="b"/>
                <a:pathLst>
                  <a:path w="28" h="49">
                    <a:moveTo>
                      <a:pt x="0" y="17"/>
                    </a:moveTo>
                    <a:lnTo>
                      <a:pt x="0" y="49"/>
                    </a:lnTo>
                    <a:lnTo>
                      <a:pt x="28" y="32"/>
                    </a:lnTo>
                    <a:lnTo>
                      <a:pt x="28" y="0"/>
                    </a:lnTo>
                    <a:lnTo>
                      <a:pt x="0"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78" name="Freeform 211"/>
              <p:cNvSpPr>
                <a:spLocks/>
              </p:cNvSpPr>
              <p:nvPr/>
            </p:nvSpPr>
            <p:spPr bwMode="auto">
              <a:xfrm>
                <a:off x="6000750" y="2655888"/>
                <a:ext cx="88900" cy="50800"/>
              </a:xfrm>
              <a:custGeom>
                <a:avLst/>
                <a:gdLst>
                  <a:gd name="T0" fmla="*/ 28 w 56"/>
                  <a:gd name="T1" fmla="*/ 32 h 32"/>
                  <a:gd name="T2" fmla="*/ 0 w 56"/>
                  <a:gd name="T3" fmla="*/ 15 h 32"/>
                  <a:gd name="T4" fmla="*/ 28 w 56"/>
                  <a:gd name="T5" fmla="*/ 0 h 32"/>
                  <a:gd name="T6" fmla="*/ 56 w 56"/>
                  <a:gd name="T7" fmla="*/ 15 h 32"/>
                  <a:gd name="T8" fmla="*/ 28 w 56"/>
                  <a:gd name="T9" fmla="*/ 32 h 32"/>
                </a:gdLst>
                <a:ahLst/>
                <a:cxnLst>
                  <a:cxn ang="0">
                    <a:pos x="T0" y="T1"/>
                  </a:cxn>
                  <a:cxn ang="0">
                    <a:pos x="T2" y="T3"/>
                  </a:cxn>
                  <a:cxn ang="0">
                    <a:pos x="T4" y="T5"/>
                  </a:cxn>
                  <a:cxn ang="0">
                    <a:pos x="T6" y="T7"/>
                  </a:cxn>
                  <a:cxn ang="0">
                    <a:pos x="T8" y="T9"/>
                  </a:cxn>
                </a:cxnLst>
                <a:rect l="0" t="0" r="r" b="b"/>
                <a:pathLst>
                  <a:path w="56" h="32">
                    <a:moveTo>
                      <a:pt x="28" y="32"/>
                    </a:moveTo>
                    <a:lnTo>
                      <a:pt x="0" y="15"/>
                    </a:lnTo>
                    <a:lnTo>
                      <a:pt x="28" y="0"/>
                    </a:lnTo>
                    <a:lnTo>
                      <a:pt x="56" y="15"/>
                    </a:lnTo>
                    <a:lnTo>
                      <a:pt x="28" y="32"/>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79" name="Freeform 212"/>
              <p:cNvSpPr>
                <a:spLocks/>
              </p:cNvSpPr>
              <p:nvPr/>
            </p:nvSpPr>
            <p:spPr bwMode="auto">
              <a:xfrm>
                <a:off x="6107113" y="2689225"/>
                <a:ext cx="44450" cy="77788"/>
              </a:xfrm>
              <a:custGeom>
                <a:avLst/>
                <a:gdLst>
                  <a:gd name="T0" fmla="*/ 28 w 28"/>
                  <a:gd name="T1" fmla="*/ 17 h 49"/>
                  <a:gd name="T2" fmla="*/ 28 w 28"/>
                  <a:gd name="T3" fmla="*/ 49 h 49"/>
                  <a:gd name="T4" fmla="*/ 0 w 28"/>
                  <a:gd name="T5" fmla="*/ 32 h 49"/>
                  <a:gd name="T6" fmla="*/ 0 w 28"/>
                  <a:gd name="T7" fmla="*/ 0 h 49"/>
                  <a:gd name="T8" fmla="*/ 28 w 28"/>
                  <a:gd name="T9" fmla="*/ 17 h 49"/>
                </a:gdLst>
                <a:ahLst/>
                <a:cxnLst>
                  <a:cxn ang="0">
                    <a:pos x="T0" y="T1"/>
                  </a:cxn>
                  <a:cxn ang="0">
                    <a:pos x="T2" y="T3"/>
                  </a:cxn>
                  <a:cxn ang="0">
                    <a:pos x="T4" y="T5"/>
                  </a:cxn>
                  <a:cxn ang="0">
                    <a:pos x="T6" y="T7"/>
                  </a:cxn>
                  <a:cxn ang="0">
                    <a:pos x="T8" y="T9"/>
                  </a:cxn>
                </a:cxnLst>
                <a:rect l="0" t="0" r="r" b="b"/>
                <a:pathLst>
                  <a:path w="28" h="49">
                    <a:moveTo>
                      <a:pt x="28" y="17"/>
                    </a:moveTo>
                    <a:lnTo>
                      <a:pt x="28" y="49"/>
                    </a:lnTo>
                    <a:lnTo>
                      <a:pt x="0" y="32"/>
                    </a:lnTo>
                    <a:lnTo>
                      <a:pt x="0" y="0"/>
                    </a:lnTo>
                    <a:lnTo>
                      <a:pt x="28"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80" name="Freeform 213"/>
              <p:cNvSpPr>
                <a:spLocks/>
              </p:cNvSpPr>
              <p:nvPr/>
            </p:nvSpPr>
            <p:spPr bwMode="auto">
              <a:xfrm>
                <a:off x="6162675" y="2689225"/>
                <a:ext cx="42863" cy="77788"/>
              </a:xfrm>
              <a:custGeom>
                <a:avLst/>
                <a:gdLst>
                  <a:gd name="T0" fmla="*/ 0 w 27"/>
                  <a:gd name="T1" fmla="*/ 17 h 49"/>
                  <a:gd name="T2" fmla="*/ 0 w 27"/>
                  <a:gd name="T3" fmla="*/ 49 h 49"/>
                  <a:gd name="T4" fmla="*/ 27 w 27"/>
                  <a:gd name="T5" fmla="*/ 32 h 49"/>
                  <a:gd name="T6" fmla="*/ 27 w 27"/>
                  <a:gd name="T7" fmla="*/ 0 h 49"/>
                  <a:gd name="T8" fmla="*/ 0 w 27"/>
                  <a:gd name="T9" fmla="*/ 17 h 49"/>
                </a:gdLst>
                <a:ahLst/>
                <a:cxnLst>
                  <a:cxn ang="0">
                    <a:pos x="T0" y="T1"/>
                  </a:cxn>
                  <a:cxn ang="0">
                    <a:pos x="T2" y="T3"/>
                  </a:cxn>
                  <a:cxn ang="0">
                    <a:pos x="T4" y="T5"/>
                  </a:cxn>
                  <a:cxn ang="0">
                    <a:pos x="T6" y="T7"/>
                  </a:cxn>
                  <a:cxn ang="0">
                    <a:pos x="T8" y="T9"/>
                  </a:cxn>
                </a:cxnLst>
                <a:rect l="0" t="0" r="r" b="b"/>
                <a:pathLst>
                  <a:path w="27" h="49">
                    <a:moveTo>
                      <a:pt x="0" y="17"/>
                    </a:moveTo>
                    <a:lnTo>
                      <a:pt x="0" y="49"/>
                    </a:lnTo>
                    <a:lnTo>
                      <a:pt x="27" y="32"/>
                    </a:lnTo>
                    <a:lnTo>
                      <a:pt x="27" y="0"/>
                    </a:lnTo>
                    <a:lnTo>
                      <a:pt x="0" y="1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81" name="Freeform 214"/>
              <p:cNvSpPr>
                <a:spLocks/>
              </p:cNvSpPr>
              <p:nvPr/>
            </p:nvSpPr>
            <p:spPr bwMode="auto">
              <a:xfrm>
                <a:off x="6111875" y="2655888"/>
                <a:ext cx="88900" cy="50800"/>
              </a:xfrm>
              <a:custGeom>
                <a:avLst/>
                <a:gdLst>
                  <a:gd name="T0" fmla="*/ 28 w 56"/>
                  <a:gd name="T1" fmla="*/ 32 h 32"/>
                  <a:gd name="T2" fmla="*/ 0 w 56"/>
                  <a:gd name="T3" fmla="*/ 15 h 32"/>
                  <a:gd name="T4" fmla="*/ 28 w 56"/>
                  <a:gd name="T5" fmla="*/ 0 h 32"/>
                  <a:gd name="T6" fmla="*/ 56 w 56"/>
                  <a:gd name="T7" fmla="*/ 15 h 32"/>
                  <a:gd name="T8" fmla="*/ 28 w 56"/>
                  <a:gd name="T9" fmla="*/ 32 h 32"/>
                </a:gdLst>
                <a:ahLst/>
                <a:cxnLst>
                  <a:cxn ang="0">
                    <a:pos x="T0" y="T1"/>
                  </a:cxn>
                  <a:cxn ang="0">
                    <a:pos x="T2" y="T3"/>
                  </a:cxn>
                  <a:cxn ang="0">
                    <a:pos x="T4" y="T5"/>
                  </a:cxn>
                  <a:cxn ang="0">
                    <a:pos x="T6" y="T7"/>
                  </a:cxn>
                  <a:cxn ang="0">
                    <a:pos x="T8" y="T9"/>
                  </a:cxn>
                </a:cxnLst>
                <a:rect l="0" t="0" r="r" b="b"/>
                <a:pathLst>
                  <a:path w="56" h="32">
                    <a:moveTo>
                      <a:pt x="28" y="32"/>
                    </a:moveTo>
                    <a:lnTo>
                      <a:pt x="0" y="15"/>
                    </a:lnTo>
                    <a:lnTo>
                      <a:pt x="28" y="0"/>
                    </a:lnTo>
                    <a:lnTo>
                      <a:pt x="56" y="15"/>
                    </a:lnTo>
                    <a:lnTo>
                      <a:pt x="28" y="32"/>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82" name="Freeform 215"/>
              <p:cNvSpPr>
                <a:spLocks/>
              </p:cNvSpPr>
              <p:nvPr/>
            </p:nvSpPr>
            <p:spPr bwMode="auto">
              <a:xfrm>
                <a:off x="6051550" y="2787650"/>
                <a:ext cx="44450" cy="74613"/>
              </a:xfrm>
              <a:custGeom>
                <a:avLst/>
                <a:gdLst>
                  <a:gd name="T0" fmla="*/ 28 w 28"/>
                  <a:gd name="T1" fmla="*/ 15 h 47"/>
                  <a:gd name="T2" fmla="*/ 28 w 28"/>
                  <a:gd name="T3" fmla="*/ 47 h 47"/>
                  <a:gd name="T4" fmla="*/ 0 w 28"/>
                  <a:gd name="T5" fmla="*/ 30 h 47"/>
                  <a:gd name="T6" fmla="*/ 0 w 28"/>
                  <a:gd name="T7" fmla="*/ 0 h 47"/>
                  <a:gd name="T8" fmla="*/ 28 w 28"/>
                  <a:gd name="T9" fmla="*/ 15 h 47"/>
                </a:gdLst>
                <a:ahLst/>
                <a:cxnLst>
                  <a:cxn ang="0">
                    <a:pos x="T0" y="T1"/>
                  </a:cxn>
                  <a:cxn ang="0">
                    <a:pos x="T2" y="T3"/>
                  </a:cxn>
                  <a:cxn ang="0">
                    <a:pos x="T4" y="T5"/>
                  </a:cxn>
                  <a:cxn ang="0">
                    <a:pos x="T6" y="T7"/>
                  </a:cxn>
                  <a:cxn ang="0">
                    <a:pos x="T8" y="T9"/>
                  </a:cxn>
                </a:cxnLst>
                <a:rect l="0" t="0" r="r" b="b"/>
                <a:pathLst>
                  <a:path w="28" h="47">
                    <a:moveTo>
                      <a:pt x="28" y="15"/>
                    </a:moveTo>
                    <a:lnTo>
                      <a:pt x="28" y="47"/>
                    </a:lnTo>
                    <a:lnTo>
                      <a:pt x="0" y="30"/>
                    </a:lnTo>
                    <a:lnTo>
                      <a:pt x="0" y="0"/>
                    </a:lnTo>
                    <a:lnTo>
                      <a:pt x="28" y="1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83" name="Freeform 216"/>
              <p:cNvSpPr>
                <a:spLocks/>
              </p:cNvSpPr>
              <p:nvPr/>
            </p:nvSpPr>
            <p:spPr bwMode="auto">
              <a:xfrm>
                <a:off x="6107113" y="2787650"/>
                <a:ext cx="44450" cy="74613"/>
              </a:xfrm>
              <a:custGeom>
                <a:avLst/>
                <a:gdLst>
                  <a:gd name="T0" fmla="*/ 0 w 28"/>
                  <a:gd name="T1" fmla="*/ 15 h 47"/>
                  <a:gd name="T2" fmla="*/ 0 w 28"/>
                  <a:gd name="T3" fmla="*/ 47 h 47"/>
                  <a:gd name="T4" fmla="*/ 28 w 28"/>
                  <a:gd name="T5" fmla="*/ 30 h 47"/>
                  <a:gd name="T6" fmla="*/ 28 w 28"/>
                  <a:gd name="T7" fmla="*/ 0 h 47"/>
                  <a:gd name="T8" fmla="*/ 0 w 28"/>
                  <a:gd name="T9" fmla="*/ 15 h 47"/>
                </a:gdLst>
                <a:ahLst/>
                <a:cxnLst>
                  <a:cxn ang="0">
                    <a:pos x="T0" y="T1"/>
                  </a:cxn>
                  <a:cxn ang="0">
                    <a:pos x="T2" y="T3"/>
                  </a:cxn>
                  <a:cxn ang="0">
                    <a:pos x="T4" y="T5"/>
                  </a:cxn>
                  <a:cxn ang="0">
                    <a:pos x="T6" y="T7"/>
                  </a:cxn>
                  <a:cxn ang="0">
                    <a:pos x="T8" y="T9"/>
                  </a:cxn>
                </a:cxnLst>
                <a:rect l="0" t="0" r="r" b="b"/>
                <a:pathLst>
                  <a:path w="28" h="47">
                    <a:moveTo>
                      <a:pt x="0" y="15"/>
                    </a:moveTo>
                    <a:lnTo>
                      <a:pt x="0" y="47"/>
                    </a:lnTo>
                    <a:lnTo>
                      <a:pt x="28" y="30"/>
                    </a:lnTo>
                    <a:lnTo>
                      <a:pt x="28" y="0"/>
                    </a:lnTo>
                    <a:lnTo>
                      <a:pt x="0" y="1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84" name="Freeform 217"/>
              <p:cNvSpPr>
                <a:spLocks/>
              </p:cNvSpPr>
              <p:nvPr/>
            </p:nvSpPr>
            <p:spPr bwMode="auto">
              <a:xfrm>
                <a:off x="6056313" y="2751138"/>
                <a:ext cx="88900" cy="50800"/>
              </a:xfrm>
              <a:custGeom>
                <a:avLst/>
                <a:gdLst>
                  <a:gd name="T0" fmla="*/ 28 w 56"/>
                  <a:gd name="T1" fmla="*/ 32 h 32"/>
                  <a:gd name="T2" fmla="*/ 0 w 56"/>
                  <a:gd name="T3" fmla="*/ 16 h 32"/>
                  <a:gd name="T4" fmla="*/ 28 w 56"/>
                  <a:gd name="T5" fmla="*/ 0 h 32"/>
                  <a:gd name="T6" fmla="*/ 56 w 56"/>
                  <a:gd name="T7" fmla="*/ 16 h 32"/>
                  <a:gd name="T8" fmla="*/ 28 w 56"/>
                  <a:gd name="T9" fmla="*/ 32 h 32"/>
                </a:gdLst>
                <a:ahLst/>
                <a:cxnLst>
                  <a:cxn ang="0">
                    <a:pos x="T0" y="T1"/>
                  </a:cxn>
                  <a:cxn ang="0">
                    <a:pos x="T2" y="T3"/>
                  </a:cxn>
                  <a:cxn ang="0">
                    <a:pos x="T4" y="T5"/>
                  </a:cxn>
                  <a:cxn ang="0">
                    <a:pos x="T6" y="T7"/>
                  </a:cxn>
                  <a:cxn ang="0">
                    <a:pos x="T8" y="T9"/>
                  </a:cxn>
                </a:cxnLst>
                <a:rect l="0" t="0" r="r" b="b"/>
                <a:pathLst>
                  <a:path w="56" h="32">
                    <a:moveTo>
                      <a:pt x="28" y="32"/>
                    </a:moveTo>
                    <a:lnTo>
                      <a:pt x="0" y="16"/>
                    </a:lnTo>
                    <a:lnTo>
                      <a:pt x="28" y="0"/>
                    </a:lnTo>
                    <a:lnTo>
                      <a:pt x="56" y="16"/>
                    </a:lnTo>
                    <a:lnTo>
                      <a:pt x="28" y="32"/>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85" name="Freeform 218"/>
              <p:cNvSpPr>
                <a:spLocks/>
              </p:cNvSpPr>
              <p:nvPr/>
            </p:nvSpPr>
            <p:spPr bwMode="auto">
              <a:xfrm>
                <a:off x="6005513" y="2909888"/>
                <a:ext cx="17463" cy="41275"/>
              </a:xfrm>
              <a:custGeom>
                <a:avLst/>
                <a:gdLst>
                  <a:gd name="T0" fmla="*/ 8 w 8"/>
                  <a:gd name="T1" fmla="*/ 0 h 19"/>
                  <a:gd name="T2" fmla="*/ 8 w 8"/>
                  <a:gd name="T3" fmla="*/ 19 h 19"/>
                  <a:gd name="T4" fmla="*/ 4 w 8"/>
                  <a:gd name="T5" fmla="*/ 19 h 19"/>
                  <a:gd name="T6" fmla="*/ 4 w 8"/>
                  <a:gd name="T7" fmla="*/ 4 h 19"/>
                  <a:gd name="T8" fmla="*/ 3 w 8"/>
                  <a:gd name="T9" fmla="*/ 5 h 19"/>
                  <a:gd name="T10" fmla="*/ 2 w 8"/>
                  <a:gd name="T11" fmla="*/ 6 h 19"/>
                  <a:gd name="T12" fmla="*/ 1 w 8"/>
                  <a:gd name="T13" fmla="*/ 6 h 19"/>
                  <a:gd name="T14" fmla="*/ 0 w 8"/>
                  <a:gd name="T15" fmla="*/ 6 h 19"/>
                  <a:gd name="T16" fmla="*/ 0 w 8"/>
                  <a:gd name="T17" fmla="*/ 2 h 19"/>
                  <a:gd name="T18" fmla="*/ 3 w 8"/>
                  <a:gd name="T19" fmla="*/ 1 h 19"/>
                  <a:gd name="T20" fmla="*/ 6 w 8"/>
                  <a:gd name="T21" fmla="*/ 0 h 19"/>
                  <a:gd name="T22" fmla="*/ 8 w 8"/>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9">
                    <a:moveTo>
                      <a:pt x="8" y="0"/>
                    </a:moveTo>
                    <a:cubicBezTo>
                      <a:pt x="8" y="19"/>
                      <a:pt x="8" y="19"/>
                      <a:pt x="8" y="19"/>
                    </a:cubicBezTo>
                    <a:cubicBezTo>
                      <a:pt x="4" y="19"/>
                      <a:pt x="4" y="19"/>
                      <a:pt x="4" y="19"/>
                    </a:cubicBezTo>
                    <a:cubicBezTo>
                      <a:pt x="4" y="4"/>
                      <a:pt x="4" y="4"/>
                      <a:pt x="4" y="4"/>
                    </a:cubicBezTo>
                    <a:cubicBezTo>
                      <a:pt x="4" y="4"/>
                      <a:pt x="3" y="5"/>
                      <a:pt x="3" y="5"/>
                    </a:cubicBezTo>
                    <a:cubicBezTo>
                      <a:pt x="3" y="5"/>
                      <a:pt x="3" y="5"/>
                      <a:pt x="2" y="6"/>
                    </a:cubicBezTo>
                    <a:cubicBezTo>
                      <a:pt x="2" y="6"/>
                      <a:pt x="1" y="6"/>
                      <a:pt x="1" y="6"/>
                    </a:cubicBezTo>
                    <a:cubicBezTo>
                      <a:pt x="1" y="6"/>
                      <a:pt x="0" y="6"/>
                      <a:pt x="0" y="6"/>
                    </a:cubicBezTo>
                    <a:cubicBezTo>
                      <a:pt x="0" y="2"/>
                      <a:pt x="0" y="2"/>
                      <a:pt x="0" y="2"/>
                    </a:cubicBezTo>
                    <a:cubicBezTo>
                      <a:pt x="1" y="2"/>
                      <a:pt x="2" y="2"/>
                      <a:pt x="3" y="1"/>
                    </a:cubicBezTo>
                    <a:cubicBezTo>
                      <a:pt x="4" y="1"/>
                      <a:pt x="5" y="0"/>
                      <a:pt x="6" y="0"/>
                    </a:cubicBezTo>
                    <a:lnTo>
                      <a:pt x="8"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86" name="Freeform 219"/>
              <p:cNvSpPr>
                <a:spLocks noEditPoints="1"/>
              </p:cNvSpPr>
              <p:nvPr/>
            </p:nvSpPr>
            <p:spPr bwMode="auto">
              <a:xfrm>
                <a:off x="6038850" y="2909888"/>
                <a:ext cx="33338" cy="41275"/>
              </a:xfrm>
              <a:custGeom>
                <a:avLst/>
                <a:gdLst>
                  <a:gd name="T0" fmla="*/ 8 w 15"/>
                  <a:gd name="T1" fmla="*/ 19 h 19"/>
                  <a:gd name="T2" fmla="*/ 0 w 15"/>
                  <a:gd name="T3" fmla="*/ 10 h 19"/>
                  <a:gd name="T4" fmla="*/ 2 w 15"/>
                  <a:gd name="T5" fmla="*/ 2 h 19"/>
                  <a:gd name="T6" fmla="*/ 8 w 15"/>
                  <a:gd name="T7" fmla="*/ 0 h 19"/>
                  <a:gd name="T8" fmla="*/ 15 w 15"/>
                  <a:gd name="T9" fmla="*/ 10 h 19"/>
                  <a:gd name="T10" fmla="*/ 13 w 15"/>
                  <a:gd name="T11" fmla="*/ 17 h 19"/>
                  <a:gd name="T12" fmla="*/ 8 w 15"/>
                  <a:gd name="T13" fmla="*/ 19 h 19"/>
                  <a:gd name="T14" fmla="*/ 8 w 15"/>
                  <a:gd name="T15" fmla="*/ 3 h 19"/>
                  <a:gd name="T16" fmla="*/ 5 w 15"/>
                  <a:gd name="T17" fmla="*/ 10 h 19"/>
                  <a:gd name="T18" fmla="*/ 8 w 15"/>
                  <a:gd name="T19" fmla="*/ 16 h 19"/>
                  <a:gd name="T20" fmla="*/ 10 w 15"/>
                  <a:gd name="T21" fmla="*/ 10 h 19"/>
                  <a:gd name="T22" fmla="*/ 8 w 15"/>
                  <a:gd name="T23"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9">
                    <a:moveTo>
                      <a:pt x="8" y="19"/>
                    </a:moveTo>
                    <a:cubicBezTo>
                      <a:pt x="2" y="19"/>
                      <a:pt x="0" y="17"/>
                      <a:pt x="0" y="10"/>
                    </a:cubicBezTo>
                    <a:cubicBezTo>
                      <a:pt x="0" y="6"/>
                      <a:pt x="1" y="4"/>
                      <a:pt x="2" y="2"/>
                    </a:cubicBezTo>
                    <a:cubicBezTo>
                      <a:pt x="3" y="1"/>
                      <a:pt x="5" y="0"/>
                      <a:pt x="8" y="0"/>
                    </a:cubicBezTo>
                    <a:cubicBezTo>
                      <a:pt x="12" y="0"/>
                      <a:pt x="15" y="3"/>
                      <a:pt x="15" y="10"/>
                    </a:cubicBezTo>
                    <a:cubicBezTo>
                      <a:pt x="15" y="13"/>
                      <a:pt x="14" y="15"/>
                      <a:pt x="13" y="17"/>
                    </a:cubicBezTo>
                    <a:cubicBezTo>
                      <a:pt x="11" y="19"/>
                      <a:pt x="10" y="19"/>
                      <a:pt x="8" y="19"/>
                    </a:cubicBezTo>
                    <a:close/>
                    <a:moveTo>
                      <a:pt x="8" y="3"/>
                    </a:moveTo>
                    <a:cubicBezTo>
                      <a:pt x="5" y="3"/>
                      <a:pt x="5" y="5"/>
                      <a:pt x="5" y="10"/>
                    </a:cubicBezTo>
                    <a:cubicBezTo>
                      <a:pt x="5" y="14"/>
                      <a:pt x="5" y="16"/>
                      <a:pt x="8" y="16"/>
                    </a:cubicBezTo>
                    <a:cubicBezTo>
                      <a:pt x="9" y="16"/>
                      <a:pt x="10" y="14"/>
                      <a:pt x="10" y="10"/>
                    </a:cubicBezTo>
                    <a:cubicBezTo>
                      <a:pt x="10" y="5"/>
                      <a:pt x="9" y="3"/>
                      <a:pt x="8"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87" name="Freeform 220"/>
              <p:cNvSpPr>
                <a:spLocks/>
              </p:cNvSpPr>
              <p:nvPr/>
            </p:nvSpPr>
            <p:spPr bwMode="auto">
              <a:xfrm>
                <a:off x="6080125" y="2909888"/>
                <a:ext cx="17463" cy="41275"/>
              </a:xfrm>
              <a:custGeom>
                <a:avLst/>
                <a:gdLst>
                  <a:gd name="T0" fmla="*/ 8 w 8"/>
                  <a:gd name="T1" fmla="*/ 0 h 19"/>
                  <a:gd name="T2" fmla="*/ 8 w 8"/>
                  <a:gd name="T3" fmla="*/ 19 h 19"/>
                  <a:gd name="T4" fmla="*/ 4 w 8"/>
                  <a:gd name="T5" fmla="*/ 19 h 19"/>
                  <a:gd name="T6" fmla="*/ 4 w 8"/>
                  <a:gd name="T7" fmla="*/ 4 h 19"/>
                  <a:gd name="T8" fmla="*/ 3 w 8"/>
                  <a:gd name="T9" fmla="*/ 5 h 19"/>
                  <a:gd name="T10" fmla="*/ 2 w 8"/>
                  <a:gd name="T11" fmla="*/ 6 h 19"/>
                  <a:gd name="T12" fmla="*/ 1 w 8"/>
                  <a:gd name="T13" fmla="*/ 6 h 19"/>
                  <a:gd name="T14" fmla="*/ 0 w 8"/>
                  <a:gd name="T15" fmla="*/ 6 h 19"/>
                  <a:gd name="T16" fmla="*/ 0 w 8"/>
                  <a:gd name="T17" fmla="*/ 2 h 19"/>
                  <a:gd name="T18" fmla="*/ 3 w 8"/>
                  <a:gd name="T19" fmla="*/ 1 h 19"/>
                  <a:gd name="T20" fmla="*/ 5 w 8"/>
                  <a:gd name="T21" fmla="*/ 0 h 19"/>
                  <a:gd name="T22" fmla="*/ 8 w 8"/>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9">
                    <a:moveTo>
                      <a:pt x="8" y="0"/>
                    </a:moveTo>
                    <a:cubicBezTo>
                      <a:pt x="8" y="19"/>
                      <a:pt x="8" y="19"/>
                      <a:pt x="8" y="19"/>
                    </a:cubicBezTo>
                    <a:cubicBezTo>
                      <a:pt x="4" y="19"/>
                      <a:pt x="4" y="19"/>
                      <a:pt x="4" y="19"/>
                    </a:cubicBezTo>
                    <a:cubicBezTo>
                      <a:pt x="4" y="4"/>
                      <a:pt x="4" y="4"/>
                      <a:pt x="4" y="4"/>
                    </a:cubicBezTo>
                    <a:cubicBezTo>
                      <a:pt x="4" y="4"/>
                      <a:pt x="3" y="5"/>
                      <a:pt x="3" y="5"/>
                    </a:cubicBezTo>
                    <a:cubicBezTo>
                      <a:pt x="3" y="5"/>
                      <a:pt x="2" y="5"/>
                      <a:pt x="2" y="6"/>
                    </a:cubicBezTo>
                    <a:cubicBezTo>
                      <a:pt x="2" y="6"/>
                      <a:pt x="1" y="6"/>
                      <a:pt x="1" y="6"/>
                    </a:cubicBezTo>
                    <a:cubicBezTo>
                      <a:pt x="0" y="6"/>
                      <a:pt x="0" y="6"/>
                      <a:pt x="0" y="6"/>
                    </a:cubicBezTo>
                    <a:cubicBezTo>
                      <a:pt x="0" y="2"/>
                      <a:pt x="0" y="2"/>
                      <a:pt x="0" y="2"/>
                    </a:cubicBezTo>
                    <a:cubicBezTo>
                      <a:pt x="1" y="2"/>
                      <a:pt x="2" y="2"/>
                      <a:pt x="3" y="1"/>
                    </a:cubicBezTo>
                    <a:cubicBezTo>
                      <a:pt x="4" y="1"/>
                      <a:pt x="5" y="0"/>
                      <a:pt x="5" y="0"/>
                    </a:cubicBezTo>
                    <a:lnTo>
                      <a:pt x="8"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88" name="Freeform 221"/>
              <p:cNvSpPr>
                <a:spLocks noEditPoints="1"/>
              </p:cNvSpPr>
              <p:nvPr/>
            </p:nvSpPr>
            <p:spPr bwMode="auto">
              <a:xfrm>
                <a:off x="6000750" y="2968625"/>
                <a:ext cx="30163" cy="44450"/>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8 h 20"/>
                  <a:gd name="T12" fmla="*/ 7 w 14"/>
                  <a:gd name="T13" fmla="*/ 20 h 20"/>
                  <a:gd name="T14" fmla="*/ 7 w 14"/>
                  <a:gd name="T15" fmla="*/ 4 h 20"/>
                  <a:gd name="T16" fmla="*/ 4 w 14"/>
                  <a:gd name="T17" fmla="*/ 10 h 20"/>
                  <a:gd name="T18" fmla="*/ 7 w 14"/>
                  <a:gd name="T19" fmla="*/ 17 h 20"/>
                  <a:gd name="T20" fmla="*/ 10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4"/>
                      <a:pt x="14" y="10"/>
                    </a:cubicBezTo>
                    <a:cubicBezTo>
                      <a:pt x="14" y="13"/>
                      <a:pt x="14" y="16"/>
                      <a:pt x="13" y="18"/>
                    </a:cubicBezTo>
                    <a:cubicBezTo>
                      <a:pt x="11" y="19"/>
                      <a:pt x="9" y="20"/>
                      <a:pt x="7" y="20"/>
                    </a:cubicBezTo>
                    <a:close/>
                    <a:moveTo>
                      <a:pt x="7" y="4"/>
                    </a:moveTo>
                    <a:cubicBezTo>
                      <a:pt x="6" y="4"/>
                      <a:pt x="4" y="6"/>
                      <a:pt x="4" y="10"/>
                    </a:cubicBezTo>
                    <a:cubicBezTo>
                      <a:pt x="4" y="15"/>
                      <a:pt x="6" y="17"/>
                      <a:pt x="7" y="17"/>
                    </a:cubicBezTo>
                    <a:cubicBezTo>
                      <a:pt x="9" y="17"/>
                      <a:pt x="10" y="15"/>
                      <a:pt x="10" y="10"/>
                    </a:cubicBezTo>
                    <a:cubicBezTo>
                      <a:pt x="10" y="6"/>
                      <a:pt x="9" y="4"/>
                      <a:pt x="7" y="4"/>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89" name="Freeform 222"/>
              <p:cNvSpPr>
                <a:spLocks/>
              </p:cNvSpPr>
              <p:nvPr/>
            </p:nvSpPr>
            <p:spPr bwMode="auto">
              <a:xfrm>
                <a:off x="6042025" y="2968625"/>
                <a:ext cx="20638" cy="44450"/>
              </a:xfrm>
              <a:custGeom>
                <a:avLst/>
                <a:gdLst>
                  <a:gd name="T0" fmla="*/ 9 w 9"/>
                  <a:gd name="T1" fmla="*/ 0 h 20"/>
                  <a:gd name="T2" fmla="*/ 9 w 9"/>
                  <a:gd name="T3" fmla="*/ 20 h 20"/>
                  <a:gd name="T4" fmla="*/ 4 w 9"/>
                  <a:gd name="T5" fmla="*/ 20 h 20"/>
                  <a:gd name="T6" fmla="*/ 4 w 9"/>
                  <a:gd name="T7" fmla="*/ 5 h 20"/>
                  <a:gd name="T8" fmla="*/ 4 w 9"/>
                  <a:gd name="T9" fmla="*/ 6 h 20"/>
                  <a:gd name="T10" fmla="*/ 3 w 9"/>
                  <a:gd name="T11" fmla="*/ 6 h 20"/>
                  <a:gd name="T12" fmla="*/ 1 w 9"/>
                  <a:gd name="T13" fmla="*/ 6 h 20"/>
                  <a:gd name="T14" fmla="*/ 0 w 9"/>
                  <a:gd name="T15" fmla="*/ 7 h 20"/>
                  <a:gd name="T16" fmla="*/ 0 w 9"/>
                  <a:gd name="T17" fmla="*/ 3 h 20"/>
                  <a:gd name="T18" fmla="*/ 4 w 9"/>
                  <a:gd name="T19" fmla="*/ 2 h 20"/>
                  <a:gd name="T20" fmla="*/ 6 w 9"/>
                  <a:gd name="T21" fmla="*/ 0 h 20"/>
                  <a:gd name="T22" fmla="*/ 9 w 9"/>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0">
                    <a:moveTo>
                      <a:pt x="9" y="0"/>
                    </a:moveTo>
                    <a:cubicBezTo>
                      <a:pt x="9" y="20"/>
                      <a:pt x="9" y="20"/>
                      <a:pt x="9" y="20"/>
                    </a:cubicBezTo>
                    <a:cubicBezTo>
                      <a:pt x="4" y="20"/>
                      <a:pt x="4" y="20"/>
                      <a:pt x="4" y="20"/>
                    </a:cubicBezTo>
                    <a:cubicBezTo>
                      <a:pt x="4" y="5"/>
                      <a:pt x="4" y="5"/>
                      <a:pt x="4" y="5"/>
                    </a:cubicBezTo>
                    <a:cubicBezTo>
                      <a:pt x="4" y="5"/>
                      <a:pt x="4" y="6"/>
                      <a:pt x="4" y="6"/>
                    </a:cubicBezTo>
                    <a:cubicBezTo>
                      <a:pt x="4" y="6"/>
                      <a:pt x="3" y="6"/>
                      <a:pt x="3" y="6"/>
                    </a:cubicBezTo>
                    <a:cubicBezTo>
                      <a:pt x="2" y="6"/>
                      <a:pt x="2" y="6"/>
                      <a:pt x="1" y="6"/>
                    </a:cubicBezTo>
                    <a:cubicBezTo>
                      <a:pt x="1" y="7"/>
                      <a:pt x="1" y="7"/>
                      <a:pt x="0" y="7"/>
                    </a:cubicBezTo>
                    <a:cubicBezTo>
                      <a:pt x="0" y="3"/>
                      <a:pt x="0" y="3"/>
                      <a:pt x="0" y="3"/>
                    </a:cubicBezTo>
                    <a:cubicBezTo>
                      <a:pt x="1" y="3"/>
                      <a:pt x="3" y="2"/>
                      <a:pt x="4" y="2"/>
                    </a:cubicBezTo>
                    <a:cubicBezTo>
                      <a:pt x="4" y="2"/>
                      <a:pt x="6" y="1"/>
                      <a:pt x="6" y="0"/>
                    </a:cubicBezTo>
                    <a:lnTo>
                      <a:pt x="9"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90" name="Freeform 223"/>
              <p:cNvSpPr>
                <a:spLocks noEditPoints="1"/>
              </p:cNvSpPr>
              <p:nvPr/>
            </p:nvSpPr>
            <p:spPr bwMode="auto">
              <a:xfrm>
                <a:off x="6075363" y="2968625"/>
                <a:ext cx="31750" cy="44450"/>
              </a:xfrm>
              <a:custGeom>
                <a:avLst/>
                <a:gdLst>
                  <a:gd name="T0" fmla="*/ 6 w 14"/>
                  <a:gd name="T1" fmla="*/ 20 h 20"/>
                  <a:gd name="T2" fmla="*/ 0 w 14"/>
                  <a:gd name="T3" fmla="*/ 10 h 20"/>
                  <a:gd name="T4" fmla="*/ 1 w 14"/>
                  <a:gd name="T5" fmla="*/ 3 h 20"/>
                  <a:gd name="T6" fmla="*/ 7 w 14"/>
                  <a:gd name="T7" fmla="*/ 0 h 20"/>
                  <a:gd name="T8" fmla="*/ 14 w 14"/>
                  <a:gd name="T9" fmla="*/ 10 h 20"/>
                  <a:gd name="T10" fmla="*/ 12 w 14"/>
                  <a:gd name="T11" fmla="*/ 18 h 20"/>
                  <a:gd name="T12" fmla="*/ 6 w 14"/>
                  <a:gd name="T13" fmla="*/ 20 h 20"/>
                  <a:gd name="T14" fmla="*/ 7 w 14"/>
                  <a:gd name="T15" fmla="*/ 4 h 20"/>
                  <a:gd name="T16" fmla="*/ 4 w 14"/>
                  <a:gd name="T17" fmla="*/ 10 h 20"/>
                  <a:gd name="T18" fmla="*/ 7 w 14"/>
                  <a:gd name="T19" fmla="*/ 17 h 20"/>
                  <a:gd name="T20" fmla="*/ 9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6" y="20"/>
                    </a:moveTo>
                    <a:cubicBezTo>
                      <a:pt x="2" y="20"/>
                      <a:pt x="0" y="17"/>
                      <a:pt x="0" y="10"/>
                    </a:cubicBezTo>
                    <a:cubicBezTo>
                      <a:pt x="0" y="7"/>
                      <a:pt x="0" y="5"/>
                      <a:pt x="1" y="3"/>
                    </a:cubicBezTo>
                    <a:cubicBezTo>
                      <a:pt x="3" y="1"/>
                      <a:pt x="5" y="0"/>
                      <a:pt x="7" y="0"/>
                    </a:cubicBezTo>
                    <a:cubicBezTo>
                      <a:pt x="11" y="0"/>
                      <a:pt x="14" y="4"/>
                      <a:pt x="14" y="10"/>
                    </a:cubicBezTo>
                    <a:cubicBezTo>
                      <a:pt x="14" y="13"/>
                      <a:pt x="13" y="16"/>
                      <a:pt x="12" y="18"/>
                    </a:cubicBezTo>
                    <a:cubicBezTo>
                      <a:pt x="10" y="19"/>
                      <a:pt x="9" y="20"/>
                      <a:pt x="6" y="20"/>
                    </a:cubicBezTo>
                    <a:close/>
                    <a:moveTo>
                      <a:pt x="7" y="4"/>
                    </a:moveTo>
                    <a:cubicBezTo>
                      <a:pt x="5" y="4"/>
                      <a:pt x="4" y="6"/>
                      <a:pt x="4" y="10"/>
                    </a:cubicBezTo>
                    <a:cubicBezTo>
                      <a:pt x="4" y="15"/>
                      <a:pt x="5" y="17"/>
                      <a:pt x="7" y="17"/>
                    </a:cubicBezTo>
                    <a:cubicBezTo>
                      <a:pt x="8" y="17"/>
                      <a:pt x="9" y="15"/>
                      <a:pt x="9" y="10"/>
                    </a:cubicBezTo>
                    <a:cubicBezTo>
                      <a:pt x="9" y="6"/>
                      <a:pt x="8" y="4"/>
                      <a:pt x="7" y="4"/>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91" name="Freeform 224"/>
              <p:cNvSpPr>
                <a:spLocks noEditPoints="1"/>
              </p:cNvSpPr>
              <p:nvPr/>
            </p:nvSpPr>
            <p:spPr bwMode="auto">
              <a:xfrm>
                <a:off x="6000750" y="3032125"/>
                <a:ext cx="30163" cy="44450"/>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7 h 20"/>
                  <a:gd name="T12" fmla="*/ 7 w 14"/>
                  <a:gd name="T13" fmla="*/ 20 h 20"/>
                  <a:gd name="T14" fmla="*/ 7 w 14"/>
                  <a:gd name="T15" fmla="*/ 3 h 20"/>
                  <a:gd name="T16" fmla="*/ 4 w 14"/>
                  <a:gd name="T17" fmla="*/ 10 h 20"/>
                  <a:gd name="T18" fmla="*/ 7 w 14"/>
                  <a:gd name="T19" fmla="*/ 17 h 20"/>
                  <a:gd name="T20" fmla="*/ 10 w 14"/>
                  <a:gd name="T21" fmla="*/ 10 h 20"/>
                  <a:gd name="T22" fmla="*/ 7 w 14"/>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3"/>
                      <a:pt x="14" y="10"/>
                    </a:cubicBezTo>
                    <a:cubicBezTo>
                      <a:pt x="14" y="13"/>
                      <a:pt x="14" y="15"/>
                      <a:pt x="13" y="17"/>
                    </a:cubicBezTo>
                    <a:cubicBezTo>
                      <a:pt x="11" y="19"/>
                      <a:pt x="9" y="20"/>
                      <a:pt x="7" y="20"/>
                    </a:cubicBezTo>
                    <a:close/>
                    <a:moveTo>
                      <a:pt x="7" y="3"/>
                    </a:moveTo>
                    <a:cubicBezTo>
                      <a:pt x="6" y="3"/>
                      <a:pt x="4" y="6"/>
                      <a:pt x="4" y="10"/>
                    </a:cubicBezTo>
                    <a:cubicBezTo>
                      <a:pt x="4" y="15"/>
                      <a:pt x="6" y="17"/>
                      <a:pt x="7" y="17"/>
                    </a:cubicBezTo>
                    <a:cubicBezTo>
                      <a:pt x="9" y="17"/>
                      <a:pt x="10" y="14"/>
                      <a:pt x="10" y="10"/>
                    </a:cubicBezTo>
                    <a:cubicBezTo>
                      <a:pt x="10"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92" name="Freeform 225"/>
              <p:cNvSpPr>
                <a:spLocks noEditPoints="1"/>
              </p:cNvSpPr>
              <p:nvPr/>
            </p:nvSpPr>
            <p:spPr bwMode="auto">
              <a:xfrm>
                <a:off x="6038850" y="3032125"/>
                <a:ext cx="33338" cy="44450"/>
              </a:xfrm>
              <a:custGeom>
                <a:avLst/>
                <a:gdLst>
                  <a:gd name="T0" fmla="*/ 8 w 15"/>
                  <a:gd name="T1" fmla="*/ 20 h 20"/>
                  <a:gd name="T2" fmla="*/ 0 w 15"/>
                  <a:gd name="T3" fmla="*/ 10 h 20"/>
                  <a:gd name="T4" fmla="*/ 2 w 15"/>
                  <a:gd name="T5" fmla="*/ 3 h 20"/>
                  <a:gd name="T6" fmla="*/ 8 w 15"/>
                  <a:gd name="T7" fmla="*/ 0 h 20"/>
                  <a:gd name="T8" fmla="*/ 15 w 15"/>
                  <a:gd name="T9" fmla="*/ 10 h 20"/>
                  <a:gd name="T10" fmla="*/ 13 w 15"/>
                  <a:gd name="T11" fmla="*/ 17 h 20"/>
                  <a:gd name="T12" fmla="*/ 8 w 15"/>
                  <a:gd name="T13" fmla="*/ 20 h 20"/>
                  <a:gd name="T14" fmla="*/ 8 w 15"/>
                  <a:gd name="T15" fmla="*/ 3 h 20"/>
                  <a:gd name="T16" fmla="*/ 5 w 15"/>
                  <a:gd name="T17" fmla="*/ 10 h 20"/>
                  <a:gd name="T18" fmla="*/ 8 w 15"/>
                  <a:gd name="T19" fmla="*/ 17 h 20"/>
                  <a:gd name="T20" fmla="*/ 10 w 15"/>
                  <a:gd name="T21" fmla="*/ 10 h 20"/>
                  <a:gd name="T22" fmla="*/ 8 w 15"/>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0">
                    <a:moveTo>
                      <a:pt x="8" y="20"/>
                    </a:moveTo>
                    <a:cubicBezTo>
                      <a:pt x="2" y="20"/>
                      <a:pt x="0" y="17"/>
                      <a:pt x="0" y="10"/>
                    </a:cubicBezTo>
                    <a:cubicBezTo>
                      <a:pt x="0" y="7"/>
                      <a:pt x="1" y="5"/>
                      <a:pt x="2" y="3"/>
                    </a:cubicBezTo>
                    <a:cubicBezTo>
                      <a:pt x="3" y="1"/>
                      <a:pt x="5" y="0"/>
                      <a:pt x="8" y="0"/>
                    </a:cubicBezTo>
                    <a:cubicBezTo>
                      <a:pt x="12" y="0"/>
                      <a:pt x="15" y="3"/>
                      <a:pt x="15" y="10"/>
                    </a:cubicBezTo>
                    <a:cubicBezTo>
                      <a:pt x="15" y="13"/>
                      <a:pt x="14" y="15"/>
                      <a:pt x="13" y="17"/>
                    </a:cubicBezTo>
                    <a:cubicBezTo>
                      <a:pt x="11" y="19"/>
                      <a:pt x="10" y="20"/>
                      <a:pt x="8" y="20"/>
                    </a:cubicBezTo>
                    <a:close/>
                    <a:moveTo>
                      <a:pt x="8" y="3"/>
                    </a:moveTo>
                    <a:cubicBezTo>
                      <a:pt x="5" y="3"/>
                      <a:pt x="5" y="6"/>
                      <a:pt x="5" y="10"/>
                    </a:cubicBezTo>
                    <a:cubicBezTo>
                      <a:pt x="5" y="15"/>
                      <a:pt x="5" y="17"/>
                      <a:pt x="8" y="17"/>
                    </a:cubicBezTo>
                    <a:cubicBezTo>
                      <a:pt x="9" y="17"/>
                      <a:pt x="10" y="14"/>
                      <a:pt x="10" y="10"/>
                    </a:cubicBezTo>
                    <a:cubicBezTo>
                      <a:pt x="10" y="5"/>
                      <a:pt x="9" y="3"/>
                      <a:pt x="8"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93" name="Freeform 226"/>
              <p:cNvSpPr>
                <a:spLocks/>
              </p:cNvSpPr>
              <p:nvPr/>
            </p:nvSpPr>
            <p:spPr bwMode="auto">
              <a:xfrm>
                <a:off x="6080125" y="3032125"/>
                <a:ext cx="17463" cy="44450"/>
              </a:xfrm>
              <a:custGeom>
                <a:avLst/>
                <a:gdLst>
                  <a:gd name="T0" fmla="*/ 8 w 8"/>
                  <a:gd name="T1" fmla="*/ 0 h 20"/>
                  <a:gd name="T2" fmla="*/ 8 w 8"/>
                  <a:gd name="T3" fmla="*/ 20 h 20"/>
                  <a:gd name="T4" fmla="*/ 4 w 8"/>
                  <a:gd name="T5" fmla="*/ 20 h 20"/>
                  <a:gd name="T6" fmla="*/ 4 w 8"/>
                  <a:gd name="T7" fmla="*/ 5 h 20"/>
                  <a:gd name="T8" fmla="*/ 3 w 8"/>
                  <a:gd name="T9" fmla="*/ 5 h 20"/>
                  <a:gd name="T10" fmla="*/ 2 w 8"/>
                  <a:gd name="T11" fmla="*/ 6 h 20"/>
                  <a:gd name="T12" fmla="*/ 1 w 8"/>
                  <a:gd name="T13" fmla="*/ 6 h 20"/>
                  <a:gd name="T14" fmla="*/ 0 w 8"/>
                  <a:gd name="T15" fmla="*/ 7 h 20"/>
                  <a:gd name="T16" fmla="*/ 0 w 8"/>
                  <a:gd name="T17" fmla="*/ 3 h 20"/>
                  <a:gd name="T18" fmla="*/ 3 w 8"/>
                  <a:gd name="T19" fmla="*/ 2 h 20"/>
                  <a:gd name="T20" fmla="*/ 5 w 8"/>
                  <a:gd name="T21" fmla="*/ 0 h 20"/>
                  <a:gd name="T22" fmla="*/ 8 w 8"/>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0">
                    <a:moveTo>
                      <a:pt x="8" y="0"/>
                    </a:moveTo>
                    <a:cubicBezTo>
                      <a:pt x="8" y="20"/>
                      <a:pt x="8" y="20"/>
                      <a:pt x="8" y="20"/>
                    </a:cubicBezTo>
                    <a:cubicBezTo>
                      <a:pt x="4" y="20"/>
                      <a:pt x="4" y="20"/>
                      <a:pt x="4" y="20"/>
                    </a:cubicBezTo>
                    <a:cubicBezTo>
                      <a:pt x="4" y="5"/>
                      <a:pt x="4" y="5"/>
                      <a:pt x="4" y="5"/>
                    </a:cubicBezTo>
                    <a:cubicBezTo>
                      <a:pt x="4" y="5"/>
                      <a:pt x="3" y="5"/>
                      <a:pt x="3" y="5"/>
                    </a:cubicBezTo>
                    <a:cubicBezTo>
                      <a:pt x="3" y="5"/>
                      <a:pt x="2" y="6"/>
                      <a:pt x="2" y="6"/>
                    </a:cubicBezTo>
                    <a:cubicBezTo>
                      <a:pt x="2" y="6"/>
                      <a:pt x="1" y="6"/>
                      <a:pt x="1" y="6"/>
                    </a:cubicBezTo>
                    <a:cubicBezTo>
                      <a:pt x="0" y="6"/>
                      <a:pt x="0" y="6"/>
                      <a:pt x="0" y="7"/>
                    </a:cubicBezTo>
                    <a:cubicBezTo>
                      <a:pt x="0" y="3"/>
                      <a:pt x="0" y="3"/>
                      <a:pt x="0" y="3"/>
                    </a:cubicBezTo>
                    <a:cubicBezTo>
                      <a:pt x="1" y="3"/>
                      <a:pt x="2" y="2"/>
                      <a:pt x="3" y="2"/>
                    </a:cubicBezTo>
                    <a:cubicBezTo>
                      <a:pt x="4" y="1"/>
                      <a:pt x="5" y="1"/>
                      <a:pt x="5" y="0"/>
                    </a:cubicBezTo>
                    <a:lnTo>
                      <a:pt x="8"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94" name="Freeform 227"/>
              <p:cNvSpPr>
                <a:spLocks/>
              </p:cNvSpPr>
              <p:nvPr/>
            </p:nvSpPr>
            <p:spPr bwMode="auto">
              <a:xfrm>
                <a:off x="6153150" y="2909888"/>
                <a:ext cx="22225" cy="41275"/>
              </a:xfrm>
              <a:custGeom>
                <a:avLst/>
                <a:gdLst>
                  <a:gd name="T0" fmla="*/ 10 w 10"/>
                  <a:gd name="T1" fmla="*/ 0 h 19"/>
                  <a:gd name="T2" fmla="*/ 10 w 10"/>
                  <a:gd name="T3" fmla="*/ 19 h 19"/>
                  <a:gd name="T4" fmla="*/ 5 w 10"/>
                  <a:gd name="T5" fmla="*/ 19 h 19"/>
                  <a:gd name="T6" fmla="*/ 5 w 10"/>
                  <a:gd name="T7" fmla="*/ 4 h 19"/>
                  <a:gd name="T8" fmla="*/ 4 w 10"/>
                  <a:gd name="T9" fmla="*/ 5 h 19"/>
                  <a:gd name="T10" fmla="*/ 3 w 10"/>
                  <a:gd name="T11" fmla="*/ 6 h 19"/>
                  <a:gd name="T12" fmla="*/ 2 w 10"/>
                  <a:gd name="T13" fmla="*/ 6 h 19"/>
                  <a:gd name="T14" fmla="*/ 0 w 10"/>
                  <a:gd name="T15" fmla="*/ 6 h 19"/>
                  <a:gd name="T16" fmla="*/ 0 w 10"/>
                  <a:gd name="T17" fmla="*/ 2 h 19"/>
                  <a:gd name="T18" fmla="*/ 4 w 10"/>
                  <a:gd name="T19" fmla="*/ 1 h 19"/>
                  <a:gd name="T20" fmla="*/ 7 w 10"/>
                  <a:gd name="T21" fmla="*/ 0 h 19"/>
                  <a:gd name="T22" fmla="*/ 10 w 10"/>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9">
                    <a:moveTo>
                      <a:pt x="10" y="0"/>
                    </a:moveTo>
                    <a:cubicBezTo>
                      <a:pt x="10" y="19"/>
                      <a:pt x="10" y="19"/>
                      <a:pt x="10" y="19"/>
                    </a:cubicBezTo>
                    <a:cubicBezTo>
                      <a:pt x="5" y="19"/>
                      <a:pt x="5" y="19"/>
                      <a:pt x="5" y="19"/>
                    </a:cubicBezTo>
                    <a:cubicBezTo>
                      <a:pt x="5" y="4"/>
                      <a:pt x="5" y="4"/>
                      <a:pt x="5" y="4"/>
                    </a:cubicBezTo>
                    <a:cubicBezTo>
                      <a:pt x="5" y="4"/>
                      <a:pt x="4" y="5"/>
                      <a:pt x="4" y="5"/>
                    </a:cubicBezTo>
                    <a:cubicBezTo>
                      <a:pt x="4" y="5"/>
                      <a:pt x="3" y="5"/>
                      <a:pt x="3" y="6"/>
                    </a:cubicBezTo>
                    <a:cubicBezTo>
                      <a:pt x="3" y="6"/>
                      <a:pt x="2" y="6"/>
                      <a:pt x="2" y="6"/>
                    </a:cubicBezTo>
                    <a:cubicBezTo>
                      <a:pt x="1" y="6"/>
                      <a:pt x="1" y="6"/>
                      <a:pt x="0" y="6"/>
                    </a:cubicBezTo>
                    <a:cubicBezTo>
                      <a:pt x="0" y="2"/>
                      <a:pt x="0" y="2"/>
                      <a:pt x="0" y="2"/>
                    </a:cubicBezTo>
                    <a:cubicBezTo>
                      <a:pt x="2" y="2"/>
                      <a:pt x="3" y="2"/>
                      <a:pt x="4" y="1"/>
                    </a:cubicBezTo>
                    <a:cubicBezTo>
                      <a:pt x="5" y="1"/>
                      <a:pt x="6" y="0"/>
                      <a:pt x="7" y="0"/>
                    </a:cubicBezTo>
                    <a:lnTo>
                      <a:pt x="10"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95" name="Freeform 228"/>
              <p:cNvSpPr>
                <a:spLocks noEditPoints="1"/>
              </p:cNvSpPr>
              <p:nvPr/>
            </p:nvSpPr>
            <p:spPr bwMode="auto">
              <a:xfrm>
                <a:off x="6151563" y="2968625"/>
                <a:ext cx="31750" cy="44450"/>
              </a:xfrm>
              <a:custGeom>
                <a:avLst/>
                <a:gdLst>
                  <a:gd name="T0" fmla="*/ 7 w 14"/>
                  <a:gd name="T1" fmla="*/ 20 h 20"/>
                  <a:gd name="T2" fmla="*/ 0 w 14"/>
                  <a:gd name="T3" fmla="*/ 10 h 20"/>
                  <a:gd name="T4" fmla="*/ 2 w 14"/>
                  <a:gd name="T5" fmla="*/ 3 h 20"/>
                  <a:gd name="T6" fmla="*/ 7 w 14"/>
                  <a:gd name="T7" fmla="*/ 0 h 20"/>
                  <a:gd name="T8" fmla="*/ 14 w 14"/>
                  <a:gd name="T9" fmla="*/ 10 h 20"/>
                  <a:gd name="T10" fmla="*/ 12 w 14"/>
                  <a:gd name="T11" fmla="*/ 18 h 20"/>
                  <a:gd name="T12" fmla="*/ 7 w 14"/>
                  <a:gd name="T13" fmla="*/ 20 h 20"/>
                  <a:gd name="T14" fmla="*/ 7 w 14"/>
                  <a:gd name="T15" fmla="*/ 4 h 20"/>
                  <a:gd name="T16" fmla="*/ 4 w 14"/>
                  <a:gd name="T17" fmla="*/ 10 h 20"/>
                  <a:gd name="T18" fmla="*/ 7 w 14"/>
                  <a:gd name="T19" fmla="*/ 17 h 20"/>
                  <a:gd name="T20" fmla="*/ 9 w 14"/>
                  <a:gd name="T21" fmla="*/ 10 h 20"/>
                  <a:gd name="T22" fmla="*/ 7 w 14"/>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0" y="5"/>
                      <a:pt x="2" y="3"/>
                    </a:cubicBezTo>
                    <a:cubicBezTo>
                      <a:pt x="3" y="1"/>
                      <a:pt x="5" y="0"/>
                      <a:pt x="7" y="0"/>
                    </a:cubicBezTo>
                    <a:cubicBezTo>
                      <a:pt x="12" y="0"/>
                      <a:pt x="14" y="4"/>
                      <a:pt x="14" y="10"/>
                    </a:cubicBezTo>
                    <a:cubicBezTo>
                      <a:pt x="14" y="13"/>
                      <a:pt x="13" y="16"/>
                      <a:pt x="12" y="18"/>
                    </a:cubicBezTo>
                    <a:cubicBezTo>
                      <a:pt x="11" y="19"/>
                      <a:pt x="9" y="20"/>
                      <a:pt x="7" y="20"/>
                    </a:cubicBezTo>
                    <a:close/>
                    <a:moveTo>
                      <a:pt x="7" y="4"/>
                    </a:moveTo>
                    <a:cubicBezTo>
                      <a:pt x="5" y="4"/>
                      <a:pt x="4" y="6"/>
                      <a:pt x="4" y="10"/>
                    </a:cubicBezTo>
                    <a:cubicBezTo>
                      <a:pt x="4" y="15"/>
                      <a:pt x="5" y="17"/>
                      <a:pt x="7" y="17"/>
                    </a:cubicBezTo>
                    <a:cubicBezTo>
                      <a:pt x="9" y="17"/>
                      <a:pt x="9" y="15"/>
                      <a:pt x="9" y="10"/>
                    </a:cubicBezTo>
                    <a:cubicBezTo>
                      <a:pt x="9" y="6"/>
                      <a:pt x="9" y="4"/>
                      <a:pt x="7" y="4"/>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96" name="Freeform 229"/>
              <p:cNvSpPr>
                <a:spLocks noEditPoints="1"/>
              </p:cNvSpPr>
              <p:nvPr/>
            </p:nvSpPr>
            <p:spPr bwMode="auto">
              <a:xfrm>
                <a:off x="6151563" y="3032125"/>
                <a:ext cx="31750" cy="44450"/>
              </a:xfrm>
              <a:custGeom>
                <a:avLst/>
                <a:gdLst>
                  <a:gd name="T0" fmla="*/ 7 w 14"/>
                  <a:gd name="T1" fmla="*/ 20 h 20"/>
                  <a:gd name="T2" fmla="*/ 0 w 14"/>
                  <a:gd name="T3" fmla="*/ 10 h 20"/>
                  <a:gd name="T4" fmla="*/ 2 w 14"/>
                  <a:gd name="T5" fmla="*/ 3 h 20"/>
                  <a:gd name="T6" fmla="*/ 7 w 14"/>
                  <a:gd name="T7" fmla="*/ 0 h 20"/>
                  <a:gd name="T8" fmla="*/ 14 w 14"/>
                  <a:gd name="T9" fmla="*/ 10 h 20"/>
                  <a:gd name="T10" fmla="*/ 12 w 14"/>
                  <a:gd name="T11" fmla="*/ 17 h 20"/>
                  <a:gd name="T12" fmla="*/ 7 w 14"/>
                  <a:gd name="T13" fmla="*/ 20 h 20"/>
                  <a:gd name="T14" fmla="*/ 7 w 14"/>
                  <a:gd name="T15" fmla="*/ 3 h 20"/>
                  <a:gd name="T16" fmla="*/ 4 w 14"/>
                  <a:gd name="T17" fmla="*/ 10 h 20"/>
                  <a:gd name="T18" fmla="*/ 7 w 14"/>
                  <a:gd name="T19" fmla="*/ 17 h 20"/>
                  <a:gd name="T20" fmla="*/ 9 w 14"/>
                  <a:gd name="T21" fmla="*/ 10 h 20"/>
                  <a:gd name="T22" fmla="*/ 7 w 14"/>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0" y="5"/>
                      <a:pt x="2" y="3"/>
                    </a:cubicBezTo>
                    <a:cubicBezTo>
                      <a:pt x="3" y="1"/>
                      <a:pt x="5" y="0"/>
                      <a:pt x="7" y="0"/>
                    </a:cubicBezTo>
                    <a:cubicBezTo>
                      <a:pt x="12" y="0"/>
                      <a:pt x="14" y="3"/>
                      <a:pt x="14" y="10"/>
                    </a:cubicBezTo>
                    <a:cubicBezTo>
                      <a:pt x="14" y="13"/>
                      <a:pt x="13" y="15"/>
                      <a:pt x="12" y="17"/>
                    </a:cubicBezTo>
                    <a:cubicBezTo>
                      <a:pt x="11" y="19"/>
                      <a:pt x="9" y="20"/>
                      <a:pt x="7" y="20"/>
                    </a:cubicBezTo>
                    <a:close/>
                    <a:moveTo>
                      <a:pt x="7" y="3"/>
                    </a:moveTo>
                    <a:cubicBezTo>
                      <a:pt x="5" y="3"/>
                      <a:pt x="4" y="6"/>
                      <a:pt x="4" y="10"/>
                    </a:cubicBezTo>
                    <a:cubicBezTo>
                      <a:pt x="4" y="15"/>
                      <a:pt x="5" y="17"/>
                      <a:pt x="7" y="17"/>
                    </a:cubicBezTo>
                    <a:cubicBezTo>
                      <a:pt x="9" y="17"/>
                      <a:pt x="9" y="14"/>
                      <a:pt x="9" y="10"/>
                    </a:cubicBezTo>
                    <a:cubicBezTo>
                      <a:pt x="9"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97" name="Freeform 230"/>
              <p:cNvSpPr>
                <a:spLocks noEditPoints="1"/>
              </p:cNvSpPr>
              <p:nvPr/>
            </p:nvSpPr>
            <p:spPr bwMode="auto">
              <a:xfrm>
                <a:off x="6111875" y="2909888"/>
                <a:ext cx="30163" cy="41275"/>
              </a:xfrm>
              <a:custGeom>
                <a:avLst/>
                <a:gdLst>
                  <a:gd name="T0" fmla="*/ 7 w 14"/>
                  <a:gd name="T1" fmla="*/ 19 h 19"/>
                  <a:gd name="T2" fmla="*/ 0 w 14"/>
                  <a:gd name="T3" fmla="*/ 10 h 19"/>
                  <a:gd name="T4" fmla="*/ 2 w 14"/>
                  <a:gd name="T5" fmla="*/ 2 h 19"/>
                  <a:gd name="T6" fmla="*/ 8 w 14"/>
                  <a:gd name="T7" fmla="*/ 0 h 19"/>
                  <a:gd name="T8" fmla="*/ 14 w 14"/>
                  <a:gd name="T9" fmla="*/ 10 h 19"/>
                  <a:gd name="T10" fmla="*/ 13 w 14"/>
                  <a:gd name="T11" fmla="*/ 17 h 19"/>
                  <a:gd name="T12" fmla="*/ 7 w 14"/>
                  <a:gd name="T13" fmla="*/ 19 h 19"/>
                  <a:gd name="T14" fmla="*/ 7 w 14"/>
                  <a:gd name="T15" fmla="*/ 3 h 19"/>
                  <a:gd name="T16" fmla="*/ 5 w 14"/>
                  <a:gd name="T17" fmla="*/ 10 h 19"/>
                  <a:gd name="T18" fmla="*/ 7 w 14"/>
                  <a:gd name="T19" fmla="*/ 16 h 19"/>
                  <a:gd name="T20" fmla="*/ 10 w 14"/>
                  <a:gd name="T21" fmla="*/ 10 h 19"/>
                  <a:gd name="T22" fmla="*/ 7 w 14"/>
                  <a:gd name="T23"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9">
                    <a:moveTo>
                      <a:pt x="7" y="19"/>
                    </a:moveTo>
                    <a:cubicBezTo>
                      <a:pt x="2" y="19"/>
                      <a:pt x="0" y="17"/>
                      <a:pt x="0" y="10"/>
                    </a:cubicBezTo>
                    <a:cubicBezTo>
                      <a:pt x="0" y="6"/>
                      <a:pt x="1" y="4"/>
                      <a:pt x="2" y="2"/>
                    </a:cubicBezTo>
                    <a:cubicBezTo>
                      <a:pt x="3" y="1"/>
                      <a:pt x="5" y="0"/>
                      <a:pt x="8" y="0"/>
                    </a:cubicBezTo>
                    <a:cubicBezTo>
                      <a:pt x="12" y="0"/>
                      <a:pt x="14" y="3"/>
                      <a:pt x="14" y="10"/>
                    </a:cubicBezTo>
                    <a:cubicBezTo>
                      <a:pt x="14" y="13"/>
                      <a:pt x="14" y="15"/>
                      <a:pt x="13" y="17"/>
                    </a:cubicBezTo>
                    <a:cubicBezTo>
                      <a:pt x="12" y="19"/>
                      <a:pt x="10" y="19"/>
                      <a:pt x="7" y="19"/>
                    </a:cubicBezTo>
                    <a:close/>
                    <a:moveTo>
                      <a:pt x="7" y="3"/>
                    </a:moveTo>
                    <a:cubicBezTo>
                      <a:pt x="6" y="3"/>
                      <a:pt x="5" y="5"/>
                      <a:pt x="5" y="10"/>
                    </a:cubicBezTo>
                    <a:cubicBezTo>
                      <a:pt x="5" y="14"/>
                      <a:pt x="6" y="16"/>
                      <a:pt x="7" y="16"/>
                    </a:cubicBezTo>
                    <a:cubicBezTo>
                      <a:pt x="9" y="16"/>
                      <a:pt x="10" y="14"/>
                      <a:pt x="10" y="10"/>
                    </a:cubicBezTo>
                    <a:cubicBezTo>
                      <a:pt x="10"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98" name="Freeform 231"/>
              <p:cNvSpPr>
                <a:spLocks/>
              </p:cNvSpPr>
              <p:nvPr/>
            </p:nvSpPr>
            <p:spPr bwMode="auto">
              <a:xfrm>
                <a:off x="6116638" y="2968625"/>
                <a:ext cx="19050" cy="44450"/>
              </a:xfrm>
              <a:custGeom>
                <a:avLst/>
                <a:gdLst>
                  <a:gd name="T0" fmla="*/ 9 w 9"/>
                  <a:gd name="T1" fmla="*/ 0 h 20"/>
                  <a:gd name="T2" fmla="*/ 9 w 9"/>
                  <a:gd name="T3" fmla="*/ 20 h 20"/>
                  <a:gd name="T4" fmla="*/ 5 w 9"/>
                  <a:gd name="T5" fmla="*/ 20 h 20"/>
                  <a:gd name="T6" fmla="*/ 5 w 9"/>
                  <a:gd name="T7" fmla="*/ 5 h 20"/>
                  <a:gd name="T8" fmla="*/ 4 w 9"/>
                  <a:gd name="T9" fmla="*/ 6 h 20"/>
                  <a:gd name="T10" fmla="*/ 3 w 9"/>
                  <a:gd name="T11" fmla="*/ 6 h 20"/>
                  <a:gd name="T12" fmla="*/ 1 w 9"/>
                  <a:gd name="T13" fmla="*/ 6 h 20"/>
                  <a:gd name="T14" fmla="*/ 0 w 9"/>
                  <a:gd name="T15" fmla="*/ 7 h 20"/>
                  <a:gd name="T16" fmla="*/ 0 w 9"/>
                  <a:gd name="T17" fmla="*/ 3 h 20"/>
                  <a:gd name="T18" fmla="*/ 3 w 9"/>
                  <a:gd name="T19" fmla="*/ 2 h 20"/>
                  <a:gd name="T20" fmla="*/ 6 w 9"/>
                  <a:gd name="T21" fmla="*/ 0 h 20"/>
                  <a:gd name="T22" fmla="*/ 9 w 9"/>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0">
                    <a:moveTo>
                      <a:pt x="9" y="0"/>
                    </a:moveTo>
                    <a:cubicBezTo>
                      <a:pt x="9" y="20"/>
                      <a:pt x="9" y="20"/>
                      <a:pt x="9" y="20"/>
                    </a:cubicBezTo>
                    <a:cubicBezTo>
                      <a:pt x="5" y="20"/>
                      <a:pt x="5" y="20"/>
                      <a:pt x="5" y="20"/>
                    </a:cubicBezTo>
                    <a:cubicBezTo>
                      <a:pt x="5" y="5"/>
                      <a:pt x="5" y="5"/>
                      <a:pt x="5" y="5"/>
                    </a:cubicBezTo>
                    <a:cubicBezTo>
                      <a:pt x="4" y="5"/>
                      <a:pt x="4" y="6"/>
                      <a:pt x="4" y="6"/>
                    </a:cubicBezTo>
                    <a:cubicBezTo>
                      <a:pt x="3" y="6"/>
                      <a:pt x="3" y="6"/>
                      <a:pt x="3" y="6"/>
                    </a:cubicBezTo>
                    <a:cubicBezTo>
                      <a:pt x="2" y="6"/>
                      <a:pt x="2" y="6"/>
                      <a:pt x="1" y="6"/>
                    </a:cubicBezTo>
                    <a:cubicBezTo>
                      <a:pt x="1" y="7"/>
                      <a:pt x="0" y="7"/>
                      <a:pt x="0" y="7"/>
                    </a:cubicBezTo>
                    <a:cubicBezTo>
                      <a:pt x="0" y="3"/>
                      <a:pt x="0" y="3"/>
                      <a:pt x="0" y="3"/>
                    </a:cubicBezTo>
                    <a:cubicBezTo>
                      <a:pt x="1" y="3"/>
                      <a:pt x="3" y="2"/>
                      <a:pt x="3" y="2"/>
                    </a:cubicBezTo>
                    <a:cubicBezTo>
                      <a:pt x="5" y="2"/>
                      <a:pt x="6" y="1"/>
                      <a:pt x="6" y="0"/>
                    </a:cubicBezTo>
                    <a:lnTo>
                      <a:pt x="9"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499" name="Freeform 232"/>
              <p:cNvSpPr>
                <a:spLocks noEditPoints="1"/>
              </p:cNvSpPr>
              <p:nvPr/>
            </p:nvSpPr>
            <p:spPr bwMode="auto">
              <a:xfrm>
                <a:off x="6111875" y="3032125"/>
                <a:ext cx="30163" cy="44450"/>
              </a:xfrm>
              <a:custGeom>
                <a:avLst/>
                <a:gdLst>
                  <a:gd name="T0" fmla="*/ 7 w 14"/>
                  <a:gd name="T1" fmla="*/ 20 h 20"/>
                  <a:gd name="T2" fmla="*/ 0 w 14"/>
                  <a:gd name="T3" fmla="*/ 10 h 20"/>
                  <a:gd name="T4" fmla="*/ 2 w 14"/>
                  <a:gd name="T5" fmla="*/ 3 h 20"/>
                  <a:gd name="T6" fmla="*/ 8 w 14"/>
                  <a:gd name="T7" fmla="*/ 0 h 20"/>
                  <a:gd name="T8" fmla="*/ 14 w 14"/>
                  <a:gd name="T9" fmla="*/ 10 h 20"/>
                  <a:gd name="T10" fmla="*/ 13 w 14"/>
                  <a:gd name="T11" fmla="*/ 17 h 20"/>
                  <a:gd name="T12" fmla="*/ 7 w 14"/>
                  <a:gd name="T13" fmla="*/ 20 h 20"/>
                  <a:gd name="T14" fmla="*/ 7 w 14"/>
                  <a:gd name="T15" fmla="*/ 3 h 20"/>
                  <a:gd name="T16" fmla="*/ 5 w 14"/>
                  <a:gd name="T17" fmla="*/ 10 h 20"/>
                  <a:gd name="T18" fmla="*/ 7 w 14"/>
                  <a:gd name="T19" fmla="*/ 17 h 20"/>
                  <a:gd name="T20" fmla="*/ 10 w 14"/>
                  <a:gd name="T21" fmla="*/ 10 h 20"/>
                  <a:gd name="T22" fmla="*/ 7 w 14"/>
                  <a:gd name="T23"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7" y="20"/>
                    </a:moveTo>
                    <a:cubicBezTo>
                      <a:pt x="2" y="20"/>
                      <a:pt x="0" y="17"/>
                      <a:pt x="0" y="10"/>
                    </a:cubicBezTo>
                    <a:cubicBezTo>
                      <a:pt x="0" y="7"/>
                      <a:pt x="1" y="5"/>
                      <a:pt x="2" y="3"/>
                    </a:cubicBezTo>
                    <a:cubicBezTo>
                      <a:pt x="3" y="1"/>
                      <a:pt x="5" y="0"/>
                      <a:pt x="8" y="0"/>
                    </a:cubicBezTo>
                    <a:cubicBezTo>
                      <a:pt x="12" y="0"/>
                      <a:pt x="14" y="3"/>
                      <a:pt x="14" y="10"/>
                    </a:cubicBezTo>
                    <a:cubicBezTo>
                      <a:pt x="14" y="13"/>
                      <a:pt x="14" y="15"/>
                      <a:pt x="13" y="17"/>
                    </a:cubicBezTo>
                    <a:cubicBezTo>
                      <a:pt x="12" y="19"/>
                      <a:pt x="10" y="20"/>
                      <a:pt x="7" y="20"/>
                    </a:cubicBezTo>
                    <a:close/>
                    <a:moveTo>
                      <a:pt x="7" y="3"/>
                    </a:moveTo>
                    <a:cubicBezTo>
                      <a:pt x="6" y="3"/>
                      <a:pt x="5" y="6"/>
                      <a:pt x="5" y="10"/>
                    </a:cubicBezTo>
                    <a:cubicBezTo>
                      <a:pt x="5" y="15"/>
                      <a:pt x="6" y="17"/>
                      <a:pt x="7" y="17"/>
                    </a:cubicBezTo>
                    <a:cubicBezTo>
                      <a:pt x="9" y="17"/>
                      <a:pt x="10" y="14"/>
                      <a:pt x="10" y="10"/>
                    </a:cubicBezTo>
                    <a:cubicBezTo>
                      <a:pt x="10" y="5"/>
                      <a:pt x="9" y="3"/>
                      <a:pt x="7" y="3"/>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00" name="Freeform 233"/>
              <p:cNvSpPr>
                <a:spLocks/>
              </p:cNvSpPr>
              <p:nvPr/>
            </p:nvSpPr>
            <p:spPr bwMode="auto">
              <a:xfrm>
                <a:off x="5707063" y="3009900"/>
                <a:ext cx="793750" cy="635000"/>
              </a:xfrm>
              <a:custGeom>
                <a:avLst/>
                <a:gdLst>
                  <a:gd name="T0" fmla="*/ 115 w 357"/>
                  <a:gd name="T1" fmla="*/ 0 h 286"/>
                  <a:gd name="T2" fmla="*/ 0 w 357"/>
                  <a:gd name="T3" fmla="*/ 0 h 286"/>
                  <a:gd name="T4" fmla="*/ 0 w 357"/>
                  <a:gd name="T5" fmla="*/ 81 h 286"/>
                  <a:gd name="T6" fmla="*/ 1 w 357"/>
                  <a:gd name="T7" fmla="*/ 84 h 286"/>
                  <a:gd name="T8" fmla="*/ 135 w 357"/>
                  <a:gd name="T9" fmla="*/ 286 h 286"/>
                  <a:gd name="T10" fmla="*/ 222 w 357"/>
                  <a:gd name="T11" fmla="*/ 286 h 286"/>
                  <a:gd name="T12" fmla="*/ 356 w 357"/>
                  <a:gd name="T13" fmla="*/ 84 h 286"/>
                  <a:gd name="T14" fmla="*/ 357 w 357"/>
                  <a:gd name="T15" fmla="*/ 81 h 286"/>
                  <a:gd name="T16" fmla="*/ 357 w 357"/>
                  <a:gd name="T17" fmla="*/ 81 h 286"/>
                  <a:gd name="T18" fmla="*/ 357 w 357"/>
                  <a:gd name="T19" fmla="*/ 0 h 286"/>
                  <a:gd name="T20" fmla="*/ 115 w 357"/>
                  <a:gd name="T21"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7" h="286">
                    <a:moveTo>
                      <a:pt x="115" y="0"/>
                    </a:moveTo>
                    <a:cubicBezTo>
                      <a:pt x="0" y="0"/>
                      <a:pt x="0" y="0"/>
                      <a:pt x="0" y="0"/>
                    </a:cubicBezTo>
                    <a:cubicBezTo>
                      <a:pt x="0" y="81"/>
                      <a:pt x="0" y="81"/>
                      <a:pt x="0" y="81"/>
                    </a:cubicBezTo>
                    <a:cubicBezTo>
                      <a:pt x="1" y="84"/>
                      <a:pt x="1" y="84"/>
                      <a:pt x="1" y="84"/>
                    </a:cubicBezTo>
                    <a:cubicBezTo>
                      <a:pt x="135" y="286"/>
                      <a:pt x="135" y="286"/>
                      <a:pt x="135" y="286"/>
                    </a:cubicBezTo>
                    <a:cubicBezTo>
                      <a:pt x="222" y="286"/>
                      <a:pt x="222" y="286"/>
                      <a:pt x="222" y="286"/>
                    </a:cubicBezTo>
                    <a:cubicBezTo>
                      <a:pt x="356" y="84"/>
                      <a:pt x="356" y="84"/>
                      <a:pt x="356" y="84"/>
                    </a:cubicBezTo>
                    <a:cubicBezTo>
                      <a:pt x="356" y="83"/>
                      <a:pt x="357" y="82"/>
                      <a:pt x="357" y="81"/>
                    </a:cubicBezTo>
                    <a:cubicBezTo>
                      <a:pt x="357" y="81"/>
                      <a:pt x="357" y="81"/>
                      <a:pt x="357" y="81"/>
                    </a:cubicBezTo>
                    <a:cubicBezTo>
                      <a:pt x="357" y="0"/>
                      <a:pt x="357" y="0"/>
                      <a:pt x="357" y="0"/>
                    </a:cubicBezTo>
                    <a:cubicBezTo>
                      <a:pt x="115" y="0"/>
                      <a:pt x="115" y="0"/>
                      <a:pt x="115" y="0"/>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01" name="Freeform 234"/>
              <p:cNvSpPr>
                <a:spLocks/>
              </p:cNvSpPr>
              <p:nvPr/>
            </p:nvSpPr>
            <p:spPr bwMode="auto">
              <a:xfrm>
                <a:off x="5705475" y="3009900"/>
                <a:ext cx="200025" cy="179388"/>
              </a:xfrm>
              <a:custGeom>
                <a:avLst/>
                <a:gdLst>
                  <a:gd name="T0" fmla="*/ 126 w 126"/>
                  <a:gd name="T1" fmla="*/ 0 h 113"/>
                  <a:gd name="T2" fmla="*/ 121 w 126"/>
                  <a:gd name="T3" fmla="*/ 0 h 113"/>
                  <a:gd name="T4" fmla="*/ 0 w 126"/>
                  <a:gd name="T5" fmla="*/ 0 h 113"/>
                  <a:gd name="T6" fmla="*/ 0 w 126"/>
                  <a:gd name="T7" fmla="*/ 113 h 113"/>
                  <a:gd name="T8" fmla="*/ 1 w 126"/>
                  <a:gd name="T9" fmla="*/ 113 h 113"/>
                  <a:gd name="T10" fmla="*/ 1 w 126"/>
                  <a:gd name="T11" fmla="*/ 0 h 113"/>
                  <a:gd name="T12" fmla="*/ 126 w 126"/>
                  <a:gd name="T13" fmla="*/ 0 h 113"/>
                </a:gdLst>
                <a:ahLst/>
                <a:cxnLst>
                  <a:cxn ang="0">
                    <a:pos x="T0" y="T1"/>
                  </a:cxn>
                  <a:cxn ang="0">
                    <a:pos x="T2" y="T3"/>
                  </a:cxn>
                  <a:cxn ang="0">
                    <a:pos x="T4" y="T5"/>
                  </a:cxn>
                  <a:cxn ang="0">
                    <a:pos x="T6" y="T7"/>
                  </a:cxn>
                  <a:cxn ang="0">
                    <a:pos x="T8" y="T9"/>
                  </a:cxn>
                  <a:cxn ang="0">
                    <a:pos x="T10" y="T11"/>
                  </a:cxn>
                  <a:cxn ang="0">
                    <a:pos x="T12" y="T13"/>
                  </a:cxn>
                </a:cxnLst>
                <a:rect l="0" t="0" r="r" b="b"/>
                <a:pathLst>
                  <a:path w="126" h="113">
                    <a:moveTo>
                      <a:pt x="126" y="0"/>
                    </a:moveTo>
                    <a:lnTo>
                      <a:pt x="121" y="0"/>
                    </a:lnTo>
                    <a:lnTo>
                      <a:pt x="0" y="0"/>
                    </a:lnTo>
                    <a:lnTo>
                      <a:pt x="0" y="113"/>
                    </a:lnTo>
                    <a:lnTo>
                      <a:pt x="1" y="113"/>
                    </a:lnTo>
                    <a:lnTo>
                      <a:pt x="1" y="0"/>
                    </a:lnTo>
                    <a:lnTo>
                      <a:pt x="1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02" name="Freeform 235"/>
              <p:cNvSpPr>
                <a:spLocks/>
              </p:cNvSpPr>
              <p:nvPr/>
            </p:nvSpPr>
            <p:spPr bwMode="auto">
              <a:xfrm>
                <a:off x="5705475" y="3009900"/>
                <a:ext cx="200025" cy="179388"/>
              </a:xfrm>
              <a:custGeom>
                <a:avLst/>
                <a:gdLst>
                  <a:gd name="T0" fmla="*/ 126 w 126"/>
                  <a:gd name="T1" fmla="*/ 0 h 113"/>
                  <a:gd name="T2" fmla="*/ 121 w 126"/>
                  <a:gd name="T3" fmla="*/ 0 h 113"/>
                  <a:gd name="T4" fmla="*/ 0 w 126"/>
                  <a:gd name="T5" fmla="*/ 0 h 113"/>
                  <a:gd name="T6" fmla="*/ 0 w 126"/>
                  <a:gd name="T7" fmla="*/ 113 h 113"/>
                  <a:gd name="T8" fmla="*/ 1 w 126"/>
                  <a:gd name="T9" fmla="*/ 113 h 113"/>
                  <a:gd name="T10" fmla="*/ 1 w 126"/>
                  <a:gd name="T11" fmla="*/ 0 h 113"/>
                  <a:gd name="T12" fmla="*/ 126 w 126"/>
                  <a:gd name="T13" fmla="*/ 0 h 113"/>
                </a:gdLst>
                <a:ahLst/>
                <a:cxnLst>
                  <a:cxn ang="0">
                    <a:pos x="T0" y="T1"/>
                  </a:cxn>
                  <a:cxn ang="0">
                    <a:pos x="T2" y="T3"/>
                  </a:cxn>
                  <a:cxn ang="0">
                    <a:pos x="T4" y="T5"/>
                  </a:cxn>
                  <a:cxn ang="0">
                    <a:pos x="T6" y="T7"/>
                  </a:cxn>
                  <a:cxn ang="0">
                    <a:pos x="T8" y="T9"/>
                  </a:cxn>
                  <a:cxn ang="0">
                    <a:pos x="T10" y="T11"/>
                  </a:cxn>
                  <a:cxn ang="0">
                    <a:pos x="T12" y="T13"/>
                  </a:cxn>
                </a:cxnLst>
                <a:rect l="0" t="0" r="r" b="b"/>
                <a:pathLst>
                  <a:path w="126" h="113">
                    <a:moveTo>
                      <a:pt x="126" y="0"/>
                    </a:moveTo>
                    <a:lnTo>
                      <a:pt x="121" y="0"/>
                    </a:lnTo>
                    <a:lnTo>
                      <a:pt x="0" y="0"/>
                    </a:lnTo>
                    <a:lnTo>
                      <a:pt x="0" y="113"/>
                    </a:lnTo>
                    <a:lnTo>
                      <a:pt x="1" y="113"/>
                    </a:lnTo>
                    <a:lnTo>
                      <a:pt x="1" y="0"/>
                    </a:lnTo>
                    <a:lnTo>
                      <a:pt x="1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03" name="Rectangle 236"/>
              <p:cNvSpPr>
                <a:spLocks noChangeArrowheads="1"/>
              </p:cNvSpPr>
              <p:nvPr/>
            </p:nvSpPr>
            <p:spPr bwMode="auto">
              <a:xfrm>
                <a:off x="5707063" y="3009900"/>
                <a:ext cx="198438" cy="179388"/>
              </a:xfrm>
              <a:prstGeom prst="rect">
                <a:avLst/>
              </a:prstGeom>
              <a:solidFill>
                <a:srgbClr val="E9E9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04" name="Rectangle 237"/>
              <p:cNvSpPr>
                <a:spLocks noChangeArrowheads="1"/>
              </p:cNvSpPr>
              <p:nvPr/>
            </p:nvSpPr>
            <p:spPr bwMode="auto">
              <a:xfrm>
                <a:off x="5707063" y="3009900"/>
                <a:ext cx="198438" cy="179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05" name="Freeform 238"/>
              <p:cNvSpPr>
                <a:spLocks/>
              </p:cNvSpPr>
              <p:nvPr/>
            </p:nvSpPr>
            <p:spPr bwMode="auto">
              <a:xfrm>
                <a:off x="5813425" y="3352800"/>
                <a:ext cx="193675" cy="292100"/>
              </a:xfrm>
              <a:custGeom>
                <a:avLst/>
                <a:gdLst>
                  <a:gd name="T0" fmla="*/ 0 w 122"/>
                  <a:gd name="T1" fmla="*/ 0 h 184"/>
                  <a:gd name="T2" fmla="*/ 121 w 122"/>
                  <a:gd name="T3" fmla="*/ 184 h 184"/>
                  <a:gd name="T4" fmla="*/ 122 w 122"/>
                  <a:gd name="T5" fmla="*/ 184 h 184"/>
                  <a:gd name="T6" fmla="*/ 0 w 122"/>
                  <a:gd name="T7" fmla="*/ 0 h 184"/>
                </a:gdLst>
                <a:ahLst/>
                <a:cxnLst>
                  <a:cxn ang="0">
                    <a:pos x="T0" y="T1"/>
                  </a:cxn>
                  <a:cxn ang="0">
                    <a:pos x="T2" y="T3"/>
                  </a:cxn>
                  <a:cxn ang="0">
                    <a:pos x="T4" y="T5"/>
                  </a:cxn>
                  <a:cxn ang="0">
                    <a:pos x="T6" y="T7"/>
                  </a:cxn>
                </a:cxnLst>
                <a:rect l="0" t="0" r="r" b="b"/>
                <a:pathLst>
                  <a:path w="122" h="184">
                    <a:moveTo>
                      <a:pt x="0" y="0"/>
                    </a:moveTo>
                    <a:lnTo>
                      <a:pt x="121" y="184"/>
                    </a:lnTo>
                    <a:lnTo>
                      <a:pt x="122" y="18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06" name="Freeform 239"/>
              <p:cNvSpPr>
                <a:spLocks/>
              </p:cNvSpPr>
              <p:nvPr/>
            </p:nvSpPr>
            <p:spPr bwMode="auto">
              <a:xfrm>
                <a:off x="5813425" y="3352800"/>
                <a:ext cx="193675" cy="292100"/>
              </a:xfrm>
              <a:custGeom>
                <a:avLst/>
                <a:gdLst>
                  <a:gd name="T0" fmla="*/ 0 w 122"/>
                  <a:gd name="T1" fmla="*/ 0 h 184"/>
                  <a:gd name="T2" fmla="*/ 121 w 122"/>
                  <a:gd name="T3" fmla="*/ 184 h 184"/>
                  <a:gd name="T4" fmla="*/ 122 w 122"/>
                  <a:gd name="T5" fmla="*/ 184 h 184"/>
                  <a:gd name="T6" fmla="*/ 0 w 122"/>
                  <a:gd name="T7" fmla="*/ 0 h 184"/>
                </a:gdLst>
                <a:ahLst/>
                <a:cxnLst>
                  <a:cxn ang="0">
                    <a:pos x="T0" y="T1"/>
                  </a:cxn>
                  <a:cxn ang="0">
                    <a:pos x="T2" y="T3"/>
                  </a:cxn>
                  <a:cxn ang="0">
                    <a:pos x="T4" y="T5"/>
                  </a:cxn>
                  <a:cxn ang="0">
                    <a:pos x="T6" y="T7"/>
                  </a:cxn>
                </a:cxnLst>
                <a:rect l="0" t="0" r="r" b="b"/>
                <a:pathLst>
                  <a:path w="122" h="184">
                    <a:moveTo>
                      <a:pt x="0" y="0"/>
                    </a:moveTo>
                    <a:lnTo>
                      <a:pt x="121" y="184"/>
                    </a:lnTo>
                    <a:lnTo>
                      <a:pt x="122" y="18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07" name="Freeform 240"/>
              <p:cNvSpPr>
                <a:spLocks/>
              </p:cNvSpPr>
              <p:nvPr/>
            </p:nvSpPr>
            <p:spPr bwMode="auto">
              <a:xfrm>
                <a:off x="5707063" y="3189288"/>
                <a:ext cx="357188" cy="455613"/>
              </a:xfrm>
              <a:custGeom>
                <a:avLst/>
                <a:gdLst>
                  <a:gd name="T0" fmla="*/ 125 w 225"/>
                  <a:gd name="T1" fmla="*/ 0 h 287"/>
                  <a:gd name="T2" fmla="*/ 125 w 225"/>
                  <a:gd name="T3" fmla="*/ 0 h 287"/>
                  <a:gd name="T4" fmla="*/ 0 w 225"/>
                  <a:gd name="T5" fmla="*/ 0 h 287"/>
                  <a:gd name="T6" fmla="*/ 67 w 225"/>
                  <a:gd name="T7" fmla="*/ 103 h 287"/>
                  <a:gd name="T8" fmla="*/ 189 w 225"/>
                  <a:gd name="T9" fmla="*/ 287 h 287"/>
                  <a:gd name="T10" fmla="*/ 225 w 225"/>
                  <a:gd name="T11" fmla="*/ 287 h 287"/>
                  <a:gd name="T12" fmla="*/ 125 w 225"/>
                  <a:gd name="T13" fmla="*/ 0 h 287"/>
                </a:gdLst>
                <a:ahLst/>
                <a:cxnLst>
                  <a:cxn ang="0">
                    <a:pos x="T0" y="T1"/>
                  </a:cxn>
                  <a:cxn ang="0">
                    <a:pos x="T2" y="T3"/>
                  </a:cxn>
                  <a:cxn ang="0">
                    <a:pos x="T4" y="T5"/>
                  </a:cxn>
                  <a:cxn ang="0">
                    <a:pos x="T6" y="T7"/>
                  </a:cxn>
                  <a:cxn ang="0">
                    <a:pos x="T8" y="T9"/>
                  </a:cxn>
                  <a:cxn ang="0">
                    <a:pos x="T10" y="T11"/>
                  </a:cxn>
                  <a:cxn ang="0">
                    <a:pos x="T12" y="T13"/>
                  </a:cxn>
                </a:cxnLst>
                <a:rect l="0" t="0" r="r" b="b"/>
                <a:pathLst>
                  <a:path w="225" h="287">
                    <a:moveTo>
                      <a:pt x="125" y="0"/>
                    </a:moveTo>
                    <a:lnTo>
                      <a:pt x="125" y="0"/>
                    </a:lnTo>
                    <a:lnTo>
                      <a:pt x="0" y="0"/>
                    </a:lnTo>
                    <a:lnTo>
                      <a:pt x="67" y="103"/>
                    </a:lnTo>
                    <a:lnTo>
                      <a:pt x="189" y="287"/>
                    </a:lnTo>
                    <a:lnTo>
                      <a:pt x="225" y="287"/>
                    </a:lnTo>
                    <a:lnTo>
                      <a:pt x="125" y="0"/>
                    </a:lnTo>
                    <a:close/>
                  </a:path>
                </a:pathLst>
              </a:custGeom>
              <a:solidFill>
                <a:srgbClr val="E9E9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08" name="Freeform 241"/>
              <p:cNvSpPr>
                <a:spLocks/>
              </p:cNvSpPr>
              <p:nvPr/>
            </p:nvSpPr>
            <p:spPr bwMode="auto">
              <a:xfrm>
                <a:off x="5707063" y="3189288"/>
                <a:ext cx="357188" cy="455613"/>
              </a:xfrm>
              <a:custGeom>
                <a:avLst/>
                <a:gdLst>
                  <a:gd name="T0" fmla="*/ 125 w 225"/>
                  <a:gd name="T1" fmla="*/ 0 h 287"/>
                  <a:gd name="T2" fmla="*/ 125 w 225"/>
                  <a:gd name="T3" fmla="*/ 0 h 287"/>
                  <a:gd name="T4" fmla="*/ 0 w 225"/>
                  <a:gd name="T5" fmla="*/ 0 h 287"/>
                  <a:gd name="T6" fmla="*/ 67 w 225"/>
                  <a:gd name="T7" fmla="*/ 103 h 287"/>
                  <a:gd name="T8" fmla="*/ 189 w 225"/>
                  <a:gd name="T9" fmla="*/ 287 h 287"/>
                  <a:gd name="T10" fmla="*/ 225 w 225"/>
                  <a:gd name="T11" fmla="*/ 287 h 287"/>
                  <a:gd name="T12" fmla="*/ 125 w 225"/>
                  <a:gd name="T13" fmla="*/ 0 h 287"/>
                </a:gdLst>
                <a:ahLst/>
                <a:cxnLst>
                  <a:cxn ang="0">
                    <a:pos x="T0" y="T1"/>
                  </a:cxn>
                  <a:cxn ang="0">
                    <a:pos x="T2" y="T3"/>
                  </a:cxn>
                  <a:cxn ang="0">
                    <a:pos x="T4" y="T5"/>
                  </a:cxn>
                  <a:cxn ang="0">
                    <a:pos x="T6" y="T7"/>
                  </a:cxn>
                  <a:cxn ang="0">
                    <a:pos x="T8" y="T9"/>
                  </a:cxn>
                  <a:cxn ang="0">
                    <a:pos x="T10" y="T11"/>
                  </a:cxn>
                  <a:cxn ang="0">
                    <a:pos x="T12" y="T13"/>
                  </a:cxn>
                </a:cxnLst>
                <a:rect l="0" t="0" r="r" b="b"/>
                <a:pathLst>
                  <a:path w="225" h="287">
                    <a:moveTo>
                      <a:pt x="125" y="0"/>
                    </a:moveTo>
                    <a:lnTo>
                      <a:pt x="125" y="0"/>
                    </a:lnTo>
                    <a:lnTo>
                      <a:pt x="0" y="0"/>
                    </a:lnTo>
                    <a:lnTo>
                      <a:pt x="67" y="103"/>
                    </a:lnTo>
                    <a:lnTo>
                      <a:pt x="189" y="287"/>
                    </a:lnTo>
                    <a:lnTo>
                      <a:pt x="225" y="287"/>
                    </a:lnTo>
                    <a:lnTo>
                      <a:pt x="1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09" name="Freeform 242"/>
              <p:cNvSpPr>
                <a:spLocks/>
              </p:cNvSpPr>
              <p:nvPr/>
            </p:nvSpPr>
            <p:spPr bwMode="auto">
              <a:xfrm>
                <a:off x="6497638" y="3189288"/>
                <a:ext cx="4763" cy="6350"/>
              </a:xfrm>
              <a:custGeom>
                <a:avLst/>
                <a:gdLst>
                  <a:gd name="T0" fmla="*/ 0 w 2"/>
                  <a:gd name="T1" fmla="*/ 3 h 3"/>
                  <a:gd name="T2" fmla="*/ 2 w 2"/>
                  <a:gd name="T3" fmla="*/ 0 h 3"/>
                  <a:gd name="T4" fmla="*/ 1 w 2"/>
                  <a:gd name="T5" fmla="*/ 0 h 3"/>
                  <a:gd name="T6" fmla="*/ 1 w 2"/>
                  <a:gd name="T7" fmla="*/ 0 h 3"/>
                  <a:gd name="T8" fmla="*/ 0 w 2"/>
                  <a:gd name="T9" fmla="*/ 3 h 3"/>
                </a:gdLst>
                <a:ahLst/>
                <a:cxnLst>
                  <a:cxn ang="0">
                    <a:pos x="T0" y="T1"/>
                  </a:cxn>
                  <a:cxn ang="0">
                    <a:pos x="T2" y="T3"/>
                  </a:cxn>
                  <a:cxn ang="0">
                    <a:pos x="T4" y="T5"/>
                  </a:cxn>
                  <a:cxn ang="0">
                    <a:pos x="T6" y="T7"/>
                  </a:cxn>
                  <a:cxn ang="0">
                    <a:pos x="T8" y="T9"/>
                  </a:cxn>
                </a:cxnLst>
                <a:rect l="0" t="0" r="r" b="b"/>
                <a:pathLst>
                  <a:path w="2" h="3">
                    <a:moveTo>
                      <a:pt x="0" y="3"/>
                    </a:moveTo>
                    <a:cubicBezTo>
                      <a:pt x="2" y="0"/>
                      <a:pt x="2" y="0"/>
                      <a:pt x="2" y="0"/>
                    </a:cubicBezTo>
                    <a:cubicBezTo>
                      <a:pt x="1" y="0"/>
                      <a:pt x="1" y="0"/>
                      <a:pt x="1" y="0"/>
                    </a:cubicBezTo>
                    <a:cubicBezTo>
                      <a:pt x="1" y="0"/>
                      <a:pt x="1" y="0"/>
                      <a:pt x="1" y="0"/>
                    </a:cubicBezTo>
                    <a:cubicBezTo>
                      <a:pt x="1" y="1"/>
                      <a:pt x="0" y="2"/>
                      <a:pt x="0"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10" name="Freeform 243"/>
              <p:cNvSpPr>
                <a:spLocks/>
              </p:cNvSpPr>
              <p:nvPr/>
            </p:nvSpPr>
            <p:spPr bwMode="auto">
              <a:xfrm>
                <a:off x="5694363" y="3000375"/>
                <a:ext cx="820738" cy="17463"/>
              </a:xfrm>
              <a:custGeom>
                <a:avLst/>
                <a:gdLst>
                  <a:gd name="T0" fmla="*/ 366 w 370"/>
                  <a:gd name="T1" fmla="*/ 0 h 8"/>
                  <a:gd name="T2" fmla="*/ 365 w 370"/>
                  <a:gd name="T3" fmla="*/ 0 h 8"/>
                  <a:gd name="T4" fmla="*/ 4 w 370"/>
                  <a:gd name="T5" fmla="*/ 0 h 8"/>
                  <a:gd name="T6" fmla="*/ 3 w 370"/>
                  <a:gd name="T7" fmla="*/ 0 h 8"/>
                  <a:gd name="T8" fmla="*/ 0 w 370"/>
                  <a:gd name="T9" fmla="*/ 4 h 8"/>
                  <a:gd name="T10" fmla="*/ 3 w 370"/>
                  <a:gd name="T11" fmla="*/ 8 h 8"/>
                  <a:gd name="T12" fmla="*/ 4 w 370"/>
                  <a:gd name="T13" fmla="*/ 8 h 8"/>
                  <a:gd name="T14" fmla="*/ 365 w 370"/>
                  <a:gd name="T15" fmla="*/ 8 h 8"/>
                  <a:gd name="T16" fmla="*/ 366 w 370"/>
                  <a:gd name="T17" fmla="*/ 8 h 8"/>
                  <a:gd name="T18" fmla="*/ 370 w 370"/>
                  <a:gd name="T19" fmla="*/ 4 h 8"/>
                  <a:gd name="T20" fmla="*/ 366 w 370"/>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0" h="8">
                    <a:moveTo>
                      <a:pt x="366" y="0"/>
                    </a:moveTo>
                    <a:cubicBezTo>
                      <a:pt x="365" y="0"/>
                      <a:pt x="365" y="0"/>
                      <a:pt x="365" y="0"/>
                    </a:cubicBezTo>
                    <a:cubicBezTo>
                      <a:pt x="4" y="0"/>
                      <a:pt x="4" y="0"/>
                      <a:pt x="4" y="0"/>
                    </a:cubicBezTo>
                    <a:cubicBezTo>
                      <a:pt x="3" y="0"/>
                      <a:pt x="3" y="0"/>
                      <a:pt x="3" y="0"/>
                    </a:cubicBezTo>
                    <a:cubicBezTo>
                      <a:pt x="1" y="0"/>
                      <a:pt x="0" y="2"/>
                      <a:pt x="0" y="4"/>
                    </a:cubicBezTo>
                    <a:cubicBezTo>
                      <a:pt x="0" y="6"/>
                      <a:pt x="1" y="8"/>
                      <a:pt x="3" y="8"/>
                    </a:cubicBezTo>
                    <a:cubicBezTo>
                      <a:pt x="4" y="8"/>
                      <a:pt x="4" y="8"/>
                      <a:pt x="4" y="8"/>
                    </a:cubicBezTo>
                    <a:cubicBezTo>
                      <a:pt x="365" y="8"/>
                      <a:pt x="365" y="8"/>
                      <a:pt x="365" y="8"/>
                    </a:cubicBezTo>
                    <a:cubicBezTo>
                      <a:pt x="366" y="8"/>
                      <a:pt x="366" y="8"/>
                      <a:pt x="366" y="8"/>
                    </a:cubicBezTo>
                    <a:cubicBezTo>
                      <a:pt x="368" y="8"/>
                      <a:pt x="370" y="6"/>
                      <a:pt x="370" y="4"/>
                    </a:cubicBezTo>
                    <a:cubicBezTo>
                      <a:pt x="370" y="2"/>
                      <a:pt x="368" y="0"/>
                      <a:pt x="36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11" name="Rectangle 244"/>
              <p:cNvSpPr>
                <a:spLocks noChangeArrowheads="1"/>
              </p:cNvSpPr>
              <p:nvPr/>
            </p:nvSpPr>
            <p:spPr bwMode="auto">
              <a:xfrm>
                <a:off x="5891213" y="3194050"/>
                <a:ext cx="415925" cy="147638"/>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12" name="Freeform 245"/>
              <p:cNvSpPr>
                <a:spLocks/>
              </p:cNvSpPr>
              <p:nvPr/>
            </p:nvSpPr>
            <p:spPr bwMode="auto">
              <a:xfrm>
                <a:off x="5907088" y="3211513"/>
                <a:ext cx="384175" cy="115888"/>
              </a:xfrm>
              <a:custGeom>
                <a:avLst/>
                <a:gdLst>
                  <a:gd name="T0" fmla="*/ 173 w 173"/>
                  <a:gd name="T1" fmla="*/ 0 h 52"/>
                  <a:gd name="T2" fmla="*/ 137 w 173"/>
                  <a:gd name="T3" fmla="*/ 0 h 52"/>
                  <a:gd name="T4" fmla="*/ 137 w 173"/>
                  <a:gd name="T5" fmla="*/ 22 h 52"/>
                  <a:gd name="T6" fmla="*/ 137 w 173"/>
                  <a:gd name="T7" fmla="*/ 24 h 52"/>
                  <a:gd name="T8" fmla="*/ 136 w 173"/>
                  <a:gd name="T9" fmla="*/ 26 h 52"/>
                  <a:gd name="T10" fmla="*/ 131 w 173"/>
                  <a:gd name="T11" fmla="*/ 28 h 52"/>
                  <a:gd name="T12" fmla="*/ 116 w 173"/>
                  <a:gd name="T13" fmla="*/ 31 h 52"/>
                  <a:gd name="T14" fmla="*/ 108 w 173"/>
                  <a:gd name="T15" fmla="*/ 30 h 52"/>
                  <a:gd name="T16" fmla="*/ 101 w 173"/>
                  <a:gd name="T17" fmla="*/ 28 h 52"/>
                  <a:gd name="T18" fmla="*/ 96 w 173"/>
                  <a:gd name="T19" fmla="*/ 26 h 52"/>
                  <a:gd name="T20" fmla="*/ 95 w 173"/>
                  <a:gd name="T21" fmla="*/ 24 h 52"/>
                  <a:gd name="T22" fmla="*/ 95 w 173"/>
                  <a:gd name="T23" fmla="*/ 22 h 52"/>
                  <a:gd name="T24" fmla="*/ 95 w 173"/>
                  <a:gd name="T25" fmla="*/ 0 h 52"/>
                  <a:gd name="T26" fmla="*/ 0 w 173"/>
                  <a:gd name="T27" fmla="*/ 0 h 52"/>
                  <a:gd name="T28" fmla="*/ 0 w 173"/>
                  <a:gd name="T29" fmla="*/ 52 h 52"/>
                  <a:gd name="T30" fmla="*/ 22 w 173"/>
                  <a:gd name="T31" fmla="*/ 52 h 52"/>
                  <a:gd name="T32" fmla="*/ 22 w 173"/>
                  <a:gd name="T33" fmla="*/ 23 h 52"/>
                  <a:gd name="T34" fmla="*/ 37 w 173"/>
                  <a:gd name="T35" fmla="*/ 8 h 52"/>
                  <a:gd name="T36" fmla="*/ 65 w 173"/>
                  <a:gd name="T37" fmla="*/ 8 h 52"/>
                  <a:gd name="T38" fmla="*/ 67 w 173"/>
                  <a:gd name="T39" fmla="*/ 9 h 52"/>
                  <a:gd name="T40" fmla="*/ 68 w 173"/>
                  <a:gd name="T41" fmla="*/ 10 h 52"/>
                  <a:gd name="T42" fmla="*/ 69 w 173"/>
                  <a:gd name="T43" fmla="*/ 11 h 52"/>
                  <a:gd name="T44" fmla="*/ 70 w 173"/>
                  <a:gd name="T45" fmla="*/ 13 h 52"/>
                  <a:gd name="T46" fmla="*/ 70 w 173"/>
                  <a:gd name="T47" fmla="*/ 52 h 52"/>
                  <a:gd name="T48" fmla="*/ 173 w 173"/>
                  <a:gd name="T49" fmla="*/ 52 h 52"/>
                  <a:gd name="T50" fmla="*/ 173 w 173"/>
                  <a:gd name="T5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52">
                    <a:moveTo>
                      <a:pt x="173" y="0"/>
                    </a:moveTo>
                    <a:cubicBezTo>
                      <a:pt x="137" y="0"/>
                      <a:pt x="137" y="0"/>
                      <a:pt x="137" y="0"/>
                    </a:cubicBezTo>
                    <a:cubicBezTo>
                      <a:pt x="137" y="22"/>
                      <a:pt x="137" y="22"/>
                      <a:pt x="137" y="22"/>
                    </a:cubicBezTo>
                    <a:cubicBezTo>
                      <a:pt x="137" y="23"/>
                      <a:pt x="137" y="24"/>
                      <a:pt x="137" y="24"/>
                    </a:cubicBezTo>
                    <a:cubicBezTo>
                      <a:pt x="136" y="25"/>
                      <a:pt x="136" y="25"/>
                      <a:pt x="136" y="26"/>
                    </a:cubicBezTo>
                    <a:cubicBezTo>
                      <a:pt x="134" y="27"/>
                      <a:pt x="133" y="28"/>
                      <a:pt x="131" y="28"/>
                    </a:cubicBezTo>
                    <a:cubicBezTo>
                      <a:pt x="127" y="30"/>
                      <a:pt x="122" y="31"/>
                      <a:pt x="116" y="31"/>
                    </a:cubicBezTo>
                    <a:cubicBezTo>
                      <a:pt x="113" y="31"/>
                      <a:pt x="110" y="31"/>
                      <a:pt x="108" y="30"/>
                    </a:cubicBezTo>
                    <a:cubicBezTo>
                      <a:pt x="101" y="28"/>
                      <a:pt x="101" y="28"/>
                      <a:pt x="101" y="28"/>
                    </a:cubicBezTo>
                    <a:cubicBezTo>
                      <a:pt x="96" y="26"/>
                      <a:pt x="96" y="26"/>
                      <a:pt x="96" y="26"/>
                    </a:cubicBezTo>
                    <a:cubicBezTo>
                      <a:pt x="95" y="24"/>
                      <a:pt x="95" y="24"/>
                      <a:pt x="95" y="24"/>
                    </a:cubicBezTo>
                    <a:cubicBezTo>
                      <a:pt x="95" y="22"/>
                      <a:pt x="95" y="22"/>
                      <a:pt x="95" y="22"/>
                    </a:cubicBezTo>
                    <a:cubicBezTo>
                      <a:pt x="95" y="0"/>
                      <a:pt x="95" y="0"/>
                      <a:pt x="95" y="0"/>
                    </a:cubicBezTo>
                    <a:cubicBezTo>
                      <a:pt x="0" y="0"/>
                      <a:pt x="0" y="0"/>
                      <a:pt x="0" y="0"/>
                    </a:cubicBezTo>
                    <a:cubicBezTo>
                      <a:pt x="0" y="52"/>
                      <a:pt x="0" y="52"/>
                      <a:pt x="0" y="52"/>
                    </a:cubicBezTo>
                    <a:cubicBezTo>
                      <a:pt x="22" y="52"/>
                      <a:pt x="22" y="52"/>
                      <a:pt x="22" y="52"/>
                    </a:cubicBezTo>
                    <a:cubicBezTo>
                      <a:pt x="22" y="23"/>
                      <a:pt x="22" y="23"/>
                      <a:pt x="22" y="23"/>
                    </a:cubicBezTo>
                    <a:cubicBezTo>
                      <a:pt x="37" y="8"/>
                      <a:pt x="37" y="8"/>
                      <a:pt x="37" y="8"/>
                    </a:cubicBezTo>
                    <a:cubicBezTo>
                      <a:pt x="65" y="8"/>
                      <a:pt x="65" y="8"/>
                      <a:pt x="65" y="8"/>
                    </a:cubicBezTo>
                    <a:cubicBezTo>
                      <a:pt x="67" y="9"/>
                      <a:pt x="67" y="9"/>
                      <a:pt x="67" y="9"/>
                    </a:cubicBezTo>
                    <a:cubicBezTo>
                      <a:pt x="68" y="10"/>
                      <a:pt x="68" y="10"/>
                      <a:pt x="68" y="10"/>
                    </a:cubicBezTo>
                    <a:cubicBezTo>
                      <a:pt x="69" y="11"/>
                      <a:pt x="69" y="11"/>
                      <a:pt x="69" y="11"/>
                    </a:cubicBezTo>
                    <a:cubicBezTo>
                      <a:pt x="70" y="13"/>
                      <a:pt x="70" y="13"/>
                      <a:pt x="70" y="13"/>
                    </a:cubicBezTo>
                    <a:cubicBezTo>
                      <a:pt x="70" y="52"/>
                      <a:pt x="70" y="52"/>
                      <a:pt x="70" y="52"/>
                    </a:cubicBezTo>
                    <a:cubicBezTo>
                      <a:pt x="173" y="52"/>
                      <a:pt x="173" y="52"/>
                      <a:pt x="173" y="52"/>
                    </a:cubicBezTo>
                    <a:lnTo>
                      <a:pt x="173"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13" name="Freeform 246"/>
              <p:cNvSpPr>
                <a:spLocks noEditPoints="1"/>
              </p:cNvSpPr>
              <p:nvPr/>
            </p:nvSpPr>
            <p:spPr bwMode="auto">
              <a:xfrm>
                <a:off x="5964238" y="3238500"/>
                <a:ext cx="88900" cy="88900"/>
              </a:xfrm>
              <a:custGeom>
                <a:avLst/>
                <a:gdLst>
                  <a:gd name="T0" fmla="*/ 7 w 56"/>
                  <a:gd name="T1" fmla="*/ 54 h 56"/>
                  <a:gd name="T2" fmla="*/ 9 w 56"/>
                  <a:gd name="T3" fmla="*/ 51 h 56"/>
                  <a:gd name="T4" fmla="*/ 47 w 56"/>
                  <a:gd name="T5" fmla="*/ 51 h 56"/>
                  <a:gd name="T6" fmla="*/ 48 w 56"/>
                  <a:gd name="T7" fmla="*/ 51 h 56"/>
                  <a:gd name="T8" fmla="*/ 49 w 56"/>
                  <a:gd name="T9" fmla="*/ 54 h 56"/>
                  <a:gd name="T10" fmla="*/ 48 w 56"/>
                  <a:gd name="T11" fmla="*/ 56 h 56"/>
                  <a:gd name="T12" fmla="*/ 56 w 56"/>
                  <a:gd name="T13" fmla="*/ 4 h 56"/>
                  <a:gd name="T14" fmla="*/ 55 w 56"/>
                  <a:gd name="T15" fmla="*/ 1 h 56"/>
                  <a:gd name="T16" fmla="*/ 52 w 56"/>
                  <a:gd name="T17" fmla="*/ 0 h 56"/>
                  <a:gd name="T18" fmla="*/ 19 w 56"/>
                  <a:gd name="T19" fmla="*/ 12 h 56"/>
                  <a:gd name="T20" fmla="*/ 17 w 56"/>
                  <a:gd name="T21" fmla="*/ 16 h 56"/>
                  <a:gd name="T22" fmla="*/ 13 w 56"/>
                  <a:gd name="T23" fmla="*/ 18 h 56"/>
                  <a:gd name="T24" fmla="*/ 0 w 56"/>
                  <a:gd name="T25" fmla="*/ 56 h 56"/>
                  <a:gd name="T26" fmla="*/ 7 w 56"/>
                  <a:gd name="T27" fmla="*/ 56 h 56"/>
                  <a:gd name="T28" fmla="*/ 24 w 56"/>
                  <a:gd name="T29" fmla="*/ 18 h 56"/>
                  <a:gd name="T30" fmla="*/ 27 w 56"/>
                  <a:gd name="T31" fmla="*/ 16 h 56"/>
                  <a:gd name="T32" fmla="*/ 48 w 56"/>
                  <a:gd name="T33" fmla="*/ 16 h 56"/>
                  <a:gd name="T34" fmla="*/ 49 w 56"/>
                  <a:gd name="T35" fmla="*/ 18 h 56"/>
                  <a:gd name="T36" fmla="*/ 49 w 56"/>
                  <a:gd name="T37" fmla="*/ 21 h 56"/>
                  <a:gd name="T38" fmla="*/ 48 w 56"/>
                  <a:gd name="T39" fmla="*/ 22 h 56"/>
                  <a:gd name="T40" fmla="*/ 27 w 56"/>
                  <a:gd name="T41" fmla="*/ 22 h 56"/>
                  <a:gd name="T42" fmla="*/ 24 w 56"/>
                  <a:gd name="T43" fmla="*/ 22 h 56"/>
                  <a:gd name="T44" fmla="*/ 24 w 56"/>
                  <a:gd name="T45" fmla="*/ 19 h 56"/>
                  <a:gd name="T46" fmla="*/ 9 w 56"/>
                  <a:gd name="T47" fmla="*/ 29 h 56"/>
                  <a:gd name="T48" fmla="*/ 47 w 56"/>
                  <a:gd name="T49" fmla="*/ 28 h 56"/>
                  <a:gd name="T50" fmla="*/ 48 w 56"/>
                  <a:gd name="T51" fmla="*/ 29 h 56"/>
                  <a:gd name="T52" fmla="*/ 49 w 56"/>
                  <a:gd name="T53" fmla="*/ 32 h 56"/>
                  <a:gd name="T54" fmla="*/ 48 w 56"/>
                  <a:gd name="T55" fmla="*/ 33 h 56"/>
                  <a:gd name="T56" fmla="*/ 10 w 56"/>
                  <a:gd name="T57" fmla="*/ 33 h 56"/>
                  <a:gd name="T58" fmla="*/ 9 w 56"/>
                  <a:gd name="T59" fmla="*/ 33 h 56"/>
                  <a:gd name="T60" fmla="*/ 9 w 56"/>
                  <a:gd name="T61" fmla="*/ 29 h 56"/>
                  <a:gd name="T62" fmla="*/ 9 w 56"/>
                  <a:gd name="T63" fmla="*/ 40 h 56"/>
                  <a:gd name="T64" fmla="*/ 47 w 56"/>
                  <a:gd name="T65" fmla="*/ 40 h 56"/>
                  <a:gd name="T66" fmla="*/ 48 w 56"/>
                  <a:gd name="T67" fmla="*/ 40 h 56"/>
                  <a:gd name="T68" fmla="*/ 49 w 56"/>
                  <a:gd name="T69" fmla="*/ 43 h 56"/>
                  <a:gd name="T70" fmla="*/ 48 w 56"/>
                  <a:gd name="T71" fmla="*/ 44 h 56"/>
                  <a:gd name="T72" fmla="*/ 10 w 56"/>
                  <a:gd name="T73" fmla="*/ 46 h 56"/>
                  <a:gd name="T74" fmla="*/ 9 w 56"/>
                  <a:gd name="T75" fmla="*/ 44 h 56"/>
                  <a:gd name="T76" fmla="*/ 9 w 56"/>
                  <a:gd name="T77" fmla="*/ 4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 h="56">
                    <a:moveTo>
                      <a:pt x="7" y="56"/>
                    </a:moveTo>
                    <a:lnTo>
                      <a:pt x="7" y="54"/>
                    </a:lnTo>
                    <a:lnTo>
                      <a:pt x="9" y="51"/>
                    </a:lnTo>
                    <a:lnTo>
                      <a:pt x="9" y="51"/>
                    </a:lnTo>
                    <a:lnTo>
                      <a:pt x="10" y="51"/>
                    </a:lnTo>
                    <a:lnTo>
                      <a:pt x="47" y="51"/>
                    </a:lnTo>
                    <a:lnTo>
                      <a:pt x="48" y="51"/>
                    </a:lnTo>
                    <a:lnTo>
                      <a:pt x="48" y="51"/>
                    </a:lnTo>
                    <a:lnTo>
                      <a:pt x="49" y="53"/>
                    </a:lnTo>
                    <a:lnTo>
                      <a:pt x="49" y="54"/>
                    </a:lnTo>
                    <a:lnTo>
                      <a:pt x="49" y="56"/>
                    </a:lnTo>
                    <a:lnTo>
                      <a:pt x="48" y="56"/>
                    </a:lnTo>
                    <a:lnTo>
                      <a:pt x="56" y="56"/>
                    </a:lnTo>
                    <a:lnTo>
                      <a:pt x="56" y="4"/>
                    </a:lnTo>
                    <a:lnTo>
                      <a:pt x="56" y="2"/>
                    </a:lnTo>
                    <a:lnTo>
                      <a:pt x="55" y="1"/>
                    </a:lnTo>
                    <a:lnTo>
                      <a:pt x="54" y="0"/>
                    </a:lnTo>
                    <a:lnTo>
                      <a:pt x="52" y="0"/>
                    </a:lnTo>
                    <a:lnTo>
                      <a:pt x="19" y="0"/>
                    </a:lnTo>
                    <a:lnTo>
                      <a:pt x="19" y="12"/>
                    </a:lnTo>
                    <a:lnTo>
                      <a:pt x="19" y="15"/>
                    </a:lnTo>
                    <a:lnTo>
                      <a:pt x="17" y="16"/>
                    </a:lnTo>
                    <a:lnTo>
                      <a:pt x="14" y="18"/>
                    </a:lnTo>
                    <a:lnTo>
                      <a:pt x="13" y="18"/>
                    </a:lnTo>
                    <a:lnTo>
                      <a:pt x="0" y="18"/>
                    </a:lnTo>
                    <a:lnTo>
                      <a:pt x="0" y="56"/>
                    </a:lnTo>
                    <a:lnTo>
                      <a:pt x="7" y="56"/>
                    </a:lnTo>
                    <a:lnTo>
                      <a:pt x="7" y="56"/>
                    </a:lnTo>
                    <a:close/>
                    <a:moveTo>
                      <a:pt x="24" y="19"/>
                    </a:moveTo>
                    <a:lnTo>
                      <a:pt x="24" y="18"/>
                    </a:lnTo>
                    <a:lnTo>
                      <a:pt x="24" y="18"/>
                    </a:lnTo>
                    <a:lnTo>
                      <a:pt x="27" y="16"/>
                    </a:lnTo>
                    <a:lnTo>
                      <a:pt x="47" y="16"/>
                    </a:lnTo>
                    <a:lnTo>
                      <a:pt x="48" y="16"/>
                    </a:lnTo>
                    <a:lnTo>
                      <a:pt x="48" y="18"/>
                    </a:lnTo>
                    <a:lnTo>
                      <a:pt x="49" y="18"/>
                    </a:lnTo>
                    <a:lnTo>
                      <a:pt x="49" y="19"/>
                    </a:lnTo>
                    <a:lnTo>
                      <a:pt x="49" y="21"/>
                    </a:lnTo>
                    <a:lnTo>
                      <a:pt x="48" y="22"/>
                    </a:lnTo>
                    <a:lnTo>
                      <a:pt x="48" y="22"/>
                    </a:lnTo>
                    <a:lnTo>
                      <a:pt x="47" y="22"/>
                    </a:lnTo>
                    <a:lnTo>
                      <a:pt x="27" y="22"/>
                    </a:lnTo>
                    <a:lnTo>
                      <a:pt x="26" y="22"/>
                    </a:lnTo>
                    <a:lnTo>
                      <a:pt x="24" y="22"/>
                    </a:lnTo>
                    <a:lnTo>
                      <a:pt x="24" y="21"/>
                    </a:lnTo>
                    <a:lnTo>
                      <a:pt x="24" y="19"/>
                    </a:lnTo>
                    <a:close/>
                    <a:moveTo>
                      <a:pt x="9" y="29"/>
                    </a:moveTo>
                    <a:lnTo>
                      <a:pt x="9" y="29"/>
                    </a:lnTo>
                    <a:lnTo>
                      <a:pt x="10" y="28"/>
                    </a:lnTo>
                    <a:lnTo>
                      <a:pt x="47" y="28"/>
                    </a:lnTo>
                    <a:lnTo>
                      <a:pt x="48" y="29"/>
                    </a:lnTo>
                    <a:lnTo>
                      <a:pt x="48" y="29"/>
                    </a:lnTo>
                    <a:lnTo>
                      <a:pt x="49" y="30"/>
                    </a:lnTo>
                    <a:lnTo>
                      <a:pt x="49" y="32"/>
                    </a:lnTo>
                    <a:lnTo>
                      <a:pt x="48" y="33"/>
                    </a:lnTo>
                    <a:lnTo>
                      <a:pt x="48" y="33"/>
                    </a:lnTo>
                    <a:lnTo>
                      <a:pt x="47" y="33"/>
                    </a:lnTo>
                    <a:lnTo>
                      <a:pt x="10" y="33"/>
                    </a:lnTo>
                    <a:lnTo>
                      <a:pt x="9" y="33"/>
                    </a:lnTo>
                    <a:lnTo>
                      <a:pt x="9" y="33"/>
                    </a:lnTo>
                    <a:lnTo>
                      <a:pt x="7" y="30"/>
                    </a:lnTo>
                    <a:lnTo>
                      <a:pt x="9" y="29"/>
                    </a:lnTo>
                    <a:close/>
                    <a:moveTo>
                      <a:pt x="9" y="40"/>
                    </a:moveTo>
                    <a:lnTo>
                      <a:pt x="9" y="40"/>
                    </a:lnTo>
                    <a:lnTo>
                      <a:pt x="10" y="40"/>
                    </a:lnTo>
                    <a:lnTo>
                      <a:pt x="47" y="40"/>
                    </a:lnTo>
                    <a:lnTo>
                      <a:pt x="48" y="40"/>
                    </a:lnTo>
                    <a:lnTo>
                      <a:pt x="48" y="40"/>
                    </a:lnTo>
                    <a:lnTo>
                      <a:pt x="49" y="42"/>
                    </a:lnTo>
                    <a:lnTo>
                      <a:pt x="49" y="43"/>
                    </a:lnTo>
                    <a:lnTo>
                      <a:pt x="48" y="44"/>
                    </a:lnTo>
                    <a:lnTo>
                      <a:pt x="48" y="44"/>
                    </a:lnTo>
                    <a:lnTo>
                      <a:pt x="47" y="46"/>
                    </a:lnTo>
                    <a:lnTo>
                      <a:pt x="10" y="46"/>
                    </a:lnTo>
                    <a:lnTo>
                      <a:pt x="9" y="44"/>
                    </a:lnTo>
                    <a:lnTo>
                      <a:pt x="9" y="44"/>
                    </a:lnTo>
                    <a:lnTo>
                      <a:pt x="7" y="43"/>
                    </a:lnTo>
                    <a:lnTo>
                      <a:pt x="9" y="4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14" name="Freeform 247"/>
              <p:cNvSpPr>
                <a:spLocks/>
              </p:cNvSpPr>
              <p:nvPr/>
            </p:nvSpPr>
            <p:spPr bwMode="auto">
              <a:xfrm>
                <a:off x="6118225" y="3211513"/>
                <a:ext cx="93663" cy="68263"/>
              </a:xfrm>
              <a:custGeom>
                <a:avLst/>
                <a:gdLst>
                  <a:gd name="T0" fmla="*/ 0 w 42"/>
                  <a:gd name="T1" fmla="*/ 24 h 31"/>
                  <a:gd name="T2" fmla="*/ 1 w 42"/>
                  <a:gd name="T3" fmla="*/ 26 h 31"/>
                  <a:gd name="T4" fmla="*/ 6 w 42"/>
                  <a:gd name="T5" fmla="*/ 28 h 31"/>
                  <a:gd name="T6" fmla="*/ 13 w 42"/>
                  <a:gd name="T7" fmla="*/ 30 h 31"/>
                  <a:gd name="T8" fmla="*/ 21 w 42"/>
                  <a:gd name="T9" fmla="*/ 31 h 31"/>
                  <a:gd name="T10" fmla="*/ 36 w 42"/>
                  <a:gd name="T11" fmla="*/ 28 h 31"/>
                  <a:gd name="T12" fmla="*/ 41 w 42"/>
                  <a:gd name="T13" fmla="*/ 26 h 31"/>
                  <a:gd name="T14" fmla="*/ 42 w 42"/>
                  <a:gd name="T15" fmla="*/ 24 h 31"/>
                  <a:gd name="T16" fmla="*/ 42 w 42"/>
                  <a:gd name="T17" fmla="*/ 22 h 31"/>
                  <a:gd name="T18" fmla="*/ 42 w 42"/>
                  <a:gd name="T19" fmla="*/ 0 h 31"/>
                  <a:gd name="T20" fmla="*/ 0 w 42"/>
                  <a:gd name="T21" fmla="*/ 0 h 31"/>
                  <a:gd name="T22" fmla="*/ 0 w 42"/>
                  <a:gd name="T23" fmla="*/ 22 h 31"/>
                  <a:gd name="T24" fmla="*/ 0 w 42"/>
                  <a:gd name="T25" fmla="*/ 2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31">
                    <a:moveTo>
                      <a:pt x="0" y="24"/>
                    </a:moveTo>
                    <a:cubicBezTo>
                      <a:pt x="1" y="26"/>
                      <a:pt x="1" y="26"/>
                      <a:pt x="1" y="26"/>
                    </a:cubicBezTo>
                    <a:cubicBezTo>
                      <a:pt x="6" y="28"/>
                      <a:pt x="6" y="28"/>
                      <a:pt x="6" y="28"/>
                    </a:cubicBezTo>
                    <a:cubicBezTo>
                      <a:pt x="13" y="30"/>
                      <a:pt x="13" y="30"/>
                      <a:pt x="13" y="30"/>
                    </a:cubicBezTo>
                    <a:cubicBezTo>
                      <a:pt x="15" y="31"/>
                      <a:pt x="18" y="31"/>
                      <a:pt x="21" y="31"/>
                    </a:cubicBezTo>
                    <a:cubicBezTo>
                      <a:pt x="27" y="31"/>
                      <a:pt x="32" y="30"/>
                      <a:pt x="36" y="28"/>
                    </a:cubicBezTo>
                    <a:cubicBezTo>
                      <a:pt x="38" y="28"/>
                      <a:pt x="39" y="27"/>
                      <a:pt x="41" y="26"/>
                    </a:cubicBezTo>
                    <a:cubicBezTo>
                      <a:pt x="41" y="25"/>
                      <a:pt x="41" y="25"/>
                      <a:pt x="42" y="24"/>
                    </a:cubicBezTo>
                    <a:cubicBezTo>
                      <a:pt x="42" y="24"/>
                      <a:pt x="42" y="23"/>
                      <a:pt x="42" y="22"/>
                    </a:cubicBezTo>
                    <a:cubicBezTo>
                      <a:pt x="42" y="0"/>
                      <a:pt x="42" y="0"/>
                      <a:pt x="42" y="0"/>
                    </a:cubicBezTo>
                    <a:cubicBezTo>
                      <a:pt x="0" y="0"/>
                      <a:pt x="0" y="0"/>
                      <a:pt x="0" y="0"/>
                    </a:cubicBezTo>
                    <a:cubicBezTo>
                      <a:pt x="0" y="22"/>
                      <a:pt x="0" y="22"/>
                      <a:pt x="0" y="22"/>
                    </a:cubicBezTo>
                    <a:lnTo>
                      <a:pt x="0" y="24"/>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15" name="Freeform 248"/>
              <p:cNvSpPr>
                <a:spLocks/>
              </p:cNvSpPr>
              <p:nvPr/>
            </p:nvSpPr>
            <p:spPr bwMode="auto">
              <a:xfrm>
                <a:off x="5975350" y="3282950"/>
                <a:ext cx="66675" cy="7938"/>
              </a:xfrm>
              <a:custGeom>
                <a:avLst/>
                <a:gdLst>
                  <a:gd name="T0" fmla="*/ 2 w 42"/>
                  <a:gd name="T1" fmla="*/ 5 h 5"/>
                  <a:gd name="T2" fmla="*/ 3 w 42"/>
                  <a:gd name="T3" fmla="*/ 5 h 5"/>
                  <a:gd name="T4" fmla="*/ 40 w 42"/>
                  <a:gd name="T5" fmla="*/ 5 h 5"/>
                  <a:gd name="T6" fmla="*/ 41 w 42"/>
                  <a:gd name="T7" fmla="*/ 5 h 5"/>
                  <a:gd name="T8" fmla="*/ 41 w 42"/>
                  <a:gd name="T9" fmla="*/ 5 h 5"/>
                  <a:gd name="T10" fmla="*/ 42 w 42"/>
                  <a:gd name="T11" fmla="*/ 4 h 5"/>
                  <a:gd name="T12" fmla="*/ 42 w 42"/>
                  <a:gd name="T13" fmla="*/ 2 h 5"/>
                  <a:gd name="T14" fmla="*/ 41 w 42"/>
                  <a:gd name="T15" fmla="*/ 1 h 5"/>
                  <a:gd name="T16" fmla="*/ 41 w 42"/>
                  <a:gd name="T17" fmla="*/ 1 h 5"/>
                  <a:gd name="T18" fmla="*/ 40 w 42"/>
                  <a:gd name="T19" fmla="*/ 0 h 5"/>
                  <a:gd name="T20" fmla="*/ 3 w 42"/>
                  <a:gd name="T21" fmla="*/ 0 h 5"/>
                  <a:gd name="T22" fmla="*/ 2 w 42"/>
                  <a:gd name="T23" fmla="*/ 1 h 5"/>
                  <a:gd name="T24" fmla="*/ 2 w 42"/>
                  <a:gd name="T25" fmla="*/ 1 h 5"/>
                  <a:gd name="T26" fmla="*/ 0 w 42"/>
                  <a:gd name="T27" fmla="*/ 2 h 5"/>
                  <a:gd name="T28" fmla="*/ 2 w 42"/>
                  <a:gd name="T29" fmla="*/ 5 h 5"/>
                  <a:gd name="T30" fmla="*/ 2 w 42"/>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5">
                    <a:moveTo>
                      <a:pt x="2" y="5"/>
                    </a:moveTo>
                    <a:lnTo>
                      <a:pt x="3" y="5"/>
                    </a:lnTo>
                    <a:lnTo>
                      <a:pt x="40" y="5"/>
                    </a:lnTo>
                    <a:lnTo>
                      <a:pt x="41" y="5"/>
                    </a:lnTo>
                    <a:lnTo>
                      <a:pt x="41" y="5"/>
                    </a:lnTo>
                    <a:lnTo>
                      <a:pt x="42" y="4"/>
                    </a:lnTo>
                    <a:lnTo>
                      <a:pt x="42" y="2"/>
                    </a:lnTo>
                    <a:lnTo>
                      <a:pt x="41" y="1"/>
                    </a:lnTo>
                    <a:lnTo>
                      <a:pt x="41" y="1"/>
                    </a:lnTo>
                    <a:lnTo>
                      <a:pt x="40" y="0"/>
                    </a:lnTo>
                    <a:lnTo>
                      <a:pt x="3" y="0"/>
                    </a:lnTo>
                    <a:lnTo>
                      <a:pt x="2" y="1"/>
                    </a:lnTo>
                    <a:lnTo>
                      <a:pt x="2" y="1"/>
                    </a:lnTo>
                    <a:lnTo>
                      <a:pt x="0" y="2"/>
                    </a:lnTo>
                    <a:lnTo>
                      <a:pt x="2" y="5"/>
                    </a:lnTo>
                    <a:lnTo>
                      <a:pt x="2" y="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16" name="Freeform 249"/>
              <p:cNvSpPr>
                <a:spLocks/>
              </p:cNvSpPr>
              <p:nvPr/>
            </p:nvSpPr>
            <p:spPr bwMode="auto">
              <a:xfrm>
                <a:off x="6002338" y="3263900"/>
                <a:ext cx="39688" cy="9525"/>
              </a:xfrm>
              <a:custGeom>
                <a:avLst/>
                <a:gdLst>
                  <a:gd name="T0" fmla="*/ 2 w 25"/>
                  <a:gd name="T1" fmla="*/ 6 h 6"/>
                  <a:gd name="T2" fmla="*/ 3 w 25"/>
                  <a:gd name="T3" fmla="*/ 6 h 6"/>
                  <a:gd name="T4" fmla="*/ 23 w 25"/>
                  <a:gd name="T5" fmla="*/ 6 h 6"/>
                  <a:gd name="T6" fmla="*/ 24 w 25"/>
                  <a:gd name="T7" fmla="*/ 6 h 6"/>
                  <a:gd name="T8" fmla="*/ 24 w 25"/>
                  <a:gd name="T9" fmla="*/ 6 h 6"/>
                  <a:gd name="T10" fmla="*/ 25 w 25"/>
                  <a:gd name="T11" fmla="*/ 5 h 6"/>
                  <a:gd name="T12" fmla="*/ 25 w 25"/>
                  <a:gd name="T13" fmla="*/ 3 h 6"/>
                  <a:gd name="T14" fmla="*/ 25 w 25"/>
                  <a:gd name="T15" fmla="*/ 2 h 6"/>
                  <a:gd name="T16" fmla="*/ 24 w 25"/>
                  <a:gd name="T17" fmla="*/ 2 h 6"/>
                  <a:gd name="T18" fmla="*/ 24 w 25"/>
                  <a:gd name="T19" fmla="*/ 0 h 6"/>
                  <a:gd name="T20" fmla="*/ 23 w 25"/>
                  <a:gd name="T21" fmla="*/ 0 h 6"/>
                  <a:gd name="T22" fmla="*/ 3 w 25"/>
                  <a:gd name="T23" fmla="*/ 0 h 6"/>
                  <a:gd name="T24" fmla="*/ 0 w 25"/>
                  <a:gd name="T25" fmla="*/ 2 h 6"/>
                  <a:gd name="T26" fmla="*/ 0 w 25"/>
                  <a:gd name="T27" fmla="*/ 2 h 6"/>
                  <a:gd name="T28" fmla="*/ 0 w 25"/>
                  <a:gd name="T29" fmla="*/ 3 h 6"/>
                  <a:gd name="T30" fmla="*/ 0 w 25"/>
                  <a:gd name="T31" fmla="*/ 5 h 6"/>
                  <a:gd name="T32" fmla="*/ 0 w 25"/>
                  <a:gd name="T33" fmla="*/ 6 h 6"/>
                  <a:gd name="T34" fmla="*/ 2 w 25"/>
                  <a:gd name="T3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6">
                    <a:moveTo>
                      <a:pt x="2" y="6"/>
                    </a:moveTo>
                    <a:lnTo>
                      <a:pt x="3" y="6"/>
                    </a:lnTo>
                    <a:lnTo>
                      <a:pt x="23" y="6"/>
                    </a:lnTo>
                    <a:lnTo>
                      <a:pt x="24" y="6"/>
                    </a:lnTo>
                    <a:lnTo>
                      <a:pt x="24" y="6"/>
                    </a:lnTo>
                    <a:lnTo>
                      <a:pt x="25" y="5"/>
                    </a:lnTo>
                    <a:lnTo>
                      <a:pt x="25" y="3"/>
                    </a:lnTo>
                    <a:lnTo>
                      <a:pt x="25" y="2"/>
                    </a:lnTo>
                    <a:lnTo>
                      <a:pt x="24" y="2"/>
                    </a:lnTo>
                    <a:lnTo>
                      <a:pt x="24" y="0"/>
                    </a:lnTo>
                    <a:lnTo>
                      <a:pt x="23" y="0"/>
                    </a:lnTo>
                    <a:lnTo>
                      <a:pt x="3" y="0"/>
                    </a:lnTo>
                    <a:lnTo>
                      <a:pt x="0" y="2"/>
                    </a:lnTo>
                    <a:lnTo>
                      <a:pt x="0" y="2"/>
                    </a:lnTo>
                    <a:lnTo>
                      <a:pt x="0" y="3"/>
                    </a:lnTo>
                    <a:lnTo>
                      <a:pt x="0" y="5"/>
                    </a:lnTo>
                    <a:lnTo>
                      <a:pt x="0" y="6"/>
                    </a:lnTo>
                    <a:lnTo>
                      <a:pt x="2" y="6"/>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17" name="Freeform 250"/>
              <p:cNvSpPr>
                <a:spLocks/>
              </p:cNvSpPr>
              <p:nvPr/>
            </p:nvSpPr>
            <p:spPr bwMode="auto">
              <a:xfrm>
                <a:off x="5975350" y="3302000"/>
                <a:ext cx="66675" cy="9525"/>
              </a:xfrm>
              <a:custGeom>
                <a:avLst/>
                <a:gdLst>
                  <a:gd name="T0" fmla="*/ 2 w 42"/>
                  <a:gd name="T1" fmla="*/ 4 h 6"/>
                  <a:gd name="T2" fmla="*/ 3 w 42"/>
                  <a:gd name="T3" fmla="*/ 6 h 6"/>
                  <a:gd name="T4" fmla="*/ 40 w 42"/>
                  <a:gd name="T5" fmla="*/ 6 h 6"/>
                  <a:gd name="T6" fmla="*/ 41 w 42"/>
                  <a:gd name="T7" fmla="*/ 4 h 6"/>
                  <a:gd name="T8" fmla="*/ 41 w 42"/>
                  <a:gd name="T9" fmla="*/ 4 h 6"/>
                  <a:gd name="T10" fmla="*/ 42 w 42"/>
                  <a:gd name="T11" fmla="*/ 3 h 6"/>
                  <a:gd name="T12" fmla="*/ 42 w 42"/>
                  <a:gd name="T13" fmla="*/ 2 h 6"/>
                  <a:gd name="T14" fmla="*/ 41 w 42"/>
                  <a:gd name="T15" fmla="*/ 0 h 6"/>
                  <a:gd name="T16" fmla="*/ 41 w 42"/>
                  <a:gd name="T17" fmla="*/ 0 h 6"/>
                  <a:gd name="T18" fmla="*/ 40 w 42"/>
                  <a:gd name="T19" fmla="*/ 0 h 6"/>
                  <a:gd name="T20" fmla="*/ 3 w 42"/>
                  <a:gd name="T21" fmla="*/ 0 h 6"/>
                  <a:gd name="T22" fmla="*/ 2 w 42"/>
                  <a:gd name="T23" fmla="*/ 0 h 6"/>
                  <a:gd name="T24" fmla="*/ 2 w 42"/>
                  <a:gd name="T25" fmla="*/ 0 h 6"/>
                  <a:gd name="T26" fmla="*/ 0 w 42"/>
                  <a:gd name="T27" fmla="*/ 3 h 6"/>
                  <a:gd name="T28" fmla="*/ 2 w 42"/>
                  <a:gd name="T29" fmla="*/ 4 h 6"/>
                  <a:gd name="T30" fmla="*/ 2 w 42"/>
                  <a:gd name="T3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6">
                    <a:moveTo>
                      <a:pt x="2" y="4"/>
                    </a:moveTo>
                    <a:lnTo>
                      <a:pt x="3" y="6"/>
                    </a:lnTo>
                    <a:lnTo>
                      <a:pt x="40" y="6"/>
                    </a:lnTo>
                    <a:lnTo>
                      <a:pt x="41" y="4"/>
                    </a:lnTo>
                    <a:lnTo>
                      <a:pt x="41" y="4"/>
                    </a:lnTo>
                    <a:lnTo>
                      <a:pt x="42" y="3"/>
                    </a:lnTo>
                    <a:lnTo>
                      <a:pt x="42" y="2"/>
                    </a:lnTo>
                    <a:lnTo>
                      <a:pt x="41" y="0"/>
                    </a:lnTo>
                    <a:lnTo>
                      <a:pt x="41" y="0"/>
                    </a:lnTo>
                    <a:lnTo>
                      <a:pt x="40" y="0"/>
                    </a:lnTo>
                    <a:lnTo>
                      <a:pt x="3" y="0"/>
                    </a:lnTo>
                    <a:lnTo>
                      <a:pt x="2" y="0"/>
                    </a:lnTo>
                    <a:lnTo>
                      <a:pt x="2" y="0"/>
                    </a:lnTo>
                    <a:lnTo>
                      <a:pt x="0" y="3"/>
                    </a:lnTo>
                    <a:lnTo>
                      <a:pt x="2" y="4"/>
                    </a:lnTo>
                    <a:lnTo>
                      <a:pt x="2" y="4"/>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18" name="Freeform 251"/>
              <p:cNvSpPr>
                <a:spLocks/>
              </p:cNvSpPr>
              <p:nvPr/>
            </p:nvSpPr>
            <p:spPr bwMode="auto">
              <a:xfrm>
                <a:off x="5975350" y="3327400"/>
                <a:ext cx="65088" cy="1588"/>
              </a:xfrm>
              <a:custGeom>
                <a:avLst/>
                <a:gdLst>
                  <a:gd name="T0" fmla="*/ 2 w 41"/>
                  <a:gd name="T1" fmla="*/ 0 h 1"/>
                  <a:gd name="T2" fmla="*/ 2 w 41"/>
                  <a:gd name="T3" fmla="*/ 1 h 1"/>
                  <a:gd name="T4" fmla="*/ 3 w 41"/>
                  <a:gd name="T5" fmla="*/ 1 h 1"/>
                  <a:gd name="T6" fmla="*/ 40 w 41"/>
                  <a:gd name="T7" fmla="*/ 1 h 1"/>
                  <a:gd name="T8" fmla="*/ 41 w 41"/>
                  <a:gd name="T9" fmla="*/ 1 h 1"/>
                  <a:gd name="T10" fmla="*/ 41 w 41"/>
                  <a:gd name="T11" fmla="*/ 0 h 1"/>
                  <a:gd name="T12" fmla="*/ 41 w 41"/>
                  <a:gd name="T13" fmla="*/ 0 h 1"/>
                  <a:gd name="T14" fmla="*/ 0 w 41"/>
                  <a:gd name="T15" fmla="*/ 0 h 1"/>
                  <a:gd name="T16" fmla="*/ 2 w 41"/>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
                    <a:moveTo>
                      <a:pt x="2" y="0"/>
                    </a:moveTo>
                    <a:lnTo>
                      <a:pt x="2" y="1"/>
                    </a:lnTo>
                    <a:lnTo>
                      <a:pt x="3" y="1"/>
                    </a:lnTo>
                    <a:lnTo>
                      <a:pt x="40" y="1"/>
                    </a:lnTo>
                    <a:lnTo>
                      <a:pt x="41" y="1"/>
                    </a:lnTo>
                    <a:lnTo>
                      <a:pt x="41" y="0"/>
                    </a:lnTo>
                    <a:lnTo>
                      <a:pt x="41" y="0"/>
                    </a:lnTo>
                    <a:lnTo>
                      <a:pt x="0" y="0"/>
                    </a:lnTo>
                    <a:lnTo>
                      <a:pt x="2"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19" name="Freeform 252"/>
              <p:cNvSpPr>
                <a:spLocks/>
              </p:cNvSpPr>
              <p:nvPr/>
            </p:nvSpPr>
            <p:spPr bwMode="auto">
              <a:xfrm>
                <a:off x="5975350" y="3319463"/>
                <a:ext cx="66675" cy="7938"/>
              </a:xfrm>
              <a:custGeom>
                <a:avLst/>
                <a:gdLst>
                  <a:gd name="T0" fmla="*/ 42 w 42"/>
                  <a:gd name="T1" fmla="*/ 3 h 5"/>
                  <a:gd name="T2" fmla="*/ 42 w 42"/>
                  <a:gd name="T3" fmla="*/ 2 h 5"/>
                  <a:gd name="T4" fmla="*/ 41 w 42"/>
                  <a:gd name="T5" fmla="*/ 0 h 5"/>
                  <a:gd name="T6" fmla="*/ 41 w 42"/>
                  <a:gd name="T7" fmla="*/ 0 h 5"/>
                  <a:gd name="T8" fmla="*/ 40 w 42"/>
                  <a:gd name="T9" fmla="*/ 0 h 5"/>
                  <a:gd name="T10" fmla="*/ 3 w 42"/>
                  <a:gd name="T11" fmla="*/ 0 h 5"/>
                  <a:gd name="T12" fmla="*/ 2 w 42"/>
                  <a:gd name="T13" fmla="*/ 0 h 5"/>
                  <a:gd name="T14" fmla="*/ 2 w 42"/>
                  <a:gd name="T15" fmla="*/ 0 h 5"/>
                  <a:gd name="T16" fmla="*/ 0 w 42"/>
                  <a:gd name="T17" fmla="*/ 3 h 5"/>
                  <a:gd name="T18" fmla="*/ 0 w 42"/>
                  <a:gd name="T19" fmla="*/ 5 h 5"/>
                  <a:gd name="T20" fmla="*/ 0 w 42"/>
                  <a:gd name="T21" fmla="*/ 5 h 5"/>
                  <a:gd name="T22" fmla="*/ 41 w 42"/>
                  <a:gd name="T23" fmla="*/ 5 h 5"/>
                  <a:gd name="T24" fmla="*/ 42 w 42"/>
                  <a:gd name="T25" fmla="*/ 5 h 5"/>
                  <a:gd name="T26" fmla="*/ 42 w 42"/>
                  <a:gd name="T2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5">
                    <a:moveTo>
                      <a:pt x="42" y="3"/>
                    </a:moveTo>
                    <a:lnTo>
                      <a:pt x="42" y="2"/>
                    </a:lnTo>
                    <a:lnTo>
                      <a:pt x="41" y="0"/>
                    </a:lnTo>
                    <a:lnTo>
                      <a:pt x="41" y="0"/>
                    </a:lnTo>
                    <a:lnTo>
                      <a:pt x="40" y="0"/>
                    </a:lnTo>
                    <a:lnTo>
                      <a:pt x="3" y="0"/>
                    </a:lnTo>
                    <a:lnTo>
                      <a:pt x="2" y="0"/>
                    </a:lnTo>
                    <a:lnTo>
                      <a:pt x="2" y="0"/>
                    </a:lnTo>
                    <a:lnTo>
                      <a:pt x="0" y="3"/>
                    </a:lnTo>
                    <a:lnTo>
                      <a:pt x="0" y="5"/>
                    </a:lnTo>
                    <a:lnTo>
                      <a:pt x="0" y="5"/>
                    </a:lnTo>
                    <a:lnTo>
                      <a:pt x="41" y="5"/>
                    </a:lnTo>
                    <a:lnTo>
                      <a:pt x="42" y="5"/>
                    </a:lnTo>
                    <a:lnTo>
                      <a:pt x="42" y="3"/>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20" name="Freeform 253"/>
              <p:cNvSpPr>
                <a:spLocks/>
              </p:cNvSpPr>
              <p:nvPr/>
            </p:nvSpPr>
            <p:spPr bwMode="auto">
              <a:xfrm>
                <a:off x="5956300" y="3228975"/>
                <a:ext cx="106363" cy="98425"/>
              </a:xfrm>
              <a:custGeom>
                <a:avLst/>
                <a:gdLst>
                  <a:gd name="T0" fmla="*/ 66 w 67"/>
                  <a:gd name="T1" fmla="*/ 4 h 62"/>
                  <a:gd name="T2" fmla="*/ 64 w 67"/>
                  <a:gd name="T3" fmla="*/ 3 h 62"/>
                  <a:gd name="T4" fmla="*/ 63 w 67"/>
                  <a:gd name="T5" fmla="*/ 1 h 62"/>
                  <a:gd name="T6" fmla="*/ 60 w 67"/>
                  <a:gd name="T7" fmla="*/ 0 h 62"/>
                  <a:gd name="T8" fmla="*/ 21 w 67"/>
                  <a:gd name="T9" fmla="*/ 0 h 62"/>
                  <a:gd name="T10" fmla="*/ 0 w 67"/>
                  <a:gd name="T11" fmla="*/ 21 h 62"/>
                  <a:gd name="T12" fmla="*/ 0 w 67"/>
                  <a:gd name="T13" fmla="*/ 62 h 62"/>
                  <a:gd name="T14" fmla="*/ 5 w 67"/>
                  <a:gd name="T15" fmla="*/ 62 h 62"/>
                  <a:gd name="T16" fmla="*/ 5 w 67"/>
                  <a:gd name="T17" fmla="*/ 24 h 62"/>
                  <a:gd name="T18" fmla="*/ 18 w 67"/>
                  <a:gd name="T19" fmla="*/ 24 h 62"/>
                  <a:gd name="T20" fmla="*/ 19 w 67"/>
                  <a:gd name="T21" fmla="*/ 24 h 62"/>
                  <a:gd name="T22" fmla="*/ 22 w 67"/>
                  <a:gd name="T23" fmla="*/ 22 h 62"/>
                  <a:gd name="T24" fmla="*/ 24 w 67"/>
                  <a:gd name="T25" fmla="*/ 21 h 62"/>
                  <a:gd name="T26" fmla="*/ 24 w 67"/>
                  <a:gd name="T27" fmla="*/ 18 h 62"/>
                  <a:gd name="T28" fmla="*/ 24 w 67"/>
                  <a:gd name="T29" fmla="*/ 6 h 62"/>
                  <a:gd name="T30" fmla="*/ 57 w 67"/>
                  <a:gd name="T31" fmla="*/ 6 h 62"/>
                  <a:gd name="T32" fmla="*/ 59 w 67"/>
                  <a:gd name="T33" fmla="*/ 6 h 62"/>
                  <a:gd name="T34" fmla="*/ 60 w 67"/>
                  <a:gd name="T35" fmla="*/ 7 h 62"/>
                  <a:gd name="T36" fmla="*/ 61 w 67"/>
                  <a:gd name="T37" fmla="*/ 8 h 62"/>
                  <a:gd name="T38" fmla="*/ 61 w 67"/>
                  <a:gd name="T39" fmla="*/ 10 h 62"/>
                  <a:gd name="T40" fmla="*/ 61 w 67"/>
                  <a:gd name="T41" fmla="*/ 62 h 62"/>
                  <a:gd name="T42" fmla="*/ 67 w 67"/>
                  <a:gd name="T43" fmla="*/ 62 h 62"/>
                  <a:gd name="T44" fmla="*/ 67 w 67"/>
                  <a:gd name="T45" fmla="*/ 7 h 62"/>
                  <a:gd name="T46" fmla="*/ 66 w 67"/>
                  <a:gd name="T4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 h="62">
                    <a:moveTo>
                      <a:pt x="66" y="4"/>
                    </a:moveTo>
                    <a:lnTo>
                      <a:pt x="64" y="3"/>
                    </a:lnTo>
                    <a:lnTo>
                      <a:pt x="63" y="1"/>
                    </a:lnTo>
                    <a:lnTo>
                      <a:pt x="60" y="0"/>
                    </a:lnTo>
                    <a:lnTo>
                      <a:pt x="21" y="0"/>
                    </a:lnTo>
                    <a:lnTo>
                      <a:pt x="0" y="21"/>
                    </a:lnTo>
                    <a:lnTo>
                      <a:pt x="0" y="62"/>
                    </a:lnTo>
                    <a:lnTo>
                      <a:pt x="5" y="62"/>
                    </a:lnTo>
                    <a:lnTo>
                      <a:pt x="5" y="24"/>
                    </a:lnTo>
                    <a:lnTo>
                      <a:pt x="18" y="24"/>
                    </a:lnTo>
                    <a:lnTo>
                      <a:pt x="19" y="24"/>
                    </a:lnTo>
                    <a:lnTo>
                      <a:pt x="22" y="22"/>
                    </a:lnTo>
                    <a:lnTo>
                      <a:pt x="24" y="21"/>
                    </a:lnTo>
                    <a:lnTo>
                      <a:pt x="24" y="18"/>
                    </a:lnTo>
                    <a:lnTo>
                      <a:pt x="24" y="6"/>
                    </a:lnTo>
                    <a:lnTo>
                      <a:pt x="57" y="6"/>
                    </a:lnTo>
                    <a:lnTo>
                      <a:pt x="59" y="6"/>
                    </a:lnTo>
                    <a:lnTo>
                      <a:pt x="60" y="7"/>
                    </a:lnTo>
                    <a:lnTo>
                      <a:pt x="61" y="8"/>
                    </a:lnTo>
                    <a:lnTo>
                      <a:pt x="61" y="10"/>
                    </a:lnTo>
                    <a:lnTo>
                      <a:pt x="61" y="62"/>
                    </a:lnTo>
                    <a:lnTo>
                      <a:pt x="67" y="62"/>
                    </a:lnTo>
                    <a:lnTo>
                      <a:pt x="67" y="7"/>
                    </a:lnTo>
                    <a:lnTo>
                      <a:pt x="66" y="4"/>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21" name="Rectangle 254"/>
              <p:cNvSpPr>
                <a:spLocks noChangeArrowheads="1"/>
              </p:cNvSpPr>
              <p:nvPr/>
            </p:nvSpPr>
            <p:spPr bwMode="auto">
              <a:xfrm>
                <a:off x="6005513" y="3644900"/>
                <a:ext cx="195263" cy="666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22" name="Rectangle 255"/>
              <p:cNvSpPr>
                <a:spLocks noChangeArrowheads="1"/>
              </p:cNvSpPr>
              <p:nvPr/>
            </p:nvSpPr>
            <p:spPr bwMode="auto">
              <a:xfrm>
                <a:off x="6051550" y="4041775"/>
                <a:ext cx="22225" cy="809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23" name="Freeform 256"/>
              <p:cNvSpPr>
                <a:spLocks/>
              </p:cNvSpPr>
              <p:nvPr/>
            </p:nvSpPr>
            <p:spPr bwMode="auto">
              <a:xfrm>
                <a:off x="5972175" y="4056063"/>
                <a:ext cx="22225" cy="66675"/>
              </a:xfrm>
              <a:custGeom>
                <a:avLst/>
                <a:gdLst>
                  <a:gd name="T0" fmla="*/ 0 w 14"/>
                  <a:gd name="T1" fmla="*/ 0 h 42"/>
                  <a:gd name="T2" fmla="*/ 0 w 14"/>
                  <a:gd name="T3" fmla="*/ 8 h 42"/>
                  <a:gd name="T4" fmla="*/ 0 w 14"/>
                  <a:gd name="T5" fmla="*/ 42 h 42"/>
                  <a:gd name="T6" fmla="*/ 14 w 14"/>
                  <a:gd name="T7" fmla="*/ 42 h 42"/>
                  <a:gd name="T8" fmla="*/ 14 w 14"/>
                  <a:gd name="T9" fmla="*/ 1 h 42"/>
                  <a:gd name="T10" fmla="*/ 14 w 14"/>
                  <a:gd name="T11" fmla="*/ 0 h 42"/>
                  <a:gd name="T12" fmla="*/ 0 w 14"/>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14" h="42">
                    <a:moveTo>
                      <a:pt x="0" y="0"/>
                    </a:moveTo>
                    <a:lnTo>
                      <a:pt x="0" y="8"/>
                    </a:lnTo>
                    <a:lnTo>
                      <a:pt x="0" y="42"/>
                    </a:lnTo>
                    <a:lnTo>
                      <a:pt x="14" y="42"/>
                    </a:lnTo>
                    <a:lnTo>
                      <a:pt x="14" y="1"/>
                    </a:lnTo>
                    <a:lnTo>
                      <a:pt x="14" y="0"/>
                    </a:lnTo>
                    <a:lnTo>
                      <a:pt x="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24" name="Freeform 257"/>
              <p:cNvSpPr>
                <a:spLocks/>
              </p:cNvSpPr>
              <p:nvPr/>
            </p:nvSpPr>
            <p:spPr bwMode="auto">
              <a:xfrm>
                <a:off x="5997575" y="3992563"/>
                <a:ext cx="22225" cy="130175"/>
              </a:xfrm>
              <a:custGeom>
                <a:avLst/>
                <a:gdLst>
                  <a:gd name="T0" fmla="*/ 0 w 14"/>
                  <a:gd name="T1" fmla="*/ 0 h 82"/>
                  <a:gd name="T2" fmla="*/ 0 w 14"/>
                  <a:gd name="T3" fmla="*/ 41 h 82"/>
                  <a:gd name="T4" fmla="*/ 0 w 14"/>
                  <a:gd name="T5" fmla="*/ 82 h 82"/>
                  <a:gd name="T6" fmla="*/ 14 w 14"/>
                  <a:gd name="T7" fmla="*/ 82 h 82"/>
                  <a:gd name="T8" fmla="*/ 14 w 14"/>
                  <a:gd name="T9" fmla="*/ 34 h 82"/>
                  <a:gd name="T10" fmla="*/ 14 w 14"/>
                  <a:gd name="T11" fmla="*/ 0 h 82"/>
                  <a:gd name="T12" fmla="*/ 0 w 14"/>
                  <a:gd name="T13" fmla="*/ 0 h 82"/>
                </a:gdLst>
                <a:ahLst/>
                <a:cxnLst>
                  <a:cxn ang="0">
                    <a:pos x="T0" y="T1"/>
                  </a:cxn>
                  <a:cxn ang="0">
                    <a:pos x="T2" y="T3"/>
                  </a:cxn>
                  <a:cxn ang="0">
                    <a:pos x="T4" y="T5"/>
                  </a:cxn>
                  <a:cxn ang="0">
                    <a:pos x="T6" y="T7"/>
                  </a:cxn>
                  <a:cxn ang="0">
                    <a:pos x="T8" y="T9"/>
                  </a:cxn>
                  <a:cxn ang="0">
                    <a:pos x="T10" y="T11"/>
                  </a:cxn>
                  <a:cxn ang="0">
                    <a:pos x="T12" y="T13"/>
                  </a:cxn>
                </a:cxnLst>
                <a:rect l="0" t="0" r="r" b="b"/>
                <a:pathLst>
                  <a:path w="14" h="82">
                    <a:moveTo>
                      <a:pt x="0" y="0"/>
                    </a:moveTo>
                    <a:lnTo>
                      <a:pt x="0" y="41"/>
                    </a:lnTo>
                    <a:lnTo>
                      <a:pt x="0" y="82"/>
                    </a:lnTo>
                    <a:lnTo>
                      <a:pt x="14" y="82"/>
                    </a:lnTo>
                    <a:lnTo>
                      <a:pt x="14" y="34"/>
                    </a:lnTo>
                    <a:lnTo>
                      <a:pt x="14" y="0"/>
                    </a:lnTo>
                    <a:lnTo>
                      <a:pt x="0"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25" name="Freeform 258"/>
              <p:cNvSpPr>
                <a:spLocks/>
              </p:cNvSpPr>
              <p:nvPr/>
            </p:nvSpPr>
            <p:spPr bwMode="auto">
              <a:xfrm>
                <a:off x="6024563" y="3935413"/>
                <a:ext cx="22225" cy="187325"/>
              </a:xfrm>
              <a:custGeom>
                <a:avLst/>
                <a:gdLst>
                  <a:gd name="T0" fmla="*/ 0 w 14"/>
                  <a:gd name="T1" fmla="*/ 0 h 118"/>
                  <a:gd name="T2" fmla="*/ 0 w 14"/>
                  <a:gd name="T3" fmla="*/ 69 h 118"/>
                  <a:gd name="T4" fmla="*/ 0 w 14"/>
                  <a:gd name="T5" fmla="*/ 118 h 118"/>
                  <a:gd name="T6" fmla="*/ 14 w 14"/>
                  <a:gd name="T7" fmla="*/ 118 h 118"/>
                  <a:gd name="T8" fmla="*/ 14 w 14"/>
                  <a:gd name="T9" fmla="*/ 63 h 118"/>
                  <a:gd name="T10" fmla="*/ 14 w 14"/>
                  <a:gd name="T11" fmla="*/ 0 h 118"/>
                  <a:gd name="T12" fmla="*/ 0 w 14"/>
                  <a:gd name="T13" fmla="*/ 0 h 118"/>
                </a:gdLst>
                <a:ahLst/>
                <a:cxnLst>
                  <a:cxn ang="0">
                    <a:pos x="T0" y="T1"/>
                  </a:cxn>
                  <a:cxn ang="0">
                    <a:pos x="T2" y="T3"/>
                  </a:cxn>
                  <a:cxn ang="0">
                    <a:pos x="T4" y="T5"/>
                  </a:cxn>
                  <a:cxn ang="0">
                    <a:pos x="T6" y="T7"/>
                  </a:cxn>
                  <a:cxn ang="0">
                    <a:pos x="T8" y="T9"/>
                  </a:cxn>
                  <a:cxn ang="0">
                    <a:pos x="T10" y="T11"/>
                  </a:cxn>
                  <a:cxn ang="0">
                    <a:pos x="T12" y="T13"/>
                  </a:cxn>
                </a:cxnLst>
                <a:rect l="0" t="0" r="r" b="b"/>
                <a:pathLst>
                  <a:path w="14" h="118">
                    <a:moveTo>
                      <a:pt x="0" y="0"/>
                    </a:moveTo>
                    <a:lnTo>
                      <a:pt x="0" y="69"/>
                    </a:lnTo>
                    <a:lnTo>
                      <a:pt x="0" y="118"/>
                    </a:lnTo>
                    <a:lnTo>
                      <a:pt x="14" y="118"/>
                    </a:lnTo>
                    <a:lnTo>
                      <a:pt x="14" y="63"/>
                    </a:lnTo>
                    <a:lnTo>
                      <a:pt x="14"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26" name="Freeform 259"/>
              <p:cNvSpPr>
                <a:spLocks/>
              </p:cNvSpPr>
              <p:nvPr/>
            </p:nvSpPr>
            <p:spPr bwMode="auto">
              <a:xfrm>
                <a:off x="6080125" y="3995738"/>
                <a:ext cx="22225" cy="127000"/>
              </a:xfrm>
              <a:custGeom>
                <a:avLst/>
                <a:gdLst>
                  <a:gd name="T0" fmla="*/ 0 w 14"/>
                  <a:gd name="T1" fmla="*/ 0 h 80"/>
                  <a:gd name="T2" fmla="*/ 0 w 14"/>
                  <a:gd name="T3" fmla="*/ 15 h 80"/>
                  <a:gd name="T4" fmla="*/ 0 w 14"/>
                  <a:gd name="T5" fmla="*/ 80 h 80"/>
                  <a:gd name="T6" fmla="*/ 14 w 14"/>
                  <a:gd name="T7" fmla="*/ 80 h 80"/>
                  <a:gd name="T8" fmla="*/ 14 w 14"/>
                  <a:gd name="T9" fmla="*/ 10 h 80"/>
                  <a:gd name="T10" fmla="*/ 14 w 14"/>
                  <a:gd name="T11" fmla="*/ 0 h 80"/>
                  <a:gd name="T12" fmla="*/ 0 w 14"/>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4" h="80">
                    <a:moveTo>
                      <a:pt x="0" y="0"/>
                    </a:moveTo>
                    <a:lnTo>
                      <a:pt x="0" y="15"/>
                    </a:lnTo>
                    <a:lnTo>
                      <a:pt x="0" y="80"/>
                    </a:lnTo>
                    <a:lnTo>
                      <a:pt x="14" y="80"/>
                    </a:lnTo>
                    <a:lnTo>
                      <a:pt x="14" y="10"/>
                    </a:lnTo>
                    <a:lnTo>
                      <a:pt x="14"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27" name="Freeform 260"/>
              <p:cNvSpPr>
                <a:spLocks/>
              </p:cNvSpPr>
              <p:nvPr/>
            </p:nvSpPr>
            <p:spPr bwMode="auto">
              <a:xfrm>
                <a:off x="5916613" y="4057650"/>
                <a:ext cx="22225" cy="65088"/>
              </a:xfrm>
              <a:custGeom>
                <a:avLst/>
                <a:gdLst>
                  <a:gd name="T0" fmla="*/ 0 w 14"/>
                  <a:gd name="T1" fmla="*/ 0 h 41"/>
                  <a:gd name="T2" fmla="*/ 0 w 14"/>
                  <a:gd name="T3" fmla="*/ 22 h 41"/>
                  <a:gd name="T4" fmla="*/ 0 w 14"/>
                  <a:gd name="T5" fmla="*/ 41 h 41"/>
                  <a:gd name="T6" fmla="*/ 14 w 14"/>
                  <a:gd name="T7" fmla="*/ 41 h 41"/>
                  <a:gd name="T8" fmla="*/ 14 w 14"/>
                  <a:gd name="T9" fmla="*/ 15 h 41"/>
                  <a:gd name="T10" fmla="*/ 14 w 14"/>
                  <a:gd name="T11" fmla="*/ 0 h 41"/>
                  <a:gd name="T12" fmla="*/ 0 w 14"/>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14" h="41">
                    <a:moveTo>
                      <a:pt x="0" y="0"/>
                    </a:moveTo>
                    <a:lnTo>
                      <a:pt x="0" y="22"/>
                    </a:lnTo>
                    <a:lnTo>
                      <a:pt x="0" y="41"/>
                    </a:lnTo>
                    <a:lnTo>
                      <a:pt x="14" y="41"/>
                    </a:lnTo>
                    <a:lnTo>
                      <a:pt x="14" y="15"/>
                    </a:lnTo>
                    <a:lnTo>
                      <a:pt x="14" y="0"/>
                    </a:lnTo>
                    <a:lnTo>
                      <a:pt x="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28" name="Freeform 261"/>
              <p:cNvSpPr>
                <a:spLocks/>
              </p:cNvSpPr>
              <p:nvPr/>
            </p:nvSpPr>
            <p:spPr bwMode="auto">
              <a:xfrm>
                <a:off x="5942013" y="3986213"/>
                <a:ext cx="22225" cy="136525"/>
              </a:xfrm>
              <a:custGeom>
                <a:avLst/>
                <a:gdLst>
                  <a:gd name="T0" fmla="*/ 0 w 14"/>
                  <a:gd name="T1" fmla="*/ 0 h 86"/>
                  <a:gd name="T2" fmla="*/ 0 w 14"/>
                  <a:gd name="T3" fmla="*/ 65 h 86"/>
                  <a:gd name="T4" fmla="*/ 0 w 14"/>
                  <a:gd name="T5" fmla="*/ 86 h 86"/>
                  <a:gd name="T6" fmla="*/ 14 w 14"/>
                  <a:gd name="T7" fmla="*/ 86 h 86"/>
                  <a:gd name="T8" fmla="*/ 14 w 14"/>
                  <a:gd name="T9" fmla="*/ 59 h 86"/>
                  <a:gd name="T10" fmla="*/ 14 w 14"/>
                  <a:gd name="T11" fmla="*/ 0 h 86"/>
                  <a:gd name="T12" fmla="*/ 0 w 14"/>
                  <a:gd name="T13" fmla="*/ 0 h 86"/>
                </a:gdLst>
                <a:ahLst/>
                <a:cxnLst>
                  <a:cxn ang="0">
                    <a:pos x="T0" y="T1"/>
                  </a:cxn>
                  <a:cxn ang="0">
                    <a:pos x="T2" y="T3"/>
                  </a:cxn>
                  <a:cxn ang="0">
                    <a:pos x="T4" y="T5"/>
                  </a:cxn>
                  <a:cxn ang="0">
                    <a:pos x="T6" y="T7"/>
                  </a:cxn>
                  <a:cxn ang="0">
                    <a:pos x="T8" y="T9"/>
                  </a:cxn>
                  <a:cxn ang="0">
                    <a:pos x="T10" y="T11"/>
                  </a:cxn>
                  <a:cxn ang="0">
                    <a:pos x="T12" y="T13"/>
                  </a:cxn>
                </a:cxnLst>
                <a:rect l="0" t="0" r="r" b="b"/>
                <a:pathLst>
                  <a:path w="14" h="86">
                    <a:moveTo>
                      <a:pt x="0" y="0"/>
                    </a:moveTo>
                    <a:lnTo>
                      <a:pt x="0" y="65"/>
                    </a:lnTo>
                    <a:lnTo>
                      <a:pt x="0" y="86"/>
                    </a:lnTo>
                    <a:lnTo>
                      <a:pt x="14" y="86"/>
                    </a:lnTo>
                    <a:lnTo>
                      <a:pt x="14" y="59"/>
                    </a:lnTo>
                    <a:lnTo>
                      <a:pt x="14"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29" name="Freeform 262"/>
              <p:cNvSpPr>
                <a:spLocks/>
              </p:cNvSpPr>
              <p:nvPr/>
            </p:nvSpPr>
            <p:spPr bwMode="auto">
              <a:xfrm>
                <a:off x="6164263" y="3856038"/>
                <a:ext cx="60325" cy="52388"/>
              </a:xfrm>
              <a:custGeom>
                <a:avLst/>
                <a:gdLst>
                  <a:gd name="T0" fmla="*/ 27 w 27"/>
                  <a:gd name="T1" fmla="*/ 6 h 24"/>
                  <a:gd name="T2" fmla="*/ 11 w 27"/>
                  <a:gd name="T3" fmla="*/ 0 h 24"/>
                  <a:gd name="T4" fmla="*/ 0 w 27"/>
                  <a:gd name="T5" fmla="*/ 2 h 24"/>
                  <a:gd name="T6" fmla="*/ 11 w 27"/>
                  <a:gd name="T7" fmla="*/ 24 h 24"/>
                  <a:gd name="T8" fmla="*/ 27 w 27"/>
                  <a:gd name="T9" fmla="*/ 6 h 24"/>
                </a:gdLst>
                <a:ahLst/>
                <a:cxnLst>
                  <a:cxn ang="0">
                    <a:pos x="T0" y="T1"/>
                  </a:cxn>
                  <a:cxn ang="0">
                    <a:pos x="T2" y="T3"/>
                  </a:cxn>
                  <a:cxn ang="0">
                    <a:pos x="T4" y="T5"/>
                  </a:cxn>
                  <a:cxn ang="0">
                    <a:pos x="T6" y="T7"/>
                  </a:cxn>
                  <a:cxn ang="0">
                    <a:pos x="T8" y="T9"/>
                  </a:cxn>
                </a:cxnLst>
                <a:rect l="0" t="0" r="r" b="b"/>
                <a:pathLst>
                  <a:path w="27" h="24">
                    <a:moveTo>
                      <a:pt x="27" y="6"/>
                    </a:moveTo>
                    <a:cubicBezTo>
                      <a:pt x="23" y="2"/>
                      <a:pt x="17" y="0"/>
                      <a:pt x="11" y="0"/>
                    </a:cubicBezTo>
                    <a:cubicBezTo>
                      <a:pt x="7" y="0"/>
                      <a:pt x="4" y="1"/>
                      <a:pt x="0" y="2"/>
                    </a:cubicBezTo>
                    <a:cubicBezTo>
                      <a:pt x="11" y="24"/>
                      <a:pt x="11" y="24"/>
                      <a:pt x="11" y="24"/>
                    </a:cubicBezTo>
                    <a:lnTo>
                      <a:pt x="27" y="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30" name="Freeform 263"/>
              <p:cNvSpPr>
                <a:spLocks/>
              </p:cNvSpPr>
              <p:nvPr/>
            </p:nvSpPr>
            <p:spPr bwMode="auto">
              <a:xfrm>
                <a:off x="6189663" y="3868738"/>
                <a:ext cx="49213" cy="39688"/>
              </a:xfrm>
              <a:custGeom>
                <a:avLst/>
                <a:gdLst>
                  <a:gd name="T0" fmla="*/ 22 w 22"/>
                  <a:gd name="T1" fmla="*/ 9 h 18"/>
                  <a:gd name="T2" fmla="*/ 16 w 22"/>
                  <a:gd name="T3" fmla="*/ 0 h 18"/>
                  <a:gd name="T4" fmla="*/ 0 w 22"/>
                  <a:gd name="T5" fmla="*/ 18 h 18"/>
                  <a:gd name="T6" fmla="*/ 22 w 22"/>
                  <a:gd name="T7" fmla="*/ 9 h 18"/>
                </a:gdLst>
                <a:ahLst/>
                <a:cxnLst>
                  <a:cxn ang="0">
                    <a:pos x="T0" y="T1"/>
                  </a:cxn>
                  <a:cxn ang="0">
                    <a:pos x="T2" y="T3"/>
                  </a:cxn>
                  <a:cxn ang="0">
                    <a:pos x="T4" y="T5"/>
                  </a:cxn>
                  <a:cxn ang="0">
                    <a:pos x="T6" y="T7"/>
                  </a:cxn>
                </a:cxnLst>
                <a:rect l="0" t="0" r="r" b="b"/>
                <a:pathLst>
                  <a:path w="22" h="18">
                    <a:moveTo>
                      <a:pt x="22" y="9"/>
                    </a:moveTo>
                    <a:cubicBezTo>
                      <a:pt x="21" y="6"/>
                      <a:pt x="19" y="3"/>
                      <a:pt x="16" y="0"/>
                    </a:cubicBezTo>
                    <a:cubicBezTo>
                      <a:pt x="0" y="18"/>
                      <a:pt x="0" y="18"/>
                      <a:pt x="0" y="18"/>
                    </a:cubicBezTo>
                    <a:lnTo>
                      <a:pt x="22" y="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31" name="Freeform 264"/>
              <p:cNvSpPr>
                <a:spLocks/>
              </p:cNvSpPr>
              <p:nvPr/>
            </p:nvSpPr>
            <p:spPr bwMode="auto">
              <a:xfrm>
                <a:off x="6135688" y="3859213"/>
                <a:ext cx="53975" cy="87313"/>
              </a:xfrm>
              <a:custGeom>
                <a:avLst/>
                <a:gdLst>
                  <a:gd name="T0" fmla="*/ 13 w 24"/>
                  <a:gd name="T1" fmla="*/ 0 h 39"/>
                  <a:gd name="T2" fmla="*/ 0 w 24"/>
                  <a:gd name="T3" fmla="*/ 22 h 39"/>
                  <a:gd name="T4" fmla="*/ 6 w 24"/>
                  <a:gd name="T5" fmla="*/ 39 h 39"/>
                  <a:gd name="T6" fmla="*/ 24 w 24"/>
                  <a:gd name="T7" fmla="*/ 22 h 39"/>
                  <a:gd name="T8" fmla="*/ 13 w 24"/>
                  <a:gd name="T9" fmla="*/ 0 h 39"/>
                </a:gdLst>
                <a:ahLst/>
                <a:cxnLst>
                  <a:cxn ang="0">
                    <a:pos x="T0" y="T1"/>
                  </a:cxn>
                  <a:cxn ang="0">
                    <a:pos x="T2" y="T3"/>
                  </a:cxn>
                  <a:cxn ang="0">
                    <a:pos x="T4" y="T5"/>
                  </a:cxn>
                  <a:cxn ang="0">
                    <a:pos x="T6" y="T7"/>
                  </a:cxn>
                  <a:cxn ang="0">
                    <a:pos x="T8" y="T9"/>
                  </a:cxn>
                </a:cxnLst>
                <a:rect l="0" t="0" r="r" b="b"/>
                <a:pathLst>
                  <a:path w="24" h="39">
                    <a:moveTo>
                      <a:pt x="13" y="0"/>
                    </a:moveTo>
                    <a:cubicBezTo>
                      <a:pt x="5" y="4"/>
                      <a:pt x="0" y="13"/>
                      <a:pt x="0" y="22"/>
                    </a:cubicBezTo>
                    <a:cubicBezTo>
                      <a:pt x="0" y="29"/>
                      <a:pt x="2" y="35"/>
                      <a:pt x="6" y="39"/>
                    </a:cubicBezTo>
                    <a:cubicBezTo>
                      <a:pt x="24" y="22"/>
                      <a:pt x="24" y="22"/>
                      <a:pt x="24" y="22"/>
                    </a:cubicBezTo>
                    <a:lnTo>
                      <a:pt x="13"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32" name="Freeform 265"/>
              <p:cNvSpPr>
                <a:spLocks/>
              </p:cNvSpPr>
              <p:nvPr/>
            </p:nvSpPr>
            <p:spPr bwMode="auto">
              <a:xfrm>
                <a:off x="6189663" y="3889375"/>
                <a:ext cx="52388" cy="19050"/>
              </a:xfrm>
              <a:custGeom>
                <a:avLst/>
                <a:gdLst>
                  <a:gd name="T0" fmla="*/ 0 w 24"/>
                  <a:gd name="T1" fmla="*/ 9 h 9"/>
                  <a:gd name="T2" fmla="*/ 24 w 24"/>
                  <a:gd name="T3" fmla="*/ 9 h 9"/>
                  <a:gd name="T4" fmla="*/ 22 w 24"/>
                  <a:gd name="T5" fmla="*/ 0 h 9"/>
                  <a:gd name="T6" fmla="*/ 0 w 24"/>
                  <a:gd name="T7" fmla="*/ 9 h 9"/>
                </a:gdLst>
                <a:ahLst/>
                <a:cxnLst>
                  <a:cxn ang="0">
                    <a:pos x="T0" y="T1"/>
                  </a:cxn>
                  <a:cxn ang="0">
                    <a:pos x="T2" y="T3"/>
                  </a:cxn>
                  <a:cxn ang="0">
                    <a:pos x="T4" y="T5"/>
                  </a:cxn>
                  <a:cxn ang="0">
                    <a:pos x="T6" y="T7"/>
                  </a:cxn>
                </a:cxnLst>
                <a:rect l="0" t="0" r="r" b="b"/>
                <a:pathLst>
                  <a:path w="24" h="9">
                    <a:moveTo>
                      <a:pt x="0" y="9"/>
                    </a:moveTo>
                    <a:cubicBezTo>
                      <a:pt x="24" y="9"/>
                      <a:pt x="24" y="9"/>
                      <a:pt x="24" y="9"/>
                    </a:cubicBezTo>
                    <a:cubicBezTo>
                      <a:pt x="24" y="6"/>
                      <a:pt x="23" y="3"/>
                      <a:pt x="22" y="0"/>
                    </a:cubicBezTo>
                    <a:lnTo>
                      <a:pt x="0" y="9"/>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33" name="Freeform 266"/>
              <p:cNvSpPr>
                <a:spLocks/>
              </p:cNvSpPr>
              <p:nvPr/>
            </p:nvSpPr>
            <p:spPr bwMode="auto">
              <a:xfrm>
                <a:off x="6149975" y="3908425"/>
                <a:ext cx="39688" cy="49213"/>
              </a:xfrm>
              <a:custGeom>
                <a:avLst/>
                <a:gdLst>
                  <a:gd name="T0" fmla="*/ 0 w 18"/>
                  <a:gd name="T1" fmla="*/ 17 h 22"/>
                  <a:gd name="T2" fmla="*/ 7 w 18"/>
                  <a:gd name="T3" fmla="*/ 22 h 22"/>
                  <a:gd name="T4" fmla="*/ 18 w 18"/>
                  <a:gd name="T5" fmla="*/ 0 h 22"/>
                  <a:gd name="T6" fmla="*/ 0 w 18"/>
                  <a:gd name="T7" fmla="*/ 17 h 22"/>
                </a:gdLst>
                <a:ahLst/>
                <a:cxnLst>
                  <a:cxn ang="0">
                    <a:pos x="T0" y="T1"/>
                  </a:cxn>
                  <a:cxn ang="0">
                    <a:pos x="T2" y="T3"/>
                  </a:cxn>
                  <a:cxn ang="0">
                    <a:pos x="T4" y="T5"/>
                  </a:cxn>
                  <a:cxn ang="0">
                    <a:pos x="T6" y="T7"/>
                  </a:cxn>
                </a:cxnLst>
                <a:rect l="0" t="0" r="r" b="b"/>
                <a:pathLst>
                  <a:path w="18" h="22">
                    <a:moveTo>
                      <a:pt x="0" y="17"/>
                    </a:moveTo>
                    <a:cubicBezTo>
                      <a:pt x="2" y="19"/>
                      <a:pt x="4" y="21"/>
                      <a:pt x="7" y="22"/>
                    </a:cubicBezTo>
                    <a:cubicBezTo>
                      <a:pt x="18" y="0"/>
                      <a:pt x="18" y="0"/>
                      <a:pt x="18" y="0"/>
                    </a:cubicBezTo>
                    <a:lnTo>
                      <a:pt x="0" y="17"/>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34" name="Freeform 267"/>
              <p:cNvSpPr>
                <a:spLocks/>
              </p:cNvSpPr>
              <p:nvPr/>
            </p:nvSpPr>
            <p:spPr bwMode="auto">
              <a:xfrm>
                <a:off x="6164263" y="3908425"/>
                <a:ext cx="77788" cy="53975"/>
              </a:xfrm>
              <a:custGeom>
                <a:avLst/>
                <a:gdLst>
                  <a:gd name="T0" fmla="*/ 0 w 35"/>
                  <a:gd name="T1" fmla="*/ 22 h 24"/>
                  <a:gd name="T2" fmla="*/ 11 w 35"/>
                  <a:gd name="T3" fmla="*/ 24 h 24"/>
                  <a:gd name="T4" fmla="*/ 35 w 35"/>
                  <a:gd name="T5" fmla="*/ 0 h 24"/>
                  <a:gd name="T6" fmla="*/ 11 w 35"/>
                  <a:gd name="T7" fmla="*/ 0 h 24"/>
                  <a:gd name="T8" fmla="*/ 0 w 35"/>
                  <a:gd name="T9" fmla="*/ 22 h 24"/>
                </a:gdLst>
                <a:ahLst/>
                <a:cxnLst>
                  <a:cxn ang="0">
                    <a:pos x="T0" y="T1"/>
                  </a:cxn>
                  <a:cxn ang="0">
                    <a:pos x="T2" y="T3"/>
                  </a:cxn>
                  <a:cxn ang="0">
                    <a:pos x="T4" y="T5"/>
                  </a:cxn>
                  <a:cxn ang="0">
                    <a:pos x="T6" y="T7"/>
                  </a:cxn>
                  <a:cxn ang="0">
                    <a:pos x="T8" y="T9"/>
                  </a:cxn>
                </a:cxnLst>
                <a:rect l="0" t="0" r="r" b="b"/>
                <a:pathLst>
                  <a:path w="35" h="24">
                    <a:moveTo>
                      <a:pt x="0" y="22"/>
                    </a:moveTo>
                    <a:cubicBezTo>
                      <a:pt x="3" y="23"/>
                      <a:pt x="7" y="24"/>
                      <a:pt x="11" y="24"/>
                    </a:cubicBezTo>
                    <a:cubicBezTo>
                      <a:pt x="24" y="24"/>
                      <a:pt x="35" y="14"/>
                      <a:pt x="35" y="0"/>
                    </a:cubicBezTo>
                    <a:cubicBezTo>
                      <a:pt x="11" y="0"/>
                      <a:pt x="11" y="0"/>
                      <a:pt x="11" y="0"/>
                    </a:cubicBezTo>
                    <a:lnTo>
                      <a:pt x="0" y="2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35" name="Freeform 268"/>
              <p:cNvSpPr>
                <a:spLocks/>
              </p:cNvSpPr>
              <p:nvPr/>
            </p:nvSpPr>
            <p:spPr bwMode="auto">
              <a:xfrm>
                <a:off x="6135688" y="3986213"/>
                <a:ext cx="106363" cy="106363"/>
              </a:xfrm>
              <a:custGeom>
                <a:avLst/>
                <a:gdLst>
                  <a:gd name="T0" fmla="*/ 46 w 48"/>
                  <a:gd name="T1" fmla="*/ 15 h 48"/>
                  <a:gd name="T2" fmla="*/ 40 w 48"/>
                  <a:gd name="T3" fmla="*/ 6 h 48"/>
                  <a:gd name="T4" fmla="*/ 24 w 48"/>
                  <a:gd name="T5" fmla="*/ 0 h 48"/>
                  <a:gd name="T6" fmla="*/ 13 w 48"/>
                  <a:gd name="T7" fmla="*/ 2 h 48"/>
                  <a:gd name="T8" fmla="*/ 0 w 48"/>
                  <a:gd name="T9" fmla="*/ 24 h 48"/>
                  <a:gd name="T10" fmla="*/ 6 w 48"/>
                  <a:gd name="T11" fmla="*/ 41 h 48"/>
                  <a:gd name="T12" fmla="*/ 13 w 48"/>
                  <a:gd name="T13" fmla="*/ 45 h 48"/>
                  <a:gd name="T14" fmla="*/ 24 w 48"/>
                  <a:gd name="T15" fmla="*/ 48 h 48"/>
                  <a:gd name="T16" fmla="*/ 48 w 48"/>
                  <a:gd name="T17" fmla="*/ 24 h 48"/>
                  <a:gd name="T18" fmla="*/ 46 w 48"/>
                  <a:gd name="T19" fmla="*/ 1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6" y="15"/>
                    </a:moveTo>
                    <a:cubicBezTo>
                      <a:pt x="45" y="11"/>
                      <a:pt x="43" y="8"/>
                      <a:pt x="40" y="6"/>
                    </a:cubicBezTo>
                    <a:cubicBezTo>
                      <a:pt x="36" y="2"/>
                      <a:pt x="30" y="0"/>
                      <a:pt x="24" y="0"/>
                    </a:cubicBezTo>
                    <a:cubicBezTo>
                      <a:pt x="20" y="0"/>
                      <a:pt x="17" y="0"/>
                      <a:pt x="13" y="2"/>
                    </a:cubicBezTo>
                    <a:cubicBezTo>
                      <a:pt x="5" y="6"/>
                      <a:pt x="0" y="14"/>
                      <a:pt x="0" y="24"/>
                    </a:cubicBezTo>
                    <a:cubicBezTo>
                      <a:pt x="0" y="30"/>
                      <a:pt x="2" y="36"/>
                      <a:pt x="6" y="41"/>
                    </a:cubicBezTo>
                    <a:cubicBezTo>
                      <a:pt x="8" y="43"/>
                      <a:pt x="10" y="44"/>
                      <a:pt x="13" y="45"/>
                    </a:cubicBezTo>
                    <a:cubicBezTo>
                      <a:pt x="16" y="47"/>
                      <a:pt x="20" y="48"/>
                      <a:pt x="24" y="48"/>
                    </a:cubicBezTo>
                    <a:cubicBezTo>
                      <a:pt x="37" y="48"/>
                      <a:pt x="48" y="37"/>
                      <a:pt x="48" y="24"/>
                    </a:cubicBezTo>
                    <a:cubicBezTo>
                      <a:pt x="48" y="20"/>
                      <a:pt x="47" y="17"/>
                      <a:pt x="46" y="1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36" name="Freeform 269"/>
              <p:cNvSpPr>
                <a:spLocks/>
              </p:cNvSpPr>
              <p:nvPr/>
            </p:nvSpPr>
            <p:spPr bwMode="auto">
              <a:xfrm>
                <a:off x="6164263" y="3986213"/>
                <a:ext cx="60325" cy="53975"/>
              </a:xfrm>
              <a:custGeom>
                <a:avLst/>
                <a:gdLst>
                  <a:gd name="T0" fmla="*/ 27 w 27"/>
                  <a:gd name="T1" fmla="*/ 6 h 24"/>
                  <a:gd name="T2" fmla="*/ 11 w 27"/>
                  <a:gd name="T3" fmla="*/ 0 h 24"/>
                  <a:gd name="T4" fmla="*/ 0 w 27"/>
                  <a:gd name="T5" fmla="*/ 2 h 24"/>
                  <a:gd name="T6" fmla="*/ 11 w 27"/>
                  <a:gd name="T7" fmla="*/ 24 h 24"/>
                  <a:gd name="T8" fmla="*/ 27 w 27"/>
                  <a:gd name="T9" fmla="*/ 6 h 24"/>
                </a:gdLst>
                <a:ahLst/>
                <a:cxnLst>
                  <a:cxn ang="0">
                    <a:pos x="T0" y="T1"/>
                  </a:cxn>
                  <a:cxn ang="0">
                    <a:pos x="T2" y="T3"/>
                  </a:cxn>
                  <a:cxn ang="0">
                    <a:pos x="T4" y="T5"/>
                  </a:cxn>
                  <a:cxn ang="0">
                    <a:pos x="T6" y="T7"/>
                  </a:cxn>
                  <a:cxn ang="0">
                    <a:pos x="T8" y="T9"/>
                  </a:cxn>
                </a:cxnLst>
                <a:rect l="0" t="0" r="r" b="b"/>
                <a:pathLst>
                  <a:path w="27" h="24">
                    <a:moveTo>
                      <a:pt x="27" y="6"/>
                    </a:moveTo>
                    <a:cubicBezTo>
                      <a:pt x="23" y="2"/>
                      <a:pt x="17" y="0"/>
                      <a:pt x="11" y="0"/>
                    </a:cubicBezTo>
                    <a:cubicBezTo>
                      <a:pt x="7" y="0"/>
                      <a:pt x="4" y="0"/>
                      <a:pt x="0" y="2"/>
                    </a:cubicBezTo>
                    <a:cubicBezTo>
                      <a:pt x="11" y="24"/>
                      <a:pt x="11" y="24"/>
                      <a:pt x="11" y="24"/>
                    </a:cubicBezTo>
                    <a:lnTo>
                      <a:pt x="27" y="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37" name="Freeform 270"/>
              <p:cNvSpPr>
                <a:spLocks/>
              </p:cNvSpPr>
              <p:nvPr/>
            </p:nvSpPr>
            <p:spPr bwMode="auto">
              <a:xfrm>
                <a:off x="6189663" y="4000500"/>
                <a:ext cx="49213" cy="39688"/>
              </a:xfrm>
              <a:custGeom>
                <a:avLst/>
                <a:gdLst>
                  <a:gd name="T0" fmla="*/ 22 w 22"/>
                  <a:gd name="T1" fmla="*/ 9 h 18"/>
                  <a:gd name="T2" fmla="*/ 16 w 22"/>
                  <a:gd name="T3" fmla="*/ 0 h 18"/>
                  <a:gd name="T4" fmla="*/ 0 w 22"/>
                  <a:gd name="T5" fmla="*/ 18 h 18"/>
                  <a:gd name="T6" fmla="*/ 22 w 22"/>
                  <a:gd name="T7" fmla="*/ 9 h 18"/>
                </a:gdLst>
                <a:ahLst/>
                <a:cxnLst>
                  <a:cxn ang="0">
                    <a:pos x="T0" y="T1"/>
                  </a:cxn>
                  <a:cxn ang="0">
                    <a:pos x="T2" y="T3"/>
                  </a:cxn>
                  <a:cxn ang="0">
                    <a:pos x="T4" y="T5"/>
                  </a:cxn>
                  <a:cxn ang="0">
                    <a:pos x="T6" y="T7"/>
                  </a:cxn>
                </a:cxnLst>
                <a:rect l="0" t="0" r="r" b="b"/>
                <a:pathLst>
                  <a:path w="22" h="18">
                    <a:moveTo>
                      <a:pt x="22" y="9"/>
                    </a:moveTo>
                    <a:cubicBezTo>
                      <a:pt x="21" y="5"/>
                      <a:pt x="19" y="2"/>
                      <a:pt x="16" y="0"/>
                    </a:cubicBezTo>
                    <a:cubicBezTo>
                      <a:pt x="0" y="18"/>
                      <a:pt x="0" y="18"/>
                      <a:pt x="0" y="18"/>
                    </a:cubicBezTo>
                    <a:lnTo>
                      <a:pt x="22" y="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38" name="Freeform 271"/>
              <p:cNvSpPr>
                <a:spLocks/>
              </p:cNvSpPr>
              <p:nvPr/>
            </p:nvSpPr>
            <p:spPr bwMode="auto">
              <a:xfrm>
                <a:off x="6135688" y="3990975"/>
                <a:ext cx="53975" cy="87313"/>
              </a:xfrm>
              <a:custGeom>
                <a:avLst/>
                <a:gdLst>
                  <a:gd name="T0" fmla="*/ 13 w 24"/>
                  <a:gd name="T1" fmla="*/ 0 h 39"/>
                  <a:gd name="T2" fmla="*/ 0 w 24"/>
                  <a:gd name="T3" fmla="*/ 22 h 39"/>
                  <a:gd name="T4" fmla="*/ 6 w 24"/>
                  <a:gd name="T5" fmla="*/ 39 h 39"/>
                  <a:gd name="T6" fmla="*/ 24 w 24"/>
                  <a:gd name="T7" fmla="*/ 22 h 39"/>
                  <a:gd name="T8" fmla="*/ 13 w 24"/>
                  <a:gd name="T9" fmla="*/ 0 h 39"/>
                </a:gdLst>
                <a:ahLst/>
                <a:cxnLst>
                  <a:cxn ang="0">
                    <a:pos x="T0" y="T1"/>
                  </a:cxn>
                  <a:cxn ang="0">
                    <a:pos x="T2" y="T3"/>
                  </a:cxn>
                  <a:cxn ang="0">
                    <a:pos x="T4" y="T5"/>
                  </a:cxn>
                  <a:cxn ang="0">
                    <a:pos x="T6" y="T7"/>
                  </a:cxn>
                  <a:cxn ang="0">
                    <a:pos x="T8" y="T9"/>
                  </a:cxn>
                </a:cxnLst>
                <a:rect l="0" t="0" r="r" b="b"/>
                <a:pathLst>
                  <a:path w="24" h="39">
                    <a:moveTo>
                      <a:pt x="13" y="0"/>
                    </a:moveTo>
                    <a:cubicBezTo>
                      <a:pt x="5" y="4"/>
                      <a:pt x="0" y="12"/>
                      <a:pt x="0" y="22"/>
                    </a:cubicBezTo>
                    <a:cubicBezTo>
                      <a:pt x="0" y="28"/>
                      <a:pt x="2" y="34"/>
                      <a:pt x="6" y="39"/>
                    </a:cubicBezTo>
                    <a:cubicBezTo>
                      <a:pt x="24" y="22"/>
                      <a:pt x="24" y="22"/>
                      <a:pt x="24" y="22"/>
                    </a:cubicBezTo>
                    <a:lnTo>
                      <a:pt x="13"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39" name="Freeform 272"/>
              <p:cNvSpPr>
                <a:spLocks/>
              </p:cNvSpPr>
              <p:nvPr/>
            </p:nvSpPr>
            <p:spPr bwMode="auto">
              <a:xfrm>
                <a:off x="6189663" y="4019550"/>
                <a:ext cx="52388" cy="20638"/>
              </a:xfrm>
              <a:custGeom>
                <a:avLst/>
                <a:gdLst>
                  <a:gd name="T0" fmla="*/ 0 w 24"/>
                  <a:gd name="T1" fmla="*/ 9 h 9"/>
                  <a:gd name="T2" fmla="*/ 24 w 24"/>
                  <a:gd name="T3" fmla="*/ 9 h 9"/>
                  <a:gd name="T4" fmla="*/ 22 w 24"/>
                  <a:gd name="T5" fmla="*/ 0 h 9"/>
                  <a:gd name="T6" fmla="*/ 0 w 24"/>
                  <a:gd name="T7" fmla="*/ 9 h 9"/>
                </a:gdLst>
                <a:ahLst/>
                <a:cxnLst>
                  <a:cxn ang="0">
                    <a:pos x="T0" y="T1"/>
                  </a:cxn>
                  <a:cxn ang="0">
                    <a:pos x="T2" y="T3"/>
                  </a:cxn>
                  <a:cxn ang="0">
                    <a:pos x="T4" y="T5"/>
                  </a:cxn>
                  <a:cxn ang="0">
                    <a:pos x="T6" y="T7"/>
                  </a:cxn>
                </a:cxnLst>
                <a:rect l="0" t="0" r="r" b="b"/>
                <a:pathLst>
                  <a:path w="24" h="9">
                    <a:moveTo>
                      <a:pt x="0" y="9"/>
                    </a:moveTo>
                    <a:cubicBezTo>
                      <a:pt x="24" y="9"/>
                      <a:pt x="24" y="9"/>
                      <a:pt x="24" y="9"/>
                    </a:cubicBezTo>
                    <a:cubicBezTo>
                      <a:pt x="24" y="5"/>
                      <a:pt x="23" y="2"/>
                      <a:pt x="22" y="0"/>
                    </a:cubicBezTo>
                    <a:lnTo>
                      <a:pt x="0" y="9"/>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40" name="Freeform 273"/>
              <p:cNvSpPr>
                <a:spLocks/>
              </p:cNvSpPr>
              <p:nvPr/>
            </p:nvSpPr>
            <p:spPr bwMode="auto">
              <a:xfrm>
                <a:off x="6149975" y="4040188"/>
                <a:ext cx="39688" cy="46038"/>
              </a:xfrm>
              <a:custGeom>
                <a:avLst/>
                <a:gdLst>
                  <a:gd name="T0" fmla="*/ 0 w 18"/>
                  <a:gd name="T1" fmla="*/ 17 h 21"/>
                  <a:gd name="T2" fmla="*/ 7 w 18"/>
                  <a:gd name="T3" fmla="*/ 21 h 21"/>
                  <a:gd name="T4" fmla="*/ 18 w 18"/>
                  <a:gd name="T5" fmla="*/ 0 h 21"/>
                  <a:gd name="T6" fmla="*/ 0 w 18"/>
                  <a:gd name="T7" fmla="*/ 17 h 21"/>
                </a:gdLst>
                <a:ahLst/>
                <a:cxnLst>
                  <a:cxn ang="0">
                    <a:pos x="T0" y="T1"/>
                  </a:cxn>
                  <a:cxn ang="0">
                    <a:pos x="T2" y="T3"/>
                  </a:cxn>
                  <a:cxn ang="0">
                    <a:pos x="T4" y="T5"/>
                  </a:cxn>
                  <a:cxn ang="0">
                    <a:pos x="T6" y="T7"/>
                  </a:cxn>
                </a:cxnLst>
                <a:rect l="0" t="0" r="r" b="b"/>
                <a:pathLst>
                  <a:path w="18" h="21">
                    <a:moveTo>
                      <a:pt x="0" y="17"/>
                    </a:moveTo>
                    <a:cubicBezTo>
                      <a:pt x="2" y="19"/>
                      <a:pt x="4" y="20"/>
                      <a:pt x="7" y="21"/>
                    </a:cubicBezTo>
                    <a:cubicBezTo>
                      <a:pt x="18" y="0"/>
                      <a:pt x="18" y="0"/>
                      <a:pt x="18" y="0"/>
                    </a:cubicBezTo>
                    <a:lnTo>
                      <a:pt x="0" y="17"/>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41" name="Freeform 274"/>
              <p:cNvSpPr>
                <a:spLocks/>
              </p:cNvSpPr>
              <p:nvPr/>
            </p:nvSpPr>
            <p:spPr bwMode="auto">
              <a:xfrm>
                <a:off x="6164263" y="4040188"/>
                <a:ext cx="77788" cy="52388"/>
              </a:xfrm>
              <a:custGeom>
                <a:avLst/>
                <a:gdLst>
                  <a:gd name="T0" fmla="*/ 0 w 35"/>
                  <a:gd name="T1" fmla="*/ 21 h 24"/>
                  <a:gd name="T2" fmla="*/ 11 w 35"/>
                  <a:gd name="T3" fmla="*/ 24 h 24"/>
                  <a:gd name="T4" fmla="*/ 35 w 35"/>
                  <a:gd name="T5" fmla="*/ 0 h 24"/>
                  <a:gd name="T6" fmla="*/ 11 w 35"/>
                  <a:gd name="T7" fmla="*/ 0 h 24"/>
                  <a:gd name="T8" fmla="*/ 0 w 35"/>
                  <a:gd name="T9" fmla="*/ 21 h 24"/>
                </a:gdLst>
                <a:ahLst/>
                <a:cxnLst>
                  <a:cxn ang="0">
                    <a:pos x="T0" y="T1"/>
                  </a:cxn>
                  <a:cxn ang="0">
                    <a:pos x="T2" y="T3"/>
                  </a:cxn>
                  <a:cxn ang="0">
                    <a:pos x="T4" y="T5"/>
                  </a:cxn>
                  <a:cxn ang="0">
                    <a:pos x="T6" y="T7"/>
                  </a:cxn>
                  <a:cxn ang="0">
                    <a:pos x="T8" y="T9"/>
                  </a:cxn>
                </a:cxnLst>
                <a:rect l="0" t="0" r="r" b="b"/>
                <a:pathLst>
                  <a:path w="35" h="24">
                    <a:moveTo>
                      <a:pt x="0" y="21"/>
                    </a:moveTo>
                    <a:cubicBezTo>
                      <a:pt x="3" y="23"/>
                      <a:pt x="7" y="24"/>
                      <a:pt x="11" y="24"/>
                    </a:cubicBezTo>
                    <a:cubicBezTo>
                      <a:pt x="24" y="24"/>
                      <a:pt x="35" y="13"/>
                      <a:pt x="35" y="0"/>
                    </a:cubicBezTo>
                    <a:cubicBezTo>
                      <a:pt x="11" y="0"/>
                      <a:pt x="11" y="0"/>
                      <a:pt x="11" y="0"/>
                    </a:cubicBezTo>
                    <a:lnTo>
                      <a:pt x="0" y="21"/>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42" name="Freeform 275"/>
              <p:cNvSpPr>
                <a:spLocks/>
              </p:cNvSpPr>
              <p:nvPr/>
            </p:nvSpPr>
            <p:spPr bwMode="auto">
              <a:xfrm>
                <a:off x="5918200" y="4203700"/>
                <a:ext cx="322263" cy="107950"/>
              </a:xfrm>
              <a:custGeom>
                <a:avLst/>
                <a:gdLst>
                  <a:gd name="T0" fmla="*/ 1 w 203"/>
                  <a:gd name="T1" fmla="*/ 68 h 68"/>
                  <a:gd name="T2" fmla="*/ 0 w 203"/>
                  <a:gd name="T3" fmla="*/ 62 h 68"/>
                  <a:gd name="T4" fmla="*/ 59 w 203"/>
                  <a:gd name="T5" fmla="*/ 49 h 68"/>
                  <a:gd name="T6" fmla="*/ 108 w 203"/>
                  <a:gd name="T7" fmla="*/ 20 h 68"/>
                  <a:gd name="T8" fmla="*/ 167 w 203"/>
                  <a:gd name="T9" fmla="*/ 19 h 68"/>
                  <a:gd name="T10" fmla="*/ 203 w 203"/>
                  <a:gd name="T11" fmla="*/ 0 h 68"/>
                  <a:gd name="T12" fmla="*/ 203 w 203"/>
                  <a:gd name="T13" fmla="*/ 5 h 68"/>
                  <a:gd name="T14" fmla="*/ 203 w 203"/>
                  <a:gd name="T15" fmla="*/ 6 h 68"/>
                  <a:gd name="T16" fmla="*/ 168 w 203"/>
                  <a:gd name="T17" fmla="*/ 23 h 68"/>
                  <a:gd name="T18" fmla="*/ 109 w 203"/>
                  <a:gd name="T19" fmla="*/ 26 h 68"/>
                  <a:gd name="T20" fmla="*/ 62 w 203"/>
                  <a:gd name="T21" fmla="*/ 54 h 68"/>
                  <a:gd name="T22" fmla="*/ 1 w 203"/>
                  <a:gd name="T2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3" h="68">
                    <a:moveTo>
                      <a:pt x="1" y="68"/>
                    </a:moveTo>
                    <a:lnTo>
                      <a:pt x="0" y="62"/>
                    </a:lnTo>
                    <a:lnTo>
                      <a:pt x="59" y="49"/>
                    </a:lnTo>
                    <a:lnTo>
                      <a:pt x="108" y="20"/>
                    </a:lnTo>
                    <a:lnTo>
                      <a:pt x="167" y="19"/>
                    </a:lnTo>
                    <a:lnTo>
                      <a:pt x="203" y="0"/>
                    </a:lnTo>
                    <a:lnTo>
                      <a:pt x="203" y="5"/>
                    </a:lnTo>
                    <a:lnTo>
                      <a:pt x="203" y="6"/>
                    </a:lnTo>
                    <a:lnTo>
                      <a:pt x="168" y="23"/>
                    </a:lnTo>
                    <a:lnTo>
                      <a:pt x="109" y="26"/>
                    </a:lnTo>
                    <a:lnTo>
                      <a:pt x="62" y="54"/>
                    </a:lnTo>
                    <a:lnTo>
                      <a:pt x="1" y="68"/>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43" name="Freeform 276"/>
              <p:cNvSpPr>
                <a:spLocks/>
              </p:cNvSpPr>
              <p:nvPr/>
            </p:nvSpPr>
            <p:spPr bwMode="auto">
              <a:xfrm>
                <a:off x="5918200" y="4124325"/>
                <a:ext cx="327025" cy="173038"/>
              </a:xfrm>
              <a:custGeom>
                <a:avLst/>
                <a:gdLst>
                  <a:gd name="T0" fmla="*/ 3 w 206"/>
                  <a:gd name="T1" fmla="*/ 109 h 109"/>
                  <a:gd name="T2" fmla="*/ 0 w 206"/>
                  <a:gd name="T3" fmla="*/ 105 h 109"/>
                  <a:gd name="T4" fmla="*/ 49 w 206"/>
                  <a:gd name="T5" fmla="*/ 84 h 109"/>
                  <a:gd name="T6" fmla="*/ 78 w 206"/>
                  <a:gd name="T7" fmla="*/ 52 h 109"/>
                  <a:gd name="T8" fmla="*/ 126 w 206"/>
                  <a:gd name="T9" fmla="*/ 42 h 109"/>
                  <a:gd name="T10" fmla="*/ 155 w 206"/>
                  <a:gd name="T11" fmla="*/ 10 h 109"/>
                  <a:gd name="T12" fmla="*/ 206 w 206"/>
                  <a:gd name="T13" fmla="*/ 0 h 109"/>
                  <a:gd name="T14" fmla="*/ 206 w 206"/>
                  <a:gd name="T15" fmla="*/ 4 h 109"/>
                  <a:gd name="T16" fmla="*/ 158 w 206"/>
                  <a:gd name="T17" fmla="*/ 14 h 109"/>
                  <a:gd name="T18" fmla="*/ 129 w 206"/>
                  <a:gd name="T19" fmla="*/ 46 h 109"/>
                  <a:gd name="T20" fmla="*/ 81 w 206"/>
                  <a:gd name="T21" fmla="*/ 56 h 109"/>
                  <a:gd name="T22" fmla="*/ 52 w 206"/>
                  <a:gd name="T23" fmla="*/ 88 h 109"/>
                  <a:gd name="T24" fmla="*/ 3 w 206"/>
                  <a:gd name="T25"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109">
                    <a:moveTo>
                      <a:pt x="3" y="109"/>
                    </a:moveTo>
                    <a:lnTo>
                      <a:pt x="0" y="105"/>
                    </a:lnTo>
                    <a:lnTo>
                      <a:pt x="49" y="84"/>
                    </a:lnTo>
                    <a:lnTo>
                      <a:pt x="78" y="52"/>
                    </a:lnTo>
                    <a:lnTo>
                      <a:pt x="126" y="42"/>
                    </a:lnTo>
                    <a:lnTo>
                      <a:pt x="155" y="10"/>
                    </a:lnTo>
                    <a:lnTo>
                      <a:pt x="206" y="0"/>
                    </a:lnTo>
                    <a:lnTo>
                      <a:pt x="206" y="4"/>
                    </a:lnTo>
                    <a:lnTo>
                      <a:pt x="158" y="14"/>
                    </a:lnTo>
                    <a:lnTo>
                      <a:pt x="129" y="46"/>
                    </a:lnTo>
                    <a:lnTo>
                      <a:pt x="81" y="56"/>
                    </a:lnTo>
                    <a:lnTo>
                      <a:pt x="52" y="88"/>
                    </a:lnTo>
                    <a:lnTo>
                      <a:pt x="3" y="109"/>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44" name="Freeform 277"/>
              <p:cNvSpPr>
                <a:spLocks/>
              </p:cNvSpPr>
              <p:nvPr/>
            </p:nvSpPr>
            <p:spPr bwMode="auto">
              <a:xfrm>
                <a:off x="5919788" y="4241800"/>
                <a:ext cx="320675" cy="82550"/>
              </a:xfrm>
              <a:custGeom>
                <a:avLst/>
                <a:gdLst>
                  <a:gd name="T0" fmla="*/ 0 w 202"/>
                  <a:gd name="T1" fmla="*/ 52 h 52"/>
                  <a:gd name="T2" fmla="*/ 0 w 202"/>
                  <a:gd name="T3" fmla="*/ 46 h 52"/>
                  <a:gd name="T4" fmla="*/ 47 w 202"/>
                  <a:gd name="T5" fmla="*/ 39 h 52"/>
                  <a:gd name="T6" fmla="*/ 86 w 202"/>
                  <a:gd name="T7" fmla="*/ 17 h 52"/>
                  <a:gd name="T8" fmla="*/ 133 w 202"/>
                  <a:gd name="T9" fmla="*/ 23 h 52"/>
                  <a:gd name="T10" fmla="*/ 173 w 202"/>
                  <a:gd name="T11" fmla="*/ 0 h 52"/>
                  <a:gd name="T12" fmla="*/ 202 w 202"/>
                  <a:gd name="T13" fmla="*/ 3 h 52"/>
                  <a:gd name="T14" fmla="*/ 202 w 202"/>
                  <a:gd name="T15" fmla="*/ 7 h 52"/>
                  <a:gd name="T16" fmla="*/ 173 w 202"/>
                  <a:gd name="T17" fmla="*/ 4 h 52"/>
                  <a:gd name="T18" fmla="*/ 135 w 202"/>
                  <a:gd name="T19" fmla="*/ 27 h 52"/>
                  <a:gd name="T20" fmla="*/ 87 w 202"/>
                  <a:gd name="T21" fmla="*/ 23 h 52"/>
                  <a:gd name="T22" fmla="*/ 48 w 202"/>
                  <a:gd name="T23" fmla="*/ 45 h 52"/>
                  <a:gd name="T24" fmla="*/ 0 w 202"/>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2" h="52">
                    <a:moveTo>
                      <a:pt x="0" y="52"/>
                    </a:moveTo>
                    <a:lnTo>
                      <a:pt x="0" y="46"/>
                    </a:lnTo>
                    <a:lnTo>
                      <a:pt x="47" y="39"/>
                    </a:lnTo>
                    <a:lnTo>
                      <a:pt x="86" y="17"/>
                    </a:lnTo>
                    <a:lnTo>
                      <a:pt x="133" y="23"/>
                    </a:lnTo>
                    <a:lnTo>
                      <a:pt x="173" y="0"/>
                    </a:lnTo>
                    <a:lnTo>
                      <a:pt x="202" y="3"/>
                    </a:lnTo>
                    <a:lnTo>
                      <a:pt x="202" y="7"/>
                    </a:lnTo>
                    <a:lnTo>
                      <a:pt x="173" y="4"/>
                    </a:lnTo>
                    <a:lnTo>
                      <a:pt x="135" y="27"/>
                    </a:lnTo>
                    <a:lnTo>
                      <a:pt x="87" y="23"/>
                    </a:lnTo>
                    <a:lnTo>
                      <a:pt x="48" y="45"/>
                    </a:lnTo>
                    <a:lnTo>
                      <a:pt x="0" y="52"/>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grpSp>
      </p:grpSp>
      <p:grpSp>
        <p:nvGrpSpPr>
          <p:cNvPr id="705" name="Group 704"/>
          <p:cNvGrpSpPr/>
          <p:nvPr/>
        </p:nvGrpSpPr>
        <p:grpSpPr>
          <a:xfrm>
            <a:off x="7136250" y="1431130"/>
            <a:ext cx="2473206" cy="2281476"/>
            <a:chOff x="6996094" y="1403197"/>
            <a:chExt cx="2424932" cy="2236944"/>
          </a:xfrm>
        </p:grpSpPr>
        <p:sp>
          <p:nvSpPr>
            <p:cNvPr id="156" name="TextBox 155"/>
            <p:cNvSpPr txBox="1"/>
            <p:nvPr/>
          </p:nvSpPr>
          <p:spPr>
            <a:xfrm>
              <a:off x="6996094" y="2347479"/>
              <a:ext cx="2424932" cy="1292662"/>
            </a:xfrm>
            <a:prstGeom prst="rect">
              <a:avLst/>
            </a:prstGeom>
            <a:noFill/>
          </p:spPr>
          <p:txBody>
            <a:bodyPr wrap="square" lIns="93260" tIns="93260" rIns="93260" bIns="93260" rtlCol="0">
              <a:noAutofit/>
            </a:bodyPr>
            <a:lstStyle/>
            <a:p>
              <a:pPr algn="ctr" defTabSz="932597">
                <a:defRPr/>
              </a:pPr>
              <a:r>
                <a:rPr lang="en-US" sz="2040" kern="0" dirty="0">
                  <a:solidFill>
                    <a:srgbClr val="505050"/>
                  </a:solidFill>
                  <a:latin typeface="Segoe UI Semibold" panose="020B0702040204020203" pitchFamily="34" charset="0"/>
                </a:rPr>
                <a:t>Submit and cancel U-SQL Jobs</a:t>
              </a:r>
            </a:p>
          </p:txBody>
        </p:sp>
        <p:grpSp>
          <p:nvGrpSpPr>
            <p:cNvPr id="628" name="Group 627"/>
            <p:cNvGrpSpPr/>
            <p:nvPr/>
          </p:nvGrpSpPr>
          <p:grpSpPr>
            <a:xfrm>
              <a:off x="7831323" y="1403197"/>
              <a:ext cx="761872" cy="1018909"/>
              <a:chOff x="950913" y="968376"/>
              <a:chExt cx="1439863" cy="1925638"/>
            </a:xfrm>
          </p:grpSpPr>
          <p:sp>
            <p:nvSpPr>
              <p:cNvPr id="551" name="Rectangle 283"/>
              <p:cNvSpPr>
                <a:spLocks noChangeArrowheads="1"/>
              </p:cNvSpPr>
              <p:nvPr/>
            </p:nvSpPr>
            <p:spPr bwMode="auto">
              <a:xfrm>
                <a:off x="1436688" y="2355851"/>
                <a:ext cx="847725" cy="538163"/>
              </a:xfrm>
              <a:prstGeom prst="rect">
                <a:avLst/>
              </a:prstGeom>
              <a:solidFill>
                <a:srgbClr val="0082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52" name="Freeform 284"/>
              <p:cNvSpPr>
                <a:spLocks/>
              </p:cNvSpPr>
              <p:nvPr/>
            </p:nvSpPr>
            <p:spPr bwMode="auto">
              <a:xfrm>
                <a:off x="1436688" y="2355851"/>
                <a:ext cx="847725" cy="538163"/>
              </a:xfrm>
              <a:custGeom>
                <a:avLst/>
                <a:gdLst>
                  <a:gd name="T0" fmla="*/ 534 w 534"/>
                  <a:gd name="T1" fmla="*/ 339 h 339"/>
                  <a:gd name="T2" fmla="*/ 534 w 534"/>
                  <a:gd name="T3" fmla="*/ 0 h 339"/>
                  <a:gd name="T4" fmla="*/ 0 w 534"/>
                  <a:gd name="T5" fmla="*/ 0 h 339"/>
                  <a:gd name="T6" fmla="*/ 0 w 534"/>
                  <a:gd name="T7" fmla="*/ 339 h 339"/>
                </a:gdLst>
                <a:ahLst/>
                <a:cxnLst>
                  <a:cxn ang="0">
                    <a:pos x="T0" y="T1"/>
                  </a:cxn>
                  <a:cxn ang="0">
                    <a:pos x="T2" y="T3"/>
                  </a:cxn>
                  <a:cxn ang="0">
                    <a:pos x="T4" y="T5"/>
                  </a:cxn>
                  <a:cxn ang="0">
                    <a:pos x="T6" y="T7"/>
                  </a:cxn>
                </a:cxnLst>
                <a:rect l="0" t="0" r="r" b="b"/>
                <a:pathLst>
                  <a:path w="534" h="339">
                    <a:moveTo>
                      <a:pt x="534" y="339"/>
                    </a:moveTo>
                    <a:lnTo>
                      <a:pt x="534" y="0"/>
                    </a:lnTo>
                    <a:lnTo>
                      <a:pt x="0" y="0"/>
                    </a:lnTo>
                    <a:lnTo>
                      <a:pt x="0" y="33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53" name="Rectangle 285"/>
              <p:cNvSpPr>
                <a:spLocks noChangeArrowheads="1"/>
              </p:cNvSpPr>
              <p:nvPr/>
            </p:nvSpPr>
            <p:spPr bwMode="auto">
              <a:xfrm>
                <a:off x="1489076" y="2409826"/>
                <a:ext cx="742950" cy="431800"/>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54" name="Rectangle 286"/>
              <p:cNvSpPr>
                <a:spLocks noChangeArrowheads="1"/>
              </p:cNvSpPr>
              <p:nvPr/>
            </p:nvSpPr>
            <p:spPr bwMode="auto">
              <a:xfrm>
                <a:off x="1203326" y="2403476"/>
                <a:ext cx="230188" cy="231775"/>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55" name="Freeform 287"/>
              <p:cNvSpPr>
                <a:spLocks noEditPoints="1"/>
              </p:cNvSpPr>
              <p:nvPr/>
            </p:nvSpPr>
            <p:spPr bwMode="auto">
              <a:xfrm>
                <a:off x="1200151" y="2400301"/>
                <a:ext cx="236538" cy="238125"/>
              </a:xfrm>
              <a:custGeom>
                <a:avLst/>
                <a:gdLst>
                  <a:gd name="T0" fmla="*/ 145 w 149"/>
                  <a:gd name="T1" fmla="*/ 0 h 150"/>
                  <a:gd name="T2" fmla="*/ 4 w 149"/>
                  <a:gd name="T3" fmla="*/ 0 h 150"/>
                  <a:gd name="T4" fmla="*/ 0 w 149"/>
                  <a:gd name="T5" fmla="*/ 0 h 150"/>
                  <a:gd name="T6" fmla="*/ 0 w 149"/>
                  <a:gd name="T7" fmla="*/ 4 h 150"/>
                  <a:gd name="T8" fmla="*/ 0 w 149"/>
                  <a:gd name="T9" fmla="*/ 146 h 150"/>
                  <a:gd name="T10" fmla="*/ 0 w 149"/>
                  <a:gd name="T11" fmla="*/ 150 h 150"/>
                  <a:gd name="T12" fmla="*/ 4 w 149"/>
                  <a:gd name="T13" fmla="*/ 150 h 150"/>
                  <a:gd name="T14" fmla="*/ 145 w 149"/>
                  <a:gd name="T15" fmla="*/ 150 h 150"/>
                  <a:gd name="T16" fmla="*/ 149 w 149"/>
                  <a:gd name="T17" fmla="*/ 150 h 150"/>
                  <a:gd name="T18" fmla="*/ 149 w 149"/>
                  <a:gd name="T19" fmla="*/ 146 h 150"/>
                  <a:gd name="T20" fmla="*/ 149 w 149"/>
                  <a:gd name="T21" fmla="*/ 4 h 150"/>
                  <a:gd name="T22" fmla="*/ 149 w 149"/>
                  <a:gd name="T23" fmla="*/ 0 h 150"/>
                  <a:gd name="T24" fmla="*/ 145 w 149"/>
                  <a:gd name="T25" fmla="*/ 0 h 150"/>
                  <a:gd name="T26" fmla="*/ 145 w 149"/>
                  <a:gd name="T27" fmla="*/ 146 h 150"/>
                  <a:gd name="T28" fmla="*/ 4 w 149"/>
                  <a:gd name="T29" fmla="*/ 146 h 150"/>
                  <a:gd name="T30" fmla="*/ 4 w 149"/>
                  <a:gd name="T31" fmla="*/ 4 h 150"/>
                  <a:gd name="T32" fmla="*/ 145 w 149"/>
                  <a:gd name="T33" fmla="*/ 4 h 150"/>
                  <a:gd name="T34" fmla="*/ 145 w 149"/>
                  <a:gd name="T35" fmla="*/ 14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0">
                    <a:moveTo>
                      <a:pt x="145" y="0"/>
                    </a:moveTo>
                    <a:lnTo>
                      <a:pt x="4" y="0"/>
                    </a:lnTo>
                    <a:lnTo>
                      <a:pt x="0" y="0"/>
                    </a:lnTo>
                    <a:lnTo>
                      <a:pt x="0" y="4"/>
                    </a:lnTo>
                    <a:lnTo>
                      <a:pt x="0" y="146"/>
                    </a:lnTo>
                    <a:lnTo>
                      <a:pt x="0" y="150"/>
                    </a:lnTo>
                    <a:lnTo>
                      <a:pt x="4" y="150"/>
                    </a:lnTo>
                    <a:lnTo>
                      <a:pt x="145" y="150"/>
                    </a:lnTo>
                    <a:lnTo>
                      <a:pt x="149" y="150"/>
                    </a:lnTo>
                    <a:lnTo>
                      <a:pt x="149" y="146"/>
                    </a:lnTo>
                    <a:lnTo>
                      <a:pt x="149" y="4"/>
                    </a:lnTo>
                    <a:lnTo>
                      <a:pt x="149" y="0"/>
                    </a:lnTo>
                    <a:lnTo>
                      <a:pt x="145" y="0"/>
                    </a:lnTo>
                    <a:close/>
                    <a:moveTo>
                      <a:pt x="145" y="146"/>
                    </a:moveTo>
                    <a:lnTo>
                      <a:pt x="4" y="146"/>
                    </a:lnTo>
                    <a:lnTo>
                      <a:pt x="4" y="4"/>
                    </a:lnTo>
                    <a:lnTo>
                      <a:pt x="145" y="4"/>
                    </a:lnTo>
                    <a:lnTo>
                      <a:pt x="145" y="1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56" name="Freeform 288"/>
              <p:cNvSpPr>
                <a:spLocks/>
              </p:cNvSpPr>
              <p:nvPr/>
            </p:nvSpPr>
            <p:spPr bwMode="auto">
              <a:xfrm>
                <a:off x="1023938" y="2560638"/>
                <a:ext cx="166688" cy="333375"/>
              </a:xfrm>
              <a:custGeom>
                <a:avLst/>
                <a:gdLst>
                  <a:gd name="T0" fmla="*/ 10 w 223"/>
                  <a:gd name="T1" fmla="*/ 0 h 447"/>
                  <a:gd name="T2" fmla="*/ 0 w 223"/>
                  <a:gd name="T3" fmla="*/ 10 h 447"/>
                  <a:gd name="T4" fmla="*/ 0 w 223"/>
                  <a:gd name="T5" fmla="*/ 437 h 447"/>
                  <a:gd name="T6" fmla="*/ 10 w 223"/>
                  <a:gd name="T7" fmla="*/ 447 h 447"/>
                  <a:gd name="T8" fmla="*/ 213 w 223"/>
                  <a:gd name="T9" fmla="*/ 447 h 447"/>
                  <a:gd name="T10" fmla="*/ 223 w 223"/>
                  <a:gd name="T11" fmla="*/ 437 h 447"/>
                  <a:gd name="T12" fmla="*/ 223 w 223"/>
                  <a:gd name="T13" fmla="*/ 10 h 447"/>
                  <a:gd name="T14" fmla="*/ 213 w 223"/>
                  <a:gd name="T15" fmla="*/ 0 h 447"/>
                  <a:gd name="T16" fmla="*/ 28 w 223"/>
                  <a:gd name="T17" fmla="*/ 0 h 447"/>
                  <a:gd name="T18" fmla="*/ 10 w 223"/>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3" h="447">
                    <a:moveTo>
                      <a:pt x="10" y="0"/>
                    </a:moveTo>
                    <a:cubicBezTo>
                      <a:pt x="10" y="0"/>
                      <a:pt x="0" y="0"/>
                      <a:pt x="0" y="10"/>
                    </a:cubicBezTo>
                    <a:cubicBezTo>
                      <a:pt x="0" y="437"/>
                      <a:pt x="0" y="437"/>
                      <a:pt x="0" y="437"/>
                    </a:cubicBezTo>
                    <a:cubicBezTo>
                      <a:pt x="0" y="437"/>
                      <a:pt x="0" y="447"/>
                      <a:pt x="10" y="447"/>
                    </a:cubicBezTo>
                    <a:cubicBezTo>
                      <a:pt x="213" y="447"/>
                      <a:pt x="213" y="447"/>
                      <a:pt x="213" y="447"/>
                    </a:cubicBezTo>
                    <a:cubicBezTo>
                      <a:pt x="213" y="447"/>
                      <a:pt x="223" y="447"/>
                      <a:pt x="223" y="437"/>
                    </a:cubicBezTo>
                    <a:cubicBezTo>
                      <a:pt x="223" y="10"/>
                      <a:pt x="223" y="10"/>
                      <a:pt x="223" y="10"/>
                    </a:cubicBezTo>
                    <a:cubicBezTo>
                      <a:pt x="223" y="10"/>
                      <a:pt x="223" y="0"/>
                      <a:pt x="213" y="0"/>
                    </a:cubicBezTo>
                    <a:cubicBezTo>
                      <a:pt x="28" y="0"/>
                      <a:pt x="28" y="0"/>
                      <a:pt x="28" y="0"/>
                    </a:cubicBezTo>
                    <a:lnTo>
                      <a:pt x="10" y="0"/>
                    </a:lnTo>
                    <a:close/>
                  </a:path>
                </a:pathLst>
              </a:custGeom>
              <a:solidFill>
                <a:srgbClr val="008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57" name="Rectangle 289"/>
              <p:cNvSpPr>
                <a:spLocks noChangeArrowheads="1"/>
              </p:cNvSpPr>
              <p:nvPr/>
            </p:nvSpPr>
            <p:spPr bwMode="auto">
              <a:xfrm>
                <a:off x="1039813" y="2633663"/>
                <a:ext cx="134938" cy="204788"/>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58" name="Freeform 290"/>
              <p:cNvSpPr>
                <a:spLocks/>
              </p:cNvSpPr>
              <p:nvPr/>
            </p:nvSpPr>
            <p:spPr bwMode="auto">
              <a:xfrm>
                <a:off x="1009651" y="998538"/>
                <a:ext cx="785813" cy="630238"/>
              </a:xfrm>
              <a:custGeom>
                <a:avLst/>
                <a:gdLst>
                  <a:gd name="T0" fmla="*/ 495 w 495"/>
                  <a:gd name="T1" fmla="*/ 314 h 397"/>
                  <a:gd name="T2" fmla="*/ 495 w 495"/>
                  <a:gd name="T3" fmla="*/ 0 h 397"/>
                  <a:gd name="T4" fmla="*/ 0 w 495"/>
                  <a:gd name="T5" fmla="*/ 0 h 397"/>
                  <a:gd name="T6" fmla="*/ 0 w 495"/>
                  <a:gd name="T7" fmla="*/ 314 h 397"/>
                  <a:gd name="T8" fmla="*/ 234 w 495"/>
                  <a:gd name="T9" fmla="*/ 333 h 397"/>
                  <a:gd name="T10" fmla="*/ 225 w 495"/>
                  <a:gd name="T11" fmla="*/ 386 h 397"/>
                  <a:gd name="T12" fmla="*/ 165 w 495"/>
                  <a:gd name="T13" fmla="*/ 386 h 397"/>
                  <a:gd name="T14" fmla="*/ 165 w 495"/>
                  <a:gd name="T15" fmla="*/ 397 h 397"/>
                  <a:gd name="T16" fmla="*/ 331 w 495"/>
                  <a:gd name="T17" fmla="*/ 397 h 397"/>
                  <a:gd name="T18" fmla="*/ 331 w 495"/>
                  <a:gd name="T19" fmla="*/ 386 h 397"/>
                  <a:gd name="T20" fmla="*/ 270 w 495"/>
                  <a:gd name="T21" fmla="*/ 386 h 397"/>
                  <a:gd name="T22" fmla="*/ 261 w 495"/>
                  <a:gd name="T23" fmla="*/ 333 h 397"/>
                  <a:gd name="T24" fmla="*/ 495 w 495"/>
                  <a:gd name="T25" fmla="*/ 314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5" h="397">
                    <a:moveTo>
                      <a:pt x="495" y="314"/>
                    </a:moveTo>
                    <a:lnTo>
                      <a:pt x="495" y="0"/>
                    </a:lnTo>
                    <a:lnTo>
                      <a:pt x="0" y="0"/>
                    </a:lnTo>
                    <a:lnTo>
                      <a:pt x="0" y="314"/>
                    </a:lnTo>
                    <a:lnTo>
                      <a:pt x="234" y="333"/>
                    </a:lnTo>
                    <a:lnTo>
                      <a:pt x="225" y="386"/>
                    </a:lnTo>
                    <a:lnTo>
                      <a:pt x="165" y="386"/>
                    </a:lnTo>
                    <a:lnTo>
                      <a:pt x="165" y="397"/>
                    </a:lnTo>
                    <a:lnTo>
                      <a:pt x="331" y="397"/>
                    </a:lnTo>
                    <a:lnTo>
                      <a:pt x="331" y="386"/>
                    </a:lnTo>
                    <a:lnTo>
                      <a:pt x="270" y="386"/>
                    </a:lnTo>
                    <a:lnTo>
                      <a:pt x="261" y="333"/>
                    </a:lnTo>
                    <a:lnTo>
                      <a:pt x="495" y="314"/>
                    </a:lnTo>
                    <a:close/>
                  </a:path>
                </a:pathLst>
              </a:custGeom>
              <a:solidFill>
                <a:srgbClr val="008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59" name="Rectangle 291"/>
              <p:cNvSpPr>
                <a:spLocks noChangeArrowheads="1"/>
              </p:cNvSpPr>
              <p:nvPr/>
            </p:nvSpPr>
            <p:spPr bwMode="auto">
              <a:xfrm>
                <a:off x="1057276" y="1047751"/>
                <a:ext cx="690563" cy="400050"/>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60" name="Rectangle 292"/>
              <p:cNvSpPr>
                <a:spLocks noChangeArrowheads="1"/>
              </p:cNvSpPr>
              <p:nvPr/>
            </p:nvSpPr>
            <p:spPr bwMode="auto">
              <a:xfrm>
                <a:off x="1082676" y="1570038"/>
                <a:ext cx="204788" cy="2047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61" name="Rectangle 293"/>
              <p:cNvSpPr>
                <a:spLocks noChangeArrowheads="1"/>
              </p:cNvSpPr>
              <p:nvPr/>
            </p:nvSpPr>
            <p:spPr bwMode="auto">
              <a:xfrm>
                <a:off x="1071563" y="1552576"/>
                <a:ext cx="231775" cy="2317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62" name="Freeform 294"/>
              <p:cNvSpPr>
                <a:spLocks noEditPoints="1"/>
              </p:cNvSpPr>
              <p:nvPr/>
            </p:nvSpPr>
            <p:spPr bwMode="auto">
              <a:xfrm>
                <a:off x="1069976" y="1549401"/>
                <a:ext cx="236538" cy="236538"/>
              </a:xfrm>
              <a:custGeom>
                <a:avLst/>
                <a:gdLst>
                  <a:gd name="T0" fmla="*/ 149 w 149"/>
                  <a:gd name="T1" fmla="*/ 0 h 149"/>
                  <a:gd name="T2" fmla="*/ 145 w 149"/>
                  <a:gd name="T3" fmla="*/ 0 h 149"/>
                  <a:gd name="T4" fmla="*/ 3 w 149"/>
                  <a:gd name="T5" fmla="*/ 0 h 149"/>
                  <a:gd name="T6" fmla="*/ 0 w 149"/>
                  <a:gd name="T7" fmla="*/ 0 h 149"/>
                  <a:gd name="T8" fmla="*/ 0 w 149"/>
                  <a:gd name="T9" fmla="*/ 3 h 149"/>
                  <a:gd name="T10" fmla="*/ 0 w 149"/>
                  <a:gd name="T11" fmla="*/ 146 h 149"/>
                  <a:gd name="T12" fmla="*/ 0 w 149"/>
                  <a:gd name="T13" fmla="*/ 149 h 149"/>
                  <a:gd name="T14" fmla="*/ 3 w 149"/>
                  <a:gd name="T15" fmla="*/ 149 h 149"/>
                  <a:gd name="T16" fmla="*/ 145 w 149"/>
                  <a:gd name="T17" fmla="*/ 149 h 149"/>
                  <a:gd name="T18" fmla="*/ 149 w 149"/>
                  <a:gd name="T19" fmla="*/ 149 h 149"/>
                  <a:gd name="T20" fmla="*/ 149 w 149"/>
                  <a:gd name="T21" fmla="*/ 146 h 149"/>
                  <a:gd name="T22" fmla="*/ 149 w 149"/>
                  <a:gd name="T23" fmla="*/ 3 h 149"/>
                  <a:gd name="T24" fmla="*/ 149 w 149"/>
                  <a:gd name="T25" fmla="*/ 0 h 149"/>
                  <a:gd name="T26" fmla="*/ 145 w 149"/>
                  <a:gd name="T27" fmla="*/ 146 h 149"/>
                  <a:gd name="T28" fmla="*/ 3 w 149"/>
                  <a:gd name="T29" fmla="*/ 146 h 149"/>
                  <a:gd name="T30" fmla="*/ 3 w 149"/>
                  <a:gd name="T31" fmla="*/ 3 h 149"/>
                  <a:gd name="T32" fmla="*/ 145 w 149"/>
                  <a:gd name="T33" fmla="*/ 3 h 149"/>
                  <a:gd name="T34" fmla="*/ 145 w 149"/>
                  <a:gd name="T35" fmla="*/ 14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49">
                    <a:moveTo>
                      <a:pt x="149" y="0"/>
                    </a:moveTo>
                    <a:lnTo>
                      <a:pt x="145" y="0"/>
                    </a:lnTo>
                    <a:lnTo>
                      <a:pt x="3" y="0"/>
                    </a:lnTo>
                    <a:lnTo>
                      <a:pt x="0" y="0"/>
                    </a:lnTo>
                    <a:lnTo>
                      <a:pt x="0" y="3"/>
                    </a:lnTo>
                    <a:lnTo>
                      <a:pt x="0" y="146"/>
                    </a:lnTo>
                    <a:lnTo>
                      <a:pt x="0" y="149"/>
                    </a:lnTo>
                    <a:lnTo>
                      <a:pt x="3" y="149"/>
                    </a:lnTo>
                    <a:lnTo>
                      <a:pt x="145" y="149"/>
                    </a:lnTo>
                    <a:lnTo>
                      <a:pt x="149" y="149"/>
                    </a:lnTo>
                    <a:lnTo>
                      <a:pt x="149" y="146"/>
                    </a:lnTo>
                    <a:lnTo>
                      <a:pt x="149" y="3"/>
                    </a:lnTo>
                    <a:lnTo>
                      <a:pt x="149" y="0"/>
                    </a:lnTo>
                    <a:close/>
                    <a:moveTo>
                      <a:pt x="145" y="146"/>
                    </a:moveTo>
                    <a:lnTo>
                      <a:pt x="3" y="146"/>
                    </a:lnTo>
                    <a:lnTo>
                      <a:pt x="3" y="3"/>
                    </a:lnTo>
                    <a:lnTo>
                      <a:pt x="145" y="3"/>
                    </a:lnTo>
                    <a:lnTo>
                      <a:pt x="145" y="1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63" name="Freeform 295"/>
              <p:cNvSpPr>
                <a:spLocks/>
              </p:cNvSpPr>
              <p:nvPr/>
            </p:nvSpPr>
            <p:spPr bwMode="auto">
              <a:xfrm>
                <a:off x="1295401" y="2541588"/>
                <a:ext cx="390525" cy="242888"/>
              </a:xfrm>
              <a:custGeom>
                <a:avLst/>
                <a:gdLst>
                  <a:gd name="T0" fmla="*/ 523 w 523"/>
                  <a:gd name="T1" fmla="*/ 0 h 326"/>
                  <a:gd name="T2" fmla="*/ 523 w 523"/>
                  <a:gd name="T3" fmla="*/ 126 h 326"/>
                  <a:gd name="T4" fmla="*/ 366 w 523"/>
                  <a:gd name="T5" fmla="*/ 125 h 326"/>
                  <a:gd name="T6" fmla="*/ 233 w 523"/>
                  <a:gd name="T7" fmla="*/ 292 h 326"/>
                  <a:gd name="T8" fmla="*/ 233 w 523"/>
                  <a:gd name="T9" fmla="*/ 292 h 326"/>
                  <a:gd name="T10" fmla="*/ 233 w 523"/>
                  <a:gd name="T11" fmla="*/ 292 h 326"/>
                  <a:gd name="T12" fmla="*/ 126 w 523"/>
                  <a:gd name="T13" fmla="*/ 326 h 326"/>
                  <a:gd name="T14" fmla="*/ 146 w 523"/>
                  <a:gd name="T15" fmla="*/ 286 h 326"/>
                  <a:gd name="T16" fmla="*/ 207 w 523"/>
                  <a:gd name="T17" fmla="*/ 267 h 326"/>
                  <a:gd name="T18" fmla="*/ 230 w 523"/>
                  <a:gd name="T19" fmla="*/ 238 h 326"/>
                  <a:gd name="T20" fmla="*/ 176 w 523"/>
                  <a:gd name="T21" fmla="*/ 269 h 326"/>
                  <a:gd name="T22" fmla="*/ 176 w 523"/>
                  <a:gd name="T23" fmla="*/ 269 h 326"/>
                  <a:gd name="T24" fmla="*/ 27 w 523"/>
                  <a:gd name="T25" fmla="*/ 298 h 326"/>
                  <a:gd name="T26" fmla="*/ 52 w 523"/>
                  <a:gd name="T27" fmla="*/ 261 h 326"/>
                  <a:gd name="T28" fmla="*/ 163 w 523"/>
                  <a:gd name="T29" fmla="*/ 240 h 326"/>
                  <a:gd name="T30" fmla="*/ 222 w 523"/>
                  <a:gd name="T31" fmla="*/ 208 h 326"/>
                  <a:gd name="T32" fmla="*/ 146 w 523"/>
                  <a:gd name="T33" fmla="*/ 237 h 326"/>
                  <a:gd name="T34" fmla="*/ 1 w 523"/>
                  <a:gd name="T35" fmla="*/ 242 h 326"/>
                  <a:gd name="T36" fmla="*/ 32 w 523"/>
                  <a:gd name="T37" fmla="*/ 210 h 326"/>
                  <a:gd name="T38" fmla="*/ 135 w 523"/>
                  <a:gd name="T39" fmla="*/ 206 h 326"/>
                  <a:gd name="T40" fmla="*/ 212 w 523"/>
                  <a:gd name="T41" fmla="*/ 182 h 326"/>
                  <a:gd name="T42" fmla="*/ 119 w 523"/>
                  <a:gd name="T43" fmla="*/ 202 h 326"/>
                  <a:gd name="T44" fmla="*/ 84 w 523"/>
                  <a:gd name="T45" fmla="*/ 133 h 326"/>
                  <a:gd name="T46" fmla="*/ 128 w 523"/>
                  <a:gd name="T47" fmla="*/ 142 h 326"/>
                  <a:gd name="T48" fmla="*/ 142 w 523"/>
                  <a:gd name="T49" fmla="*/ 169 h 326"/>
                  <a:gd name="T50" fmla="*/ 232 w 523"/>
                  <a:gd name="T51" fmla="*/ 130 h 326"/>
                  <a:gd name="T52" fmla="*/ 277 w 523"/>
                  <a:gd name="T53" fmla="*/ 69 h 326"/>
                  <a:gd name="T54" fmla="*/ 238 w 523"/>
                  <a:gd name="T55" fmla="*/ 56 h 326"/>
                  <a:gd name="T56" fmla="*/ 167 w 523"/>
                  <a:gd name="T57" fmla="*/ 106 h 326"/>
                  <a:gd name="T58" fmla="*/ 119 w 523"/>
                  <a:gd name="T59" fmla="*/ 94 h 326"/>
                  <a:gd name="T60" fmla="*/ 249 w 523"/>
                  <a:gd name="T61" fmla="*/ 0 h 326"/>
                  <a:gd name="T62" fmla="*/ 523 w 523"/>
                  <a:gd name="T63"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3" h="326">
                    <a:moveTo>
                      <a:pt x="523" y="0"/>
                    </a:moveTo>
                    <a:cubicBezTo>
                      <a:pt x="523" y="126"/>
                      <a:pt x="523" y="126"/>
                      <a:pt x="523" y="126"/>
                    </a:cubicBezTo>
                    <a:cubicBezTo>
                      <a:pt x="366" y="125"/>
                      <a:pt x="366" y="125"/>
                      <a:pt x="366" y="125"/>
                    </a:cubicBezTo>
                    <a:cubicBezTo>
                      <a:pt x="233" y="292"/>
                      <a:pt x="233" y="292"/>
                      <a:pt x="233" y="292"/>
                    </a:cubicBezTo>
                    <a:cubicBezTo>
                      <a:pt x="233" y="292"/>
                      <a:pt x="233" y="292"/>
                      <a:pt x="233" y="292"/>
                    </a:cubicBezTo>
                    <a:cubicBezTo>
                      <a:pt x="233" y="292"/>
                      <a:pt x="233" y="292"/>
                      <a:pt x="233" y="292"/>
                    </a:cubicBezTo>
                    <a:cubicBezTo>
                      <a:pt x="126" y="326"/>
                      <a:pt x="126" y="326"/>
                      <a:pt x="126" y="326"/>
                    </a:cubicBezTo>
                    <a:cubicBezTo>
                      <a:pt x="120" y="310"/>
                      <a:pt x="129" y="292"/>
                      <a:pt x="146" y="286"/>
                    </a:cubicBezTo>
                    <a:cubicBezTo>
                      <a:pt x="207" y="267"/>
                      <a:pt x="207" y="267"/>
                      <a:pt x="207" y="267"/>
                    </a:cubicBezTo>
                    <a:cubicBezTo>
                      <a:pt x="230" y="238"/>
                      <a:pt x="230" y="238"/>
                      <a:pt x="230" y="238"/>
                    </a:cubicBezTo>
                    <a:cubicBezTo>
                      <a:pt x="176" y="269"/>
                      <a:pt x="176" y="269"/>
                      <a:pt x="176" y="269"/>
                    </a:cubicBezTo>
                    <a:cubicBezTo>
                      <a:pt x="176" y="269"/>
                      <a:pt x="176" y="269"/>
                      <a:pt x="176" y="269"/>
                    </a:cubicBezTo>
                    <a:cubicBezTo>
                      <a:pt x="27" y="298"/>
                      <a:pt x="27" y="298"/>
                      <a:pt x="27" y="298"/>
                    </a:cubicBezTo>
                    <a:cubicBezTo>
                      <a:pt x="24" y="281"/>
                      <a:pt x="35" y="264"/>
                      <a:pt x="52" y="261"/>
                    </a:cubicBezTo>
                    <a:cubicBezTo>
                      <a:pt x="163" y="240"/>
                      <a:pt x="163" y="240"/>
                      <a:pt x="163" y="240"/>
                    </a:cubicBezTo>
                    <a:cubicBezTo>
                      <a:pt x="222" y="208"/>
                      <a:pt x="222" y="208"/>
                      <a:pt x="222" y="208"/>
                    </a:cubicBezTo>
                    <a:cubicBezTo>
                      <a:pt x="146" y="237"/>
                      <a:pt x="146" y="237"/>
                      <a:pt x="146" y="237"/>
                    </a:cubicBezTo>
                    <a:cubicBezTo>
                      <a:pt x="1" y="242"/>
                      <a:pt x="1" y="242"/>
                      <a:pt x="1" y="242"/>
                    </a:cubicBezTo>
                    <a:cubicBezTo>
                      <a:pt x="0" y="225"/>
                      <a:pt x="14" y="210"/>
                      <a:pt x="32" y="210"/>
                    </a:cubicBezTo>
                    <a:cubicBezTo>
                      <a:pt x="135" y="206"/>
                      <a:pt x="135" y="206"/>
                      <a:pt x="135" y="206"/>
                    </a:cubicBezTo>
                    <a:cubicBezTo>
                      <a:pt x="212" y="182"/>
                      <a:pt x="212" y="182"/>
                      <a:pt x="212" y="182"/>
                    </a:cubicBezTo>
                    <a:cubicBezTo>
                      <a:pt x="119" y="202"/>
                      <a:pt x="119" y="202"/>
                      <a:pt x="119" y="202"/>
                    </a:cubicBezTo>
                    <a:cubicBezTo>
                      <a:pt x="84" y="133"/>
                      <a:pt x="84" y="133"/>
                      <a:pt x="84" y="133"/>
                    </a:cubicBezTo>
                    <a:cubicBezTo>
                      <a:pt x="99" y="123"/>
                      <a:pt x="119" y="128"/>
                      <a:pt x="128" y="142"/>
                    </a:cubicBezTo>
                    <a:cubicBezTo>
                      <a:pt x="142" y="169"/>
                      <a:pt x="142" y="169"/>
                      <a:pt x="142" y="169"/>
                    </a:cubicBezTo>
                    <a:cubicBezTo>
                      <a:pt x="232" y="130"/>
                      <a:pt x="232" y="130"/>
                      <a:pt x="232" y="130"/>
                    </a:cubicBezTo>
                    <a:cubicBezTo>
                      <a:pt x="232" y="130"/>
                      <a:pt x="286" y="114"/>
                      <a:pt x="277" y="69"/>
                    </a:cubicBezTo>
                    <a:cubicBezTo>
                      <a:pt x="253" y="60"/>
                      <a:pt x="238" y="56"/>
                      <a:pt x="238" y="56"/>
                    </a:cubicBezTo>
                    <a:cubicBezTo>
                      <a:pt x="167" y="106"/>
                      <a:pt x="167" y="106"/>
                      <a:pt x="167" y="106"/>
                    </a:cubicBezTo>
                    <a:cubicBezTo>
                      <a:pt x="152" y="117"/>
                      <a:pt x="129" y="109"/>
                      <a:pt x="119" y="94"/>
                    </a:cubicBezTo>
                    <a:cubicBezTo>
                      <a:pt x="249" y="0"/>
                      <a:pt x="249" y="0"/>
                      <a:pt x="249" y="0"/>
                    </a:cubicBezTo>
                    <a:lnTo>
                      <a:pt x="523" y="0"/>
                    </a:lnTo>
                    <a:close/>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64" name="Freeform 296"/>
              <p:cNvSpPr>
                <a:spLocks/>
              </p:cNvSpPr>
              <p:nvPr/>
            </p:nvSpPr>
            <p:spPr bwMode="auto">
              <a:xfrm>
                <a:off x="1428751" y="2706688"/>
                <a:ext cx="25400" cy="30163"/>
              </a:xfrm>
              <a:custGeom>
                <a:avLst/>
                <a:gdLst>
                  <a:gd name="T0" fmla="*/ 10 w 16"/>
                  <a:gd name="T1" fmla="*/ 19 h 19"/>
                  <a:gd name="T2" fmla="*/ 0 w 16"/>
                  <a:gd name="T3" fmla="*/ 3 h 19"/>
                  <a:gd name="T4" fmla="*/ 7 w 16"/>
                  <a:gd name="T5" fmla="*/ 0 h 19"/>
                  <a:gd name="T6" fmla="*/ 16 w 16"/>
                  <a:gd name="T7" fmla="*/ 15 h 19"/>
                  <a:gd name="T8" fmla="*/ 10 w 16"/>
                  <a:gd name="T9" fmla="*/ 19 h 19"/>
                </a:gdLst>
                <a:ahLst/>
                <a:cxnLst>
                  <a:cxn ang="0">
                    <a:pos x="T0" y="T1"/>
                  </a:cxn>
                  <a:cxn ang="0">
                    <a:pos x="T2" y="T3"/>
                  </a:cxn>
                  <a:cxn ang="0">
                    <a:pos x="T4" y="T5"/>
                  </a:cxn>
                  <a:cxn ang="0">
                    <a:pos x="T6" y="T7"/>
                  </a:cxn>
                  <a:cxn ang="0">
                    <a:pos x="T8" y="T9"/>
                  </a:cxn>
                </a:cxnLst>
                <a:rect l="0" t="0" r="r" b="b"/>
                <a:pathLst>
                  <a:path w="16" h="19">
                    <a:moveTo>
                      <a:pt x="10" y="19"/>
                    </a:moveTo>
                    <a:lnTo>
                      <a:pt x="0" y="3"/>
                    </a:lnTo>
                    <a:lnTo>
                      <a:pt x="7" y="0"/>
                    </a:lnTo>
                    <a:lnTo>
                      <a:pt x="16" y="15"/>
                    </a:lnTo>
                    <a:lnTo>
                      <a:pt x="1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65" name="Freeform 297"/>
              <p:cNvSpPr>
                <a:spLocks/>
              </p:cNvSpPr>
              <p:nvPr/>
            </p:nvSpPr>
            <p:spPr bwMode="auto">
              <a:xfrm>
                <a:off x="1630363" y="2624138"/>
                <a:ext cx="23813" cy="23813"/>
              </a:xfrm>
              <a:custGeom>
                <a:avLst/>
                <a:gdLst>
                  <a:gd name="T0" fmla="*/ 16 w 32"/>
                  <a:gd name="T1" fmla="*/ 0 h 31"/>
                  <a:gd name="T2" fmla="*/ 31 w 32"/>
                  <a:gd name="T3" fmla="*/ 15 h 31"/>
                  <a:gd name="T4" fmla="*/ 16 w 32"/>
                  <a:gd name="T5" fmla="*/ 31 h 31"/>
                  <a:gd name="T6" fmla="*/ 0 w 32"/>
                  <a:gd name="T7" fmla="*/ 16 h 31"/>
                  <a:gd name="T8" fmla="*/ 16 w 32"/>
                  <a:gd name="T9" fmla="*/ 0 h 31"/>
                </a:gdLst>
                <a:ahLst/>
                <a:cxnLst>
                  <a:cxn ang="0">
                    <a:pos x="T0" y="T1"/>
                  </a:cxn>
                  <a:cxn ang="0">
                    <a:pos x="T2" y="T3"/>
                  </a:cxn>
                  <a:cxn ang="0">
                    <a:pos x="T4" y="T5"/>
                  </a:cxn>
                  <a:cxn ang="0">
                    <a:pos x="T6" y="T7"/>
                  </a:cxn>
                  <a:cxn ang="0">
                    <a:pos x="T8" y="T9"/>
                  </a:cxn>
                </a:cxnLst>
                <a:rect l="0" t="0" r="r" b="b"/>
                <a:pathLst>
                  <a:path w="32" h="31">
                    <a:moveTo>
                      <a:pt x="16" y="0"/>
                    </a:moveTo>
                    <a:cubicBezTo>
                      <a:pt x="24" y="0"/>
                      <a:pt x="31" y="7"/>
                      <a:pt x="31" y="15"/>
                    </a:cubicBezTo>
                    <a:cubicBezTo>
                      <a:pt x="32" y="24"/>
                      <a:pt x="25" y="31"/>
                      <a:pt x="16" y="31"/>
                    </a:cubicBezTo>
                    <a:cubicBezTo>
                      <a:pt x="7" y="31"/>
                      <a:pt x="0" y="24"/>
                      <a:pt x="0" y="16"/>
                    </a:cubicBezTo>
                    <a:cubicBezTo>
                      <a:pt x="0" y="7"/>
                      <a:pt x="7" y="0"/>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66" name="Freeform 298"/>
              <p:cNvSpPr>
                <a:spLocks/>
              </p:cNvSpPr>
              <p:nvPr/>
            </p:nvSpPr>
            <p:spPr bwMode="auto">
              <a:xfrm>
                <a:off x="1630363" y="2600326"/>
                <a:ext cx="22225" cy="23813"/>
              </a:xfrm>
              <a:custGeom>
                <a:avLst/>
                <a:gdLst>
                  <a:gd name="T0" fmla="*/ 15 w 31"/>
                  <a:gd name="T1" fmla="*/ 0 h 32"/>
                  <a:gd name="T2" fmla="*/ 31 w 31"/>
                  <a:gd name="T3" fmla="*/ 16 h 32"/>
                  <a:gd name="T4" fmla="*/ 16 w 31"/>
                  <a:gd name="T5" fmla="*/ 32 h 32"/>
                  <a:gd name="T6" fmla="*/ 0 w 31"/>
                  <a:gd name="T7" fmla="*/ 16 h 32"/>
                  <a:gd name="T8" fmla="*/ 15 w 31"/>
                  <a:gd name="T9" fmla="*/ 0 h 32"/>
                </a:gdLst>
                <a:ahLst/>
                <a:cxnLst>
                  <a:cxn ang="0">
                    <a:pos x="T0" y="T1"/>
                  </a:cxn>
                  <a:cxn ang="0">
                    <a:pos x="T2" y="T3"/>
                  </a:cxn>
                  <a:cxn ang="0">
                    <a:pos x="T4" y="T5"/>
                  </a:cxn>
                  <a:cxn ang="0">
                    <a:pos x="T6" y="T7"/>
                  </a:cxn>
                  <a:cxn ang="0">
                    <a:pos x="T8" y="T9"/>
                  </a:cxn>
                </a:cxnLst>
                <a:rect l="0" t="0" r="r" b="b"/>
                <a:pathLst>
                  <a:path w="31" h="32">
                    <a:moveTo>
                      <a:pt x="15" y="0"/>
                    </a:moveTo>
                    <a:cubicBezTo>
                      <a:pt x="24" y="0"/>
                      <a:pt x="31" y="7"/>
                      <a:pt x="31" y="16"/>
                    </a:cubicBezTo>
                    <a:cubicBezTo>
                      <a:pt x="31" y="25"/>
                      <a:pt x="24" y="32"/>
                      <a:pt x="16" y="32"/>
                    </a:cubicBezTo>
                    <a:cubicBezTo>
                      <a:pt x="7" y="32"/>
                      <a:pt x="0" y="25"/>
                      <a:pt x="0" y="16"/>
                    </a:cubicBezTo>
                    <a:cubicBezTo>
                      <a:pt x="0" y="8"/>
                      <a:pt x="7" y="1"/>
                      <a:pt x="1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67" name="Freeform 299"/>
              <p:cNvSpPr>
                <a:spLocks/>
              </p:cNvSpPr>
              <p:nvPr/>
            </p:nvSpPr>
            <p:spPr bwMode="auto">
              <a:xfrm>
                <a:off x="1630363" y="2576513"/>
                <a:ext cx="22225" cy="25400"/>
              </a:xfrm>
              <a:custGeom>
                <a:avLst/>
                <a:gdLst>
                  <a:gd name="T0" fmla="*/ 15 w 31"/>
                  <a:gd name="T1" fmla="*/ 0 h 32"/>
                  <a:gd name="T2" fmla="*/ 31 w 31"/>
                  <a:gd name="T3" fmla="*/ 16 h 32"/>
                  <a:gd name="T4" fmla="*/ 15 w 31"/>
                  <a:gd name="T5" fmla="*/ 31 h 32"/>
                  <a:gd name="T6" fmla="*/ 0 w 31"/>
                  <a:gd name="T7" fmla="*/ 16 h 32"/>
                  <a:gd name="T8" fmla="*/ 15 w 31"/>
                  <a:gd name="T9" fmla="*/ 0 h 32"/>
                </a:gdLst>
                <a:ahLst/>
                <a:cxnLst>
                  <a:cxn ang="0">
                    <a:pos x="T0" y="T1"/>
                  </a:cxn>
                  <a:cxn ang="0">
                    <a:pos x="T2" y="T3"/>
                  </a:cxn>
                  <a:cxn ang="0">
                    <a:pos x="T4" y="T5"/>
                  </a:cxn>
                  <a:cxn ang="0">
                    <a:pos x="T6" y="T7"/>
                  </a:cxn>
                  <a:cxn ang="0">
                    <a:pos x="T8" y="T9"/>
                  </a:cxn>
                </a:cxnLst>
                <a:rect l="0" t="0" r="r" b="b"/>
                <a:pathLst>
                  <a:path w="31" h="32">
                    <a:moveTo>
                      <a:pt x="15" y="0"/>
                    </a:moveTo>
                    <a:cubicBezTo>
                      <a:pt x="24" y="0"/>
                      <a:pt x="31" y="7"/>
                      <a:pt x="31" y="16"/>
                    </a:cubicBezTo>
                    <a:cubicBezTo>
                      <a:pt x="31" y="24"/>
                      <a:pt x="24" y="31"/>
                      <a:pt x="15" y="31"/>
                    </a:cubicBezTo>
                    <a:cubicBezTo>
                      <a:pt x="7" y="32"/>
                      <a:pt x="0" y="25"/>
                      <a:pt x="0" y="16"/>
                    </a:cubicBezTo>
                    <a:cubicBezTo>
                      <a:pt x="0" y="7"/>
                      <a:pt x="7" y="0"/>
                      <a:pt x="1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68" name="Freeform 300"/>
              <p:cNvSpPr>
                <a:spLocks/>
              </p:cNvSpPr>
              <p:nvPr/>
            </p:nvSpPr>
            <p:spPr bwMode="auto">
              <a:xfrm>
                <a:off x="1628776" y="2554288"/>
                <a:ext cx="23813" cy="22225"/>
              </a:xfrm>
              <a:custGeom>
                <a:avLst/>
                <a:gdLst>
                  <a:gd name="T0" fmla="*/ 16 w 32"/>
                  <a:gd name="T1" fmla="*/ 0 h 31"/>
                  <a:gd name="T2" fmla="*/ 32 w 32"/>
                  <a:gd name="T3" fmla="*/ 15 h 31"/>
                  <a:gd name="T4" fmla="*/ 16 w 32"/>
                  <a:gd name="T5" fmla="*/ 31 h 31"/>
                  <a:gd name="T6" fmla="*/ 0 w 32"/>
                  <a:gd name="T7" fmla="*/ 16 h 31"/>
                  <a:gd name="T8" fmla="*/ 16 w 32"/>
                  <a:gd name="T9" fmla="*/ 0 h 31"/>
                </a:gdLst>
                <a:ahLst/>
                <a:cxnLst>
                  <a:cxn ang="0">
                    <a:pos x="T0" y="T1"/>
                  </a:cxn>
                  <a:cxn ang="0">
                    <a:pos x="T2" y="T3"/>
                  </a:cxn>
                  <a:cxn ang="0">
                    <a:pos x="T4" y="T5"/>
                  </a:cxn>
                  <a:cxn ang="0">
                    <a:pos x="T6" y="T7"/>
                  </a:cxn>
                  <a:cxn ang="0">
                    <a:pos x="T8" y="T9"/>
                  </a:cxn>
                </a:cxnLst>
                <a:rect l="0" t="0" r="r" b="b"/>
                <a:pathLst>
                  <a:path w="32" h="31">
                    <a:moveTo>
                      <a:pt x="16" y="0"/>
                    </a:moveTo>
                    <a:cubicBezTo>
                      <a:pt x="25" y="0"/>
                      <a:pt x="32" y="7"/>
                      <a:pt x="32" y="15"/>
                    </a:cubicBezTo>
                    <a:cubicBezTo>
                      <a:pt x="32" y="24"/>
                      <a:pt x="25" y="31"/>
                      <a:pt x="16" y="31"/>
                    </a:cubicBezTo>
                    <a:cubicBezTo>
                      <a:pt x="8" y="31"/>
                      <a:pt x="0" y="24"/>
                      <a:pt x="0" y="16"/>
                    </a:cubicBezTo>
                    <a:cubicBezTo>
                      <a:pt x="0" y="7"/>
                      <a:pt x="7" y="0"/>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69" name="Freeform 301"/>
              <p:cNvSpPr>
                <a:spLocks/>
              </p:cNvSpPr>
              <p:nvPr/>
            </p:nvSpPr>
            <p:spPr bwMode="auto">
              <a:xfrm>
                <a:off x="1628776" y="2530476"/>
                <a:ext cx="23813" cy="23813"/>
              </a:xfrm>
              <a:custGeom>
                <a:avLst/>
                <a:gdLst>
                  <a:gd name="T0" fmla="*/ 16 w 31"/>
                  <a:gd name="T1" fmla="*/ 0 h 31"/>
                  <a:gd name="T2" fmla="*/ 31 w 31"/>
                  <a:gd name="T3" fmla="*/ 15 h 31"/>
                  <a:gd name="T4" fmla="*/ 16 w 31"/>
                  <a:gd name="T5" fmla="*/ 31 h 31"/>
                  <a:gd name="T6" fmla="*/ 0 w 31"/>
                  <a:gd name="T7" fmla="*/ 15 h 31"/>
                  <a:gd name="T8" fmla="*/ 16 w 31"/>
                  <a:gd name="T9" fmla="*/ 0 h 31"/>
                </a:gdLst>
                <a:ahLst/>
                <a:cxnLst>
                  <a:cxn ang="0">
                    <a:pos x="T0" y="T1"/>
                  </a:cxn>
                  <a:cxn ang="0">
                    <a:pos x="T2" y="T3"/>
                  </a:cxn>
                  <a:cxn ang="0">
                    <a:pos x="T4" y="T5"/>
                  </a:cxn>
                  <a:cxn ang="0">
                    <a:pos x="T6" y="T7"/>
                  </a:cxn>
                  <a:cxn ang="0">
                    <a:pos x="T8" y="T9"/>
                  </a:cxn>
                </a:cxnLst>
                <a:rect l="0" t="0" r="r" b="b"/>
                <a:pathLst>
                  <a:path w="31" h="31">
                    <a:moveTo>
                      <a:pt x="16" y="0"/>
                    </a:moveTo>
                    <a:cubicBezTo>
                      <a:pt x="24" y="0"/>
                      <a:pt x="31" y="6"/>
                      <a:pt x="31" y="15"/>
                    </a:cubicBezTo>
                    <a:cubicBezTo>
                      <a:pt x="31" y="24"/>
                      <a:pt x="25" y="31"/>
                      <a:pt x="16" y="31"/>
                    </a:cubicBezTo>
                    <a:cubicBezTo>
                      <a:pt x="7" y="31"/>
                      <a:pt x="0" y="24"/>
                      <a:pt x="0" y="15"/>
                    </a:cubicBezTo>
                    <a:cubicBezTo>
                      <a:pt x="0" y="7"/>
                      <a:pt x="7" y="0"/>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70" name="Freeform 302"/>
              <p:cNvSpPr>
                <a:spLocks/>
              </p:cNvSpPr>
              <p:nvPr/>
            </p:nvSpPr>
            <p:spPr bwMode="auto">
              <a:xfrm>
                <a:off x="1685926" y="2541588"/>
                <a:ext cx="546100" cy="195263"/>
              </a:xfrm>
              <a:custGeom>
                <a:avLst/>
                <a:gdLst>
                  <a:gd name="T0" fmla="*/ 344 w 344"/>
                  <a:gd name="T1" fmla="*/ 123 h 123"/>
                  <a:gd name="T2" fmla="*/ 0 w 344"/>
                  <a:gd name="T3" fmla="*/ 61 h 123"/>
                  <a:gd name="T4" fmla="*/ 0 w 344"/>
                  <a:gd name="T5" fmla="*/ 0 h 123"/>
                  <a:gd name="T6" fmla="*/ 153 w 344"/>
                  <a:gd name="T7" fmla="*/ 0 h 123"/>
                  <a:gd name="T8" fmla="*/ 344 w 344"/>
                  <a:gd name="T9" fmla="*/ 0 h 123"/>
                  <a:gd name="T10" fmla="*/ 344 w 344"/>
                  <a:gd name="T11" fmla="*/ 123 h 123"/>
                </a:gdLst>
                <a:ahLst/>
                <a:cxnLst>
                  <a:cxn ang="0">
                    <a:pos x="T0" y="T1"/>
                  </a:cxn>
                  <a:cxn ang="0">
                    <a:pos x="T2" y="T3"/>
                  </a:cxn>
                  <a:cxn ang="0">
                    <a:pos x="T4" y="T5"/>
                  </a:cxn>
                  <a:cxn ang="0">
                    <a:pos x="T6" y="T7"/>
                  </a:cxn>
                  <a:cxn ang="0">
                    <a:pos x="T8" y="T9"/>
                  </a:cxn>
                  <a:cxn ang="0">
                    <a:pos x="T10" y="T11"/>
                  </a:cxn>
                </a:cxnLst>
                <a:rect l="0" t="0" r="r" b="b"/>
                <a:pathLst>
                  <a:path w="344" h="123">
                    <a:moveTo>
                      <a:pt x="344" y="123"/>
                    </a:moveTo>
                    <a:lnTo>
                      <a:pt x="0" y="61"/>
                    </a:lnTo>
                    <a:lnTo>
                      <a:pt x="0" y="0"/>
                    </a:lnTo>
                    <a:lnTo>
                      <a:pt x="153" y="0"/>
                    </a:lnTo>
                    <a:lnTo>
                      <a:pt x="344" y="0"/>
                    </a:lnTo>
                    <a:lnTo>
                      <a:pt x="344" y="12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71" name="Rectangle 303"/>
              <p:cNvSpPr>
                <a:spLocks noChangeArrowheads="1"/>
              </p:cNvSpPr>
              <p:nvPr/>
            </p:nvSpPr>
            <p:spPr bwMode="auto">
              <a:xfrm>
                <a:off x="1954213" y="1090613"/>
                <a:ext cx="230188" cy="2317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72" name="Freeform 304"/>
              <p:cNvSpPr>
                <a:spLocks noEditPoints="1"/>
              </p:cNvSpPr>
              <p:nvPr/>
            </p:nvSpPr>
            <p:spPr bwMode="auto">
              <a:xfrm>
                <a:off x="1951038" y="1087438"/>
                <a:ext cx="236538" cy="238125"/>
              </a:xfrm>
              <a:custGeom>
                <a:avLst/>
                <a:gdLst>
                  <a:gd name="T0" fmla="*/ 149 w 149"/>
                  <a:gd name="T1" fmla="*/ 0 h 150"/>
                  <a:gd name="T2" fmla="*/ 146 w 149"/>
                  <a:gd name="T3" fmla="*/ 0 h 150"/>
                  <a:gd name="T4" fmla="*/ 4 w 149"/>
                  <a:gd name="T5" fmla="*/ 0 h 150"/>
                  <a:gd name="T6" fmla="*/ 0 w 149"/>
                  <a:gd name="T7" fmla="*/ 0 h 150"/>
                  <a:gd name="T8" fmla="*/ 0 w 149"/>
                  <a:gd name="T9" fmla="*/ 4 h 150"/>
                  <a:gd name="T10" fmla="*/ 0 w 149"/>
                  <a:gd name="T11" fmla="*/ 146 h 150"/>
                  <a:gd name="T12" fmla="*/ 0 w 149"/>
                  <a:gd name="T13" fmla="*/ 150 h 150"/>
                  <a:gd name="T14" fmla="*/ 4 w 149"/>
                  <a:gd name="T15" fmla="*/ 150 h 150"/>
                  <a:gd name="T16" fmla="*/ 146 w 149"/>
                  <a:gd name="T17" fmla="*/ 150 h 150"/>
                  <a:gd name="T18" fmla="*/ 149 w 149"/>
                  <a:gd name="T19" fmla="*/ 150 h 150"/>
                  <a:gd name="T20" fmla="*/ 149 w 149"/>
                  <a:gd name="T21" fmla="*/ 146 h 150"/>
                  <a:gd name="T22" fmla="*/ 149 w 149"/>
                  <a:gd name="T23" fmla="*/ 4 h 150"/>
                  <a:gd name="T24" fmla="*/ 149 w 149"/>
                  <a:gd name="T25" fmla="*/ 0 h 150"/>
                  <a:gd name="T26" fmla="*/ 146 w 149"/>
                  <a:gd name="T27" fmla="*/ 146 h 150"/>
                  <a:gd name="T28" fmla="*/ 4 w 149"/>
                  <a:gd name="T29" fmla="*/ 146 h 150"/>
                  <a:gd name="T30" fmla="*/ 4 w 149"/>
                  <a:gd name="T31" fmla="*/ 4 h 150"/>
                  <a:gd name="T32" fmla="*/ 146 w 149"/>
                  <a:gd name="T33" fmla="*/ 4 h 150"/>
                  <a:gd name="T34" fmla="*/ 146 w 149"/>
                  <a:gd name="T35" fmla="*/ 14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0">
                    <a:moveTo>
                      <a:pt x="149" y="0"/>
                    </a:moveTo>
                    <a:lnTo>
                      <a:pt x="146" y="0"/>
                    </a:lnTo>
                    <a:lnTo>
                      <a:pt x="4" y="0"/>
                    </a:lnTo>
                    <a:lnTo>
                      <a:pt x="0" y="0"/>
                    </a:lnTo>
                    <a:lnTo>
                      <a:pt x="0" y="4"/>
                    </a:lnTo>
                    <a:lnTo>
                      <a:pt x="0" y="146"/>
                    </a:lnTo>
                    <a:lnTo>
                      <a:pt x="0" y="150"/>
                    </a:lnTo>
                    <a:lnTo>
                      <a:pt x="4" y="150"/>
                    </a:lnTo>
                    <a:lnTo>
                      <a:pt x="146" y="150"/>
                    </a:lnTo>
                    <a:lnTo>
                      <a:pt x="149" y="150"/>
                    </a:lnTo>
                    <a:lnTo>
                      <a:pt x="149" y="146"/>
                    </a:lnTo>
                    <a:lnTo>
                      <a:pt x="149" y="4"/>
                    </a:lnTo>
                    <a:lnTo>
                      <a:pt x="149" y="0"/>
                    </a:lnTo>
                    <a:close/>
                    <a:moveTo>
                      <a:pt x="146" y="146"/>
                    </a:moveTo>
                    <a:lnTo>
                      <a:pt x="4" y="146"/>
                    </a:lnTo>
                    <a:lnTo>
                      <a:pt x="4" y="4"/>
                    </a:lnTo>
                    <a:lnTo>
                      <a:pt x="146" y="4"/>
                    </a:lnTo>
                    <a:lnTo>
                      <a:pt x="146" y="1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73" name="Freeform 305"/>
              <p:cNvSpPr>
                <a:spLocks/>
              </p:cNvSpPr>
              <p:nvPr/>
            </p:nvSpPr>
            <p:spPr bwMode="auto">
              <a:xfrm>
                <a:off x="1743076" y="1639888"/>
                <a:ext cx="539750" cy="393700"/>
              </a:xfrm>
              <a:custGeom>
                <a:avLst/>
                <a:gdLst>
                  <a:gd name="T0" fmla="*/ 63 w 723"/>
                  <a:gd name="T1" fmla="*/ 0 h 528"/>
                  <a:gd name="T2" fmla="*/ 0 w 723"/>
                  <a:gd name="T3" fmla="*/ 62 h 528"/>
                  <a:gd name="T4" fmla="*/ 0 w 723"/>
                  <a:gd name="T5" fmla="*/ 528 h 528"/>
                  <a:gd name="T6" fmla="*/ 63 w 723"/>
                  <a:gd name="T7" fmla="*/ 524 h 528"/>
                  <a:gd name="T8" fmla="*/ 660 w 723"/>
                  <a:gd name="T9" fmla="*/ 524 h 528"/>
                  <a:gd name="T10" fmla="*/ 723 w 723"/>
                  <a:gd name="T11" fmla="*/ 528 h 528"/>
                  <a:gd name="T12" fmla="*/ 723 w 723"/>
                  <a:gd name="T13" fmla="*/ 62 h 528"/>
                  <a:gd name="T14" fmla="*/ 660 w 723"/>
                  <a:gd name="T15" fmla="*/ 0 h 528"/>
                  <a:gd name="T16" fmla="*/ 94 w 723"/>
                  <a:gd name="T17" fmla="*/ 0 h 528"/>
                  <a:gd name="T18" fmla="*/ 63 w 723"/>
                  <a:gd name="T19"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3" h="528">
                    <a:moveTo>
                      <a:pt x="63" y="0"/>
                    </a:moveTo>
                    <a:cubicBezTo>
                      <a:pt x="63" y="0"/>
                      <a:pt x="0" y="0"/>
                      <a:pt x="0" y="62"/>
                    </a:cubicBezTo>
                    <a:cubicBezTo>
                      <a:pt x="0" y="528"/>
                      <a:pt x="0" y="528"/>
                      <a:pt x="0" y="528"/>
                    </a:cubicBezTo>
                    <a:cubicBezTo>
                      <a:pt x="63" y="524"/>
                      <a:pt x="63" y="524"/>
                      <a:pt x="63" y="524"/>
                    </a:cubicBezTo>
                    <a:cubicBezTo>
                      <a:pt x="660" y="524"/>
                      <a:pt x="660" y="524"/>
                      <a:pt x="660" y="524"/>
                    </a:cubicBezTo>
                    <a:cubicBezTo>
                      <a:pt x="723" y="528"/>
                      <a:pt x="723" y="528"/>
                      <a:pt x="723" y="528"/>
                    </a:cubicBezTo>
                    <a:cubicBezTo>
                      <a:pt x="723" y="62"/>
                      <a:pt x="723" y="62"/>
                      <a:pt x="723" y="62"/>
                    </a:cubicBezTo>
                    <a:cubicBezTo>
                      <a:pt x="723" y="62"/>
                      <a:pt x="723" y="0"/>
                      <a:pt x="660" y="0"/>
                    </a:cubicBezTo>
                    <a:cubicBezTo>
                      <a:pt x="94" y="0"/>
                      <a:pt x="94" y="0"/>
                      <a:pt x="94" y="0"/>
                    </a:cubicBezTo>
                    <a:lnTo>
                      <a:pt x="63" y="0"/>
                    </a:lnTo>
                    <a:close/>
                  </a:path>
                </a:pathLst>
              </a:custGeom>
              <a:solidFill>
                <a:srgbClr val="008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74" name="Freeform 306"/>
              <p:cNvSpPr>
                <a:spLocks/>
              </p:cNvSpPr>
              <p:nvPr/>
            </p:nvSpPr>
            <p:spPr bwMode="auto">
              <a:xfrm>
                <a:off x="1766888" y="1657351"/>
                <a:ext cx="492125" cy="357188"/>
              </a:xfrm>
              <a:custGeom>
                <a:avLst/>
                <a:gdLst>
                  <a:gd name="T0" fmla="*/ 57 w 657"/>
                  <a:gd name="T1" fmla="*/ 0 h 477"/>
                  <a:gd name="T2" fmla="*/ 0 w 657"/>
                  <a:gd name="T3" fmla="*/ 56 h 477"/>
                  <a:gd name="T4" fmla="*/ 0 w 657"/>
                  <a:gd name="T5" fmla="*/ 420 h 477"/>
                  <a:gd name="T6" fmla="*/ 57 w 657"/>
                  <a:gd name="T7" fmla="*/ 477 h 477"/>
                  <a:gd name="T8" fmla="*/ 74 w 657"/>
                  <a:gd name="T9" fmla="*/ 477 h 477"/>
                  <a:gd name="T10" fmla="*/ 600 w 657"/>
                  <a:gd name="T11" fmla="*/ 477 h 477"/>
                  <a:gd name="T12" fmla="*/ 657 w 657"/>
                  <a:gd name="T13" fmla="*/ 420 h 477"/>
                  <a:gd name="T14" fmla="*/ 657 w 657"/>
                  <a:gd name="T15" fmla="*/ 56 h 477"/>
                  <a:gd name="T16" fmla="*/ 600 w 657"/>
                  <a:gd name="T17" fmla="*/ 0 h 477"/>
                  <a:gd name="T18" fmla="*/ 57 w 657"/>
                  <a:gd name="T19" fmla="*/ 0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7" h="477">
                    <a:moveTo>
                      <a:pt x="57" y="0"/>
                    </a:moveTo>
                    <a:cubicBezTo>
                      <a:pt x="57" y="0"/>
                      <a:pt x="0" y="0"/>
                      <a:pt x="0" y="56"/>
                    </a:cubicBezTo>
                    <a:cubicBezTo>
                      <a:pt x="0" y="420"/>
                      <a:pt x="0" y="420"/>
                      <a:pt x="0" y="420"/>
                    </a:cubicBezTo>
                    <a:cubicBezTo>
                      <a:pt x="0" y="420"/>
                      <a:pt x="0" y="477"/>
                      <a:pt x="57" y="477"/>
                    </a:cubicBezTo>
                    <a:cubicBezTo>
                      <a:pt x="74" y="477"/>
                      <a:pt x="74" y="477"/>
                      <a:pt x="74" y="477"/>
                    </a:cubicBezTo>
                    <a:cubicBezTo>
                      <a:pt x="600" y="477"/>
                      <a:pt x="600" y="477"/>
                      <a:pt x="600" y="477"/>
                    </a:cubicBezTo>
                    <a:cubicBezTo>
                      <a:pt x="600" y="477"/>
                      <a:pt x="657" y="477"/>
                      <a:pt x="657" y="420"/>
                    </a:cubicBezTo>
                    <a:cubicBezTo>
                      <a:pt x="657" y="56"/>
                      <a:pt x="657" y="56"/>
                      <a:pt x="657" y="56"/>
                    </a:cubicBezTo>
                    <a:cubicBezTo>
                      <a:pt x="657" y="56"/>
                      <a:pt x="657" y="0"/>
                      <a:pt x="600" y="0"/>
                    </a:cubicBezTo>
                    <a:lnTo>
                      <a:pt x="57" y="0"/>
                    </a:lnTo>
                    <a:close/>
                  </a:path>
                </a:pathLst>
              </a:custGeom>
              <a:solidFill>
                <a:srgbClr val="00B1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75" name="Freeform 307"/>
              <p:cNvSpPr>
                <a:spLocks/>
              </p:cNvSpPr>
              <p:nvPr/>
            </p:nvSpPr>
            <p:spPr bwMode="auto">
              <a:xfrm>
                <a:off x="1635126" y="2051051"/>
                <a:ext cx="755650" cy="26988"/>
              </a:xfrm>
              <a:custGeom>
                <a:avLst/>
                <a:gdLst>
                  <a:gd name="T0" fmla="*/ 0 w 1009"/>
                  <a:gd name="T1" fmla="*/ 0 h 36"/>
                  <a:gd name="T2" fmla="*/ 77 w 1009"/>
                  <a:gd name="T3" fmla="*/ 36 h 36"/>
                  <a:gd name="T4" fmla="*/ 932 w 1009"/>
                  <a:gd name="T5" fmla="*/ 36 h 36"/>
                  <a:gd name="T6" fmla="*/ 1009 w 1009"/>
                  <a:gd name="T7" fmla="*/ 0 h 36"/>
                  <a:gd name="T8" fmla="*/ 0 w 1009"/>
                  <a:gd name="T9" fmla="*/ 0 h 36"/>
                </a:gdLst>
                <a:ahLst/>
                <a:cxnLst>
                  <a:cxn ang="0">
                    <a:pos x="T0" y="T1"/>
                  </a:cxn>
                  <a:cxn ang="0">
                    <a:pos x="T2" y="T3"/>
                  </a:cxn>
                  <a:cxn ang="0">
                    <a:pos x="T4" y="T5"/>
                  </a:cxn>
                  <a:cxn ang="0">
                    <a:pos x="T6" y="T7"/>
                  </a:cxn>
                  <a:cxn ang="0">
                    <a:pos x="T8" y="T9"/>
                  </a:cxn>
                </a:cxnLst>
                <a:rect l="0" t="0" r="r" b="b"/>
                <a:pathLst>
                  <a:path w="1009" h="36">
                    <a:moveTo>
                      <a:pt x="0" y="0"/>
                    </a:moveTo>
                    <a:cubicBezTo>
                      <a:pt x="0" y="3"/>
                      <a:pt x="3" y="36"/>
                      <a:pt x="77" y="36"/>
                    </a:cubicBezTo>
                    <a:cubicBezTo>
                      <a:pt x="932" y="36"/>
                      <a:pt x="932" y="36"/>
                      <a:pt x="932" y="36"/>
                    </a:cubicBezTo>
                    <a:cubicBezTo>
                      <a:pt x="932" y="36"/>
                      <a:pt x="1008" y="36"/>
                      <a:pt x="1009" y="0"/>
                    </a:cubicBezTo>
                    <a:lnTo>
                      <a:pt x="0" y="0"/>
                    </a:lnTo>
                    <a:close/>
                  </a:path>
                </a:pathLst>
              </a:custGeom>
              <a:solidFill>
                <a:srgbClr val="008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76" name="Freeform 308"/>
              <p:cNvSpPr>
                <a:spLocks/>
              </p:cNvSpPr>
              <p:nvPr/>
            </p:nvSpPr>
            <p:spPr bwMode="auto">
              <a:xfrm>
                <a:off x="1635126" y="2032001"/>
                <a:ext cx="755650" cy="19050"/>
              </a:xfrm>
              <a:custGeom>
                <a:avLst/>
                <a:gdLst>
                  <a:gd name="T0" fmla="*/ 63 w 476"/>
                  <a:gd name="T1" fmla="*/ 0 h 12"/>
                  <a:gd name="T2" fmla="*/ 0 w 476"/>
                  <a:gd name="T3" fmla="*/ 12 h 12"/>
                  <a:gd name="T4" fmla="*/ 476 w 476"/>
                  <a:gd name="T5" fmla="*/ 12 h 12"/>
                  <a:gd name="T6" fmla="*/ 412 w 476"/>
                  <a:gd name="T7" fmla="*/ 0 h 12"/>
                  <a:gd name="T8" fmla="*/ 63 w 476"/>
                  <a:gd name="T9" fmla="*/ 0 h 12"/>
                </a:gdLst>
                <a:ahLst/>
                <a:cxnLst>
                  <a:cxn ang="0">
                    <a:pos x="T0" y="T1"/>
                  </a:cxn>
                  <a:cxn ang="0">
                    <a:pos x="T2" y="T3"/>
                  </a:cxn>
                  <a:cxn ang="0">
                    <a:pos x="T4" y="T5"/>
                  </a:cxn>
                  <a:cxn ang="0">
                    <a:pos x="T6" y="T7"/>
                  </a:cxn>
                  <a:cxn ang="0">
                    <a:pos x="T8" y="T9"/>
                  </a:cxn>
                </a:cxnLst>
                <a:rect l="0" t="0" r="r" b="b"/>
                <a:pathLst>
                  <a:path w="476" h="12">
                    <a:moveTo>
                      <a:pt x="63" y="0"/>
                    </a:moveTo>
                    <a:lnTo>
                      <a:pt x="0" y="12"/>
                    </a:lnTo>
                    <a:lnTo>
                      <a:pt x="476" y="12"/>
                    </a:lnTo>
                    <a:lnTo>
                      <a:pt x="412" y="0"/>
                    </a:lnTo>
                    <a:lnTo>
                      <a:pt x="63" y="0"/>
                    </a:lnTo>
                    <a:close/>
                  </a:path>
                </a:pathLst>
              </a:custGeom>
              <a:solidFill>
                <a:srgbClr val="00B1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77" name="Freeform 309"/>
              <p:cNvSpPr>
                <a:spLocks/>
              </p:cNvSpPr>
              <p:nvPr/>
            </p:nvSpPr>
            <p:spPr bwMode="auto">
              <a:xfrm>
                <a:off x="1009651" y="1857376"/>
                <a:ext cx="492125" cy="339725"/>
              </a:xfrm>
              <a:custGeom>
                <a:avLst/>
                <a:gdLst>
                  <a:gd name="T0" fmla="*/ 310 w 310"/>
                  <a:gd name="T1" fmla="*/ 214 h 214"/>
                  <a:gd name="T2" fmla="*/ 310 w 310"/>
                  <a:gd name="T3" fmla="*/ 0 h 214"/>
                  <a:gd name="T4" fmla="*/ 155 w 310"/>
                  <a:gd name="T5" fmla="*/ 0 h 214"/>
                  <a:gd name="T6" fmla="*/ 0 w 310"/>
                  <a:gd name="T7" fmla="*/ 0 h 214"/>
                  <a:gd name="T8" fmla="*/ 0 w 310"/>
                  <a:gd name="T9" fmla="*/ 214 h 214"/>
                  <a:gd name="T10" fmla="*/ 155 w 310"/>
                  <a:gd name="T11" fmla="*/ 214 h 214"/>
                  <a:gd name="T12" fmla="*/ 310 w 310"/>
                  <a:gd name="T13" fmla="*/ 214 h 214"/>
                </a:gdLst>
                <a:ahLst/>
                <a:cxnLst>
                  <a:cxn ang="0">
                    <a:pos x="T0" y="T1"/>
                  </a:cxn>
                  <a:cxn ang="0">
                    <a:pos x="T2" y="T3"/>
                  </a:cxn>
                  <a:cxn ang="0">
                    <a:pos x="T4" y="T5"/>
                  </a:cxn>
                  <a:cxn ang="0">
                    <a:pos x="T6" y="T7"/>
                  </a:cxn>
                  <a:cxn ang="0">
                    <a:pos x="T8" y="T9"/>
                  </a:cxn>
                  <a:cxn ang="0">
                    <a:pos x="T10" y="T11"/>
                  </a:cxn>
                  <a:cxn ang="0">
                    <a:pos x="T12" y="T13"/>
                  </a:cxn>
                </a:cxnLst>
                <a:rect l="0" t="0" r="r" b="b"/>
                <a:pathLst>
                  <a:path w="310" h="214">
                    <a:moveTo>
                      <a:pt x="310" y="214"/>
                    </a:moveTo>
                    <a:lnTo>
                      <a:pt x="310" y="0"/>
                    </a:lnTo>
                    <a:lnTo>
                      <a:pt x="155" y="0"/>
                    </a:lnTo>
                    <a:lnTo>
                      <a:pt x="0" y="0"/>
                    </a:lnTo>
                    <a:lnTo>
                      <a:pt x="0" y="214"/>
                    </a:lnTo>
                    <a:lnTo>
                      <a:pt x="155" y="214"/>
                    </a:lnTo>
                    <a:lnTo>
                      <a:pt x="310" y="214"/>
                    </a:lnTo>
                    <a:close/>
                  </a:path>
                </a:pathLst>
              </a:custGeom>
              <a:solidFill>
                <a:srgbClr val="008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78" name="Rectangle 310"/>
              <p:cNvSpPr>
                <a:spLocks noChangeArrowheads="1"/>
              </p:cNvSpPr>
              <p:nvPr/>
            </p:nvSpPr>
            <p:spPr bwMode="auto">
              <a:xfrm>
                <a:off x="1035051" y="1876426"/>
                <a:ext cx="441325" cy="263525"/>
              </a:xfrm>
              <a:prstGeom prst="rect">
                <a:avLst/>
              </a:prstGeom>
              <a:solidFill>
                <a:srgbClr val="00B1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79" name="Rectangle 311"/>
              <p:cNvSpPr>
                <a:spLocks noChangeArrowheads="1"/>
              </p:cNvSpPr>
              <p:nvPr/>
            </p:nvSpPr>
            <p:spPr bwMode="auto">
              <a:xfrm>
                <a:off x="1824038" y="2205038"/>
                <a:ext cx="206375" cy="2063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80" name="Rectangle 312"/>
              <p:cNvSpPr>
                <a:spLocks noChangeArrowheads="1"/>
              </p:cNvSpPr>
              <p:nvPr/>
            </p:nvSpPr>
            <p:spPr bwMode="auto">
              <a:xfrm>
                <a:off x="1811338" y="2197101"/>
                <a:ext cx="230188" cy="231775"/>
              </a:xfrm>
              <a:prstGeom prst="rect">
                <a:avLst/>
              </a:prstGeom>
              <a:solidFill>
                <a:srgbClr val="00844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81" name="Freeform 313"/>
              <p:cNvSpPr>
                <a:spLocks noEditPoints="1"/>
              </p:cNvSpPr>
              <p:nvPr/>
            </p:nvSpPr>
            <p:spPr bwMode="auto">
              <a:xfrm>
                <a:off x="1808163" y="2193926"/>
                <a:ext cx="236538" cy="238125"/>
              </a:xfrm>
              <a:custGeom>
                <a:avLst/>
                <a:gdLst>
                  <a:gd name="T0" fmla="*/ 149 w 149"/>
                  <a:gd name="T1" fmla="*/ 0 h 150"/>
                  <a:gd name="T2" fmla="*/ 146 w 149"/>
                  <a:gd name="T3" fmla="*/ 0 h 150"/>
                  <a:gd name="T4" fmla="*/ 4 w 149"/>
                  <a:gd name="T5" fmla="*/ 0 h 150"/>
                  <a:gd name="T6" fmla="*/ 0 w 149"/>
                  <a:gd name="T7" fmla="*/ 0 h 150"/>
                  <a:gd name="T8" fmla="*/ 0 w 149"/>
                  <a:gd name="T9" fmla="*/ 4 h 150"/>
                  <a:gd name="T10" fmla="*/ 0 w 149"/>
                  <a:gd name="T11" fmla="*/ 146 h 150"/>
                  <a:gd name="T12" fmla="*/ 0 w 149"/>
                  <a:gd name="T13" fmla="*/ 150 h 150"/>
                  <a:gd name="T14" fmla="*/ 4 w 149"/>
                  <a:gd name="T15" fmla="*/ 150 h 150"/>
                  <a:gd name="T16" fmla="*/ 146 w 149"/>
                  <a:gd name="T17" fmla="*/ 150 h 150"/>
                  <a:gd name="T18" fmla="*/ 149 w 149"/>
                  <a:gd name="T19" fmla="*/ 150 h 150"/>
                  <a:gd name="T20" fmla="*/ 149 w 149"/>
                  <a:gd name="T21" fmla="*/ 146 h 150"/>
                  <a:gd name="T22" fmla="*/ 149 w 149"/>
                  <a:gd name="T23" fmla="*/ 4 h 150"/>
                  <a:gd name="T24" fmla="*/ 149 w 149"/>
                  <a:gd name="T25" fmla="*/ 0 h 150"/>
                  <a:gd name="T26" fmla="*/ 146 w 149"/>
                  <a:gd name="T27" fmla="*/ 146 h 150"/>
                  <a:gd name="T28" fmla="*/ 4 w 149"/>
                  <a:gd name="T29" fmla="*/ 146 h 150"/>
                  <a:gd name="T30" fmla="*/ 4 w 149"/>
                  <a:gd name="T31" fmla="*/ 4 h 150"/>
                  <a:gd name="T32" fmla="*/ 146 w 149"/>
                  <a:gd name="T33" fmla="*/ 4 h 150"/>
                  <a:gd name="T34" fmla="*/ 146 w 149"/>
                  <a:gd name="T35" fmla="*/ 14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0">
                    <a:moveTo>
                      <a:pt x="149" y="0"/>
                    </a:moveTo>
                    <a:lnTo>
                      <a:pt x="146" y="0"/>
                    </a:lnTo>
                    <a:lnTo>
                      <a:pt x="4" y="0"/>
                    </a:lnTo>
                    <a:lnTo>
                      <a:pt x="0" y="0"/>
                    </a:lnTo>
                    <a:lnTo>
                      <a:pt x="0" y="4"/>
                    </a:lnTo>
                    <a:lnTo>
                      <a:pt x="0" y="146"/>
                    </a:lnTo>
                    <a:lnTo>
                      <a:pt x="0" y="150"/>
                    </a:lnTo>
                    <a:lnTo>
                      <a:pt x="4" y="150"/>
                    </a:lnTo>
                    <a:lnTo>
                      <a:pt x="146" y="150"/>
                    </a:lnTo>
                    <a:lnTo>
                      <a:pt x="149" y="150"/>
                    </a:lnTo>
                    <a:lnTo>
                      <a:pt x="149" y="146"/>
                    </a:lnTo>
                    <a:lnTo>
                      <a:pt x="149" y="4"/>
                    </a:lnTo>
                    <a:lnTo>
                      <a:pt x="149" y="0"/>
                    </a:lnTo>
                    <a:close/>
                    <a:moveTo>
                      <a:pt x="146" y="146"/>
                    </a:moveTo>
                    <a:lnTo>
                      <a:pt x="4" y="146"/>
                    </a:lnTo>
                    <a:lnTo>
                      <a:pt x="4" y="4"/>
                    </a:lnTo>
                    <a:lnTo>
                      <a:pt x="146" y="4"/>
                    </a:lnTo>
                    <a:lnTo>
                      <a:pt x="146" y="1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82" name="Freeform 314"/>
              <p:cNvSpPr>
                <a:spLocks/>
              </p:cNvSpPr>
              <p:nvPr/>
            </p:nvSpPr>
            <p:spPr bwMode="auto">
              <a:xfrm>
                <a:off x="950913" y="1727201"/>
                <a:ext cx="290513" cy="258763"/>
              </a:xfrm>
              <a:custGeom>
                <a:avLst/>
                <a:gdLst>
                  <a:gd name="T0" fmla="*/ 351 w 389"/>
                  <a:gd name="T1" fmla="*/ 128 h 346"/>
                  <a:gd name="T2" fmla="*/ 351 w 389"/>
                  <a:gd name="T3" fmla="*/ 128 h 346"/>
                  <a:gd name="T4" fmla="*/ 311 w 389"/>
                  <a:gd name="T5" fmla="*/ 100 h 346"/>
                  <a:gd name="T6" fmla="*/ 253 w 389"/>
                  <a:gd name="T7" fmla="*/ 59 h 346"/>
                  <a:gd name="T8" fmla="*/ 185 w 389"/>
                  <a:gd name="T9" fmla="*/ 11 h 346"/>
                  <a:gd name="T10" fmla="*/ 195 w 389"/>
                  <a:gd name="T11" fmla="*/ 69 h 346"/>
                  <a:gd name="T12" fmla="*/ 284 w 389"/>
                  <a:gd name="T13" fmla="*/ 132 h 346"/>
                  <a:gd name="T14" fmla="*/ 281 w 389"/>
                  <a:gd name="T15" fmla="*/ 188 h 346"/>
                  <a:gd name="T16" fmla="*/ 189 w 389"/>
                  <a:gd name="T17" fmla="*/ 161 h 346"/>
                  <a:gd name="T18" fmla="*/ 107 w 389"/>
                  <a:gd name="T19" fmla="*/ 73 h 346"/>
                  <a:gd name="T20" fmla="*/ 139 w 389"/>
                  <a:gd name="T21" fmla="*/ 54 h 346"/>
                  <a:gd name="T22" fmla="*/ 154 w 389"/>
                  <a:gd name="T23" fmla="*/ 0 h 346"/>
                  <a:gd name="T24" fmla="*/ 56 w 389"/>
                  <a:gd name="T25" fmla="*/ 56 h 346"/>
                  <a:gd name="T26" fmla="*/ 119 w 389"/>
                  <a:gd name="T27" fmla="*/ 158 h 346"/>
                  <a:gd name="T28" fmla="*/ 58 w 389"/>
                  <a:gd name="T29" fmla="*/ 77 h 346"/>
                  <a:gd name="T30" fmla="*/ 25 w 389"/>
                  <a:gd name="T31" fmla="*/ 103 h 346"/>
                  <a:gd name="T32" fmla="*/ 92 w 389"/>
                  <a:gd name="T33" fmla="*/ 181 h 346"/>
                  <a:gd name="T34" fmla="*/ 30 w 389"/>
                  <a:gd name="T35" fmla="*/ 124 h 346"/>
                  <a:gd name="T36" fmla="*/ 0 w 389"/>
                  <a:gd name="T37" fmla="*/ 152 h 346"/>
                  <a:gd name="T38" fmla="*/ 59 w 389"/>
                  <a:gd name="T39" fmla="*/ 203 h 346"/>
                  <a:gd name="T40" fmla="*/ 16 w 389"/>
                  <a:gd name="T41" fmla="*/ 187 h 346"/>
                  <a:gd name="T42" fmla="*/ 13 w 389"/>
                  <a:gd name="T43" fmla="*/ 230 h 346"/>
                  <a:gd name="T44" fmla="*/ 249 w 389"/>
                  <a:gd name="T45" fmla="*/ 328 h 346"/>
                  <a:gd name="T46" fmla="*/ 260 w 389"/>
                  <a:gd name="T47" fmla="*/ 346 h 346"/>
                  <a:gd name="T48" fmla="*/ 389 w 389"/>
                  <a:gd name="T49" fmla="*/ 278 h 346"/>
                  <a:gd name="T50" fmla="*/ 351 w 389"/>
                  <a:gd name="T51" fmla="*/ 128 h 346"/>
                  <a:gd name="T52" fmla="*/ 351 w 389"/>
                  <a:gd name="T53" fmla="*/ 12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9" h="346">
                    <a:moveTo>
                      <a:pt x="351" y="128"/>
                    </a:moveTo>
                    <a:cubicBezTo>
                      <a:pt x="351" y="128"/>
                      <a:pt x="351" y="128"/>
                      <a:pt x="351" y="128"/>
                    </a:cubicBezTo>
                    <a:cubicBezTo>
                      <a:pt x="311" y="100"/>
                      <a:pt x="311" y="100"/>
                      <a:pt x="311" y="100"/>
                    </a:cubicBezTo>
                    <a:cubicBezTo>
                      <a:pt x="253" y="59"/>
                      <a:pt x="253" y="59"/>
                      <a:pt x="253" y="59"/>
                    </a:cubicBezTo>
                    <a:cubicBezTo>
                      <a:pt x="185" y="11"/>
                      <a:pt x="185" y="11"/>
                      <a:pt x="185" y="11"/>
                    </a:cubicBezTo>
                    <a:cubicBezTo>
                      <a:pt x="171" y="29"/>
                      <a:pt x="176" y="55"/>
                      <a:pt x="195" y="69"/>
                    </a:cubicBezTo>
                    <a:cubicBezTo>
                      <a:pt x="284" y="132"/>
                      <a:pt x="284" y="132"/>
                      <a:pt x="284" y="132"/>
                    </a:cubicBezTo>
                    <a:cubicBezTo>
                      <a:pt x="308" y="151"/>
                      <a:pt x="303" y="173"/>
                      <a:pt x="281" y="188"/>
                    </a:cubicBezTo>
                    <a:cubicBezTo>
                      <a:pt x="231" y="218"/>
                      <a:pt x="189" y="161"/>
                      <a:pt x="189" y="161"/>
                    </a:cubicBezTo>
                    <a:cubicBezTo>
                      <a:pt x="107" y="73"/>
                      <a:pt x="107" y="73"/>
                      <a:pt x="107" y="73"/>
                    </a:cubicBezTo>
                    <a:cubicBezTo>
                      <a:pt x="139" y="54"/>
                      <a:pt x="139" y="54"/>
                      <a:pt x="139" y="54"/>
                    </a:cubicBezTo>
                    <a:cubicBezTo>
                      <a:pt x="158" y="43"/>
                      <a:pt x="165" y="19"/>
                      <a:pt x="154" y="0"/>
                    </a:cubicBezTo>
                    <a:cubicBezTo>
                      <a:pt x="56" y="56"/>
                      <a:pt x="56" y="56"/>
                      <a:pt x="56" y="56"/>
                    </a:cubicBezTo>
                    <a:cubicBezTo>
                      <a:pt x="119" y="158"/>
                      <a:pt x="119" y="158"/>
                      <a:pt x="119" y="158"/>
                    </a:cubicBezTo>
                    <a:cubicBezTo>
                      <a:pt x="58" y="77"/>
                      <a:pt x="58" y="77"/>
                      <a:pt x="58" y="77"/>
                    </a:cubicBezTo>
                    <a:cubicBezTo>
                      <a:pt x="25" y="103"/>
                      <a:pt x="25" y="103"/>
                      <a:pt x="25" y="103"/>
                    </a:cubicBezTo>
                    <a:cubicBezTo>
                      <a:pt x="92" y="181"/>
                      <a:pt x="92" y="181"/>
                      <a:pt x="92" y="181"/>
                    </a:cubicBezTo>
                    <a:cubicBezTo>
                      <a:pt x="30" y="124"/>
                      <a:pt x="30" y="124"/>
                      <a:pt x="30" y="124"/>
                    </a:cubicBezTo>
                    <a:cubicBezTo>
                      <a:pt x="0" y="152"/>
                      <a:pt x="0" y="152"/>
                      <a:pt x="0" y="152"/>
                    </a:cubicBezTo>
                    <a:cubicBezTo>
                      <a:pt x="59" y="203"/>
                      <a:pt x="59" y="203"/>
                      <a:pt x="59" y="203"/>
                    </a:cubicBezTo>
                    <a:cubicBezTo>
                      <a:pt x="16" y="187"/>
                      <a:pt x="16" y="187"/>
                      <a:pt x="16" y="187"/>
                    </a:cubicBezTo>
                    <a:cubicBezTo>
                      <a:pt x="13" y="230"/>
                      <a:pt x="13" y="230"/>
                      <a:pt x="13" y="230"/>
                    </a:cubicBezTo>
                    <a:cubicBezTo>
                      <a:pt x="249" y="328"/>
                      <a:pt x="249" y="328"/>
                      <a:pt x="249" y="328"/>
                    </a:cubicBezTo>
                    <a:cubicBezTo>
                      <a:pt x="260" y="346"/>
                      <a:pt x="260" y="346"/>
                      <a:pt x="260" y="346"/>
                    </a:cubicBezTo>
                    <a:cubicBezTo>
                      <a:pt x="389" y="278"/>
                      <a:pt x="389" y="278"/>
                      <a:pt x="389" y="278"/>
                    </a:cubicBezTo>
                    <a:cubicBezTo>
                      <a:pt x="351" y="128"/>
                      <a:pt x="351" y="128"/>
                      <a:pt x="351" y="128"/>
                    </a:cubicBezTo>
                    <a:cubicBezTo>
                      <a:pt x="351" y="128"/>
                      <a:pt x="351" y="128"/>
                      <a:pt x="351" y="128"/>
                    </a:cubicBezTo>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83" name="Freeform 315"/>
              <p:cNvSpPr>
                <a:spLocks/>
              </p:cNvSpPr>
              <p:nvPr/>
            </p:nvSpPr>
            <p:spPr bwMode="auto">
              <a:xfrm>
                <a:off x="1128713" y="1957388"/>
                <a:ext cx="142875" cy="182563"/>
              </a:xfrm>
              <a:custGeom>
                <a:avLst/>
                <a:gdLst>
                  <a:gd name="T0" fmla="*/ 0 w 90"/>
                  <a:gd name="T1" fmla="*/ 115 h 115"/>
                  <a:gd name="T2" fmla="*/ 90 w 90"/>
                  <a:gd name="T3" fmla="*/ 115 h 115"/>
                  <a:gd name="T4" fmla="*/ 90 w 90"/>
                  <a:gd name="T5" fmla="*/ 0 h 115"/>
                  <a:gd name="T6" fmla="*/ 13 w 90"/>
                  <a:gd name="T7" fmla="*/ 40 h 115"/>
                  <a:gd name="T8" fmla="*/ 0 w 90"/>
                  <a:gd name="T9" fmla="*/ 115 h 115"/>
                </a:gdLst>
                <a:ahLst/>
                <a:cxnLst>
                  <a:cxn ang="0">
                    <a:pos x="T0" y="T1"/>
                  </a:cxn>
                  <a:cxn ang="0">
                    <a:pos x="T2" y="T3"/>
                  </a:cxn>
                  <a:cxn ang="0">
                    <a:pos x="T4" y="T5"/>
                  </a:cxn>
                  <a:cxn ang="0">
                    <a:pos x="T6" y="T7"/>
                  </a:cxn>
                  <a:cxn ang="0">
                    <a:pos x="T8" y="T9"/>
                  </a:cxn>
                </a:cxnLst>
                <a:rect l="0" t="0" r="r" b="b"/>
                <a:pathLst>
                  <a:path w="90" h="115">
                    <a:moveTo>
                      <a:pt x="0" y="115"/>
                    </a:moveTo>
                    <a:lnTo>
                      <a:pt x="90" y="115"/>
                    </a:lnTo>
                    <a:lnTo>
                      <a:pt x="90" y="0"/>
                    </a:lnTo>
                    <a:lnTo>
                      <a:pt x="13" y="40"/>
                    </a:lnTo>
                    <a:lnTo>
                      <a:pt x="0" y="115"/>
                    </a:lnTo>
                    <a:close/>
                  </a:path>
                </a:pathLst>
              </a:custGeom>
              <a:solidFill>
                <a:srgbClr val="AB2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84" name="Freeform 316"/>
              <p:cNvSpPr>
                <a:spLocks/>
              </p:cNvSpPr>
              <p:nvPr/>
            </p:nvSpPr>
            <p:spPr bwMode="auto">
              <a:xfrm>
                <a:off x="1138238" y="1928813"/>
                <a:ext cx="131763" cy="90488"/>
              </a:xfrm>
              <a:custGeom>
                <a:avLst/>
                <a:gdLst>
                  <a:gd name="T0" fmla="*/ 0 w 83"/>
                  <a:gd name="T1" fmla="*/ 38 h 57"/>
                  <a:gd name="T2" fmla="*/ 10 w 83"/>
                  <a:gd name="T3" fmla="*/ 57 h 57"/>
                  <a:gd name="T4" fmla="*/ 83 w 83"/>
                  <a:gd name="T5" fmla="*/ 19 h 57"/>
                  <a:gd name="T6" fmla="*/ 73 w 83"/>
                  <a:gd name="T7" fmla="*/ 0 h 57"/>
                  <a:gd name="T8" fmla="*/ 0 w 83"/>
                  <a:gd name="T9" fmla="*/ 38 h 57"/>
                </a:gdLst>
                <a:ahLst/>
                <a:cxnLst>
                  <a:cxn ang="0">
                    <a:pos x="T0" y="T1"/>
                  </a:cxn>
                  <a:cxn ang="0">
                    <a:pos x="T2" y="T3"/>
                  </a:cxn>
                  <a:cxn ang="0">
                    <a:pos x="T4" y="T5"/>
                  </a:cxn>
                  <a:cxn ang="0">
                    <a:pos x="T6" y="T7"/>
                  </a:cxn>
                  <a:cxn ang="0">
                    <a:pos x="T8" y="T9"/>
                  </a:cxn>
                </a:cxnLst>
                <a:rect l="0" t="0" r="r" b="b"/>
                <a:pathLst>
                  <a:path w="83" h="57">
                    <a:moveTo>
                      <a:pt x="0" y="38"/>
                    </a:moveTo>
                    <a:lnTo>
                      <a:pt x="10" y="57"/>
                    </a:lnTo>
                    <a:lnTo>
                      <a:pt x="83" y="19"/>
                    </a:lnTo>
                    <a:lnTo>
                      <a:pt x="73" y="0"/>
                    </a:lnTo>
                    <a:lnTo>
                      <a:pt x="0"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85" name="Freeform 317"/>
              <p:cNvSpPr>
                <a:spLocks/>
              </p:cNvSpPr>
              <p:nvPr/>
            </p:nvSpPr>
            <p:spPr bwMode="auto">
              <a:xfrm>
                <a:off x="1739901" y="968376"/>
                <a:ext cx="258763" cy="292100"/>
              </a:xfrm>
              <a:custGeom>
                <a:avLst/>
                <a:gdLst>
                  <a:gd name="T0" fmla="*/ 290 w 346"/>
                  <a:gd name="T1" fmla="*/ 57 h 390"/>
                  <a:gd name="T2" fmla="*/ 188 w 346"/>
                  <a:gd name="T3" fmla="*/ 119 h 390"/>
                  <a:gd name="T4" fmla="*/ 269 w 346"/>
                  <a:gd name="T5" fmla="*/ 59 h 390"/>
                  <a:gd name="T6" fmla="*/ 243 w 346"/>
                  <a:gd name="T7" fmla="*/ 26 h 390"/>
                  <a:gd name="T8" fmla="*/ 165 w 346"/>
                  <a:gd name="T9" fmla="*/ 93 h 390"/>
                  <a:gd name="T10" fmla="*/ 222 w 346"/>
                  <a:gd name="T11" fmla="*/ 30 h 390"/>
                  <a:gd name="T12" fmla="*/ 194 w 346"/>
                  <a:gd name="T13" fmla="*/ 0 h 390"/>
                  <a:gd name="T14" fmla="*/ 194 w 346"/>
                  <a:gd name="T15" fmla="*/ 0 h 390"/>
                  <a:gd name="T16" fmla="*/ 143 w 346"/>
                  <a:gd name="T17" fmla="*/ 59 h 390"/>
                  <a:gd name="T18" fmla="*/ 159 w 346"/>
                  <a:gd name="T19" fmla="*/ 16 h 390"/>
                  <a:gd name="T20" fmla="*/ 115 w 346"/>
                  <a:gd name="T21" fmla="*/ 13 h 390"/>
                  <a:gd name="T22" fmla="*/ 18 w 346"/>
                  <a:gd name="T23" fmla="*/ 250 h 390"/>
                  <a:gd name="T24" fmla="*/ 0 w 346"/>
                  <a:gd name="T25" fmla="*/ 261 h 390"/>
                  <a:gd name="T26" fmla="*/ 67 w 346"/>
                  <a:gd name="T27" fmla="*/ 390 h 390"/>
                  <a:gd name="T28" fmla="*/ 218 w 346"/>
                  <a:gd name="T29" fmla="*/ 352 h 390"/>
                  <a:gd name="T30" fmla="*/ 218 w 346"/>
                  <a:gd name="T31" fmla="*/ 352 h 390"/>
                  <a:gd name="T32" fmla="*/ 218 w 346"/>
                  <a:gd name="T33" fmla="*/ 352 h 390"/>
                  <a:gd name="T34" fmla="*/ 246 w 346"/>
                  <a:gd name="T35" fmla="*/ 312 h 390"/>
                  <a:gd name="T36" fmla="*/ 287 w 346"/>
                  <a:gd name="T37" fmla="*/ 253 h 390"/>
                  <a:gd name="T38" fmla="*/ 335 w 346"/>
                  <a:gd name="T39" fmla="*/ 185 h 390"/>
                  <a:gd name="T40" fmla="*/ 277 w 346"/>
                  <a:gd name="T41" fmla="*/ 195 h 390"/>
                  <a:gd name="T42" fmla="*/ 214 w 346"/>
                  <a:gd name="T43" fmla="*/ 285 h 390"/>
                  <a:gd name="T44" fmla="*/ 158 w 346"/>
                  <a:gd name="T45" fmla="*/ 281 h 390"/>
                  <a:gd name="T46" fmla="*/ 185 w 346"/>
                  <a:gd name="T47" fmla="*/ 189 h 390"/>
                  <a:gd name="T48" fmla="*/ 273 w 346"/>
                  <a:gd name="T49" fmla="*/ 108 h 390"/>
                  <a:gd name="T50" fmla="*/ 292 w 346"/>
                  <a:gd name="T51" fmla="*/ 140 h 390"/>
                  <a:gd name="T52" fmla="*/ 346 w 346"/>
                  <a:gd name="T53" fmla="*/ 155 h 390"/>
                  <a:gd name="T54" fmla="*/ 290 w 346"/>
                  <a:gd name="T55" fmla="*/ 57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6" h="390">
                    <a:moveTo>
                      <a:pt x="290" y="57"/>
                    </a:moveTo>
                    <a:cubicBezTo>
                      <a:pt x="188" y="119"/>
                      <a:pt x="188" y="119"/>
                      <a:pt x="188" y="119"/>
                    </a:cubicBezTo>
                    <a:cubicBezTo>
                      <a:pt x="269" y="59"/>
                      <a:pt x="269" y="59"/>
                      <a:pt x="269" y="59"/>
                    </a:cubicBezTo>
                    <a:cubicBezTo>
                      <a:pt x="243" y="26"/>
                      <a:pt x="243" y="26"/>
                      <a:pt x="243" y="26"/>
                    </a:cubicBezTo>
                    <a:cubicBezTo>
                      <a:pt x="165" y="93"/>
                      <a:pt x="165" y="93"/>
                      <a:pt x="165" y="93"/>
                    </a:cubicBezTo>
                    <a:cubicBezTo>
                      <a:pt x="222" y="30"/>
                      <a:pt x="222" y="30"/>
                      <a:pt x="222" y="30"/>
                    </a:cubicBezTo>
                    <a:cubicBezTo>
                      <a:pt x="194" y="0"/>
                      <a:pt x="194" y="0"/>
                      <a:pt x="194" y="0"/>
                    </a:cubicBezTo>
                    <a:cubicBezTo>
                      <a:pt x="194" y="0"/>
                      <a:pt x="194" y="0"/>
                      <a:pt x="194" y="0"/>
                    </a:cubicBezTo>
                    <a:cubicBezTo>
                      <a:pt x="143" y="59"/>
                      <a:pt x="143" y="59"/>
                      <a:pt x="143" y="59"/>
                    </a:cubicBezTo>
                    <a:cubicBezTo>
                      <a:pt x="159" y="16"/>
                      <a:pt x="159" y="16"/>
                      <a:pt x="159" y="16"/>
                    </a:cubicBezTo>
                    <a:cubicBezTo>
                      <a:pt x="115" y="13"/>
                      <a:pt x="115" y="13"/>
                      <a:pt x="115" y="13"/>
                    </a:cubicBezTo>
                    <a:cubicBezTo>
                      <a:pt x="18" y="250"/>
                      <a:pt x="18" y="250"/>
                      <a:pt x="18" y="250"/>
                    </a:cubicBezTo>
                    <a:cubicBezTo>
                      <a:pt x="0" y="261"/>
                      <a:pt x="0" y="261"/>
                      <a:pt x="0" y="261"/>
                    </a:cubicBezTo>
                    <a:cubicBezTo>
                      <a:pt x="67" y="390"/>
                      <a:pt x="67" y="390"/>
                      <a:pt x="67" y="390"/>
                    </a:cubicBezTo>
                    <a:cubicBezTo>
                      <a:pt x="218" y="352"/>
                      <a:pt x="218" y="352"/>
                      <a:pt x="218" y="352"/>
                    </a:cubicBezTo>
                    <a:cubicBezTo>
                      <a:pt x="218" y="352"/>
                      <a:pt x="218" y="352"/>
                      <a:pt x="218" y="352"/>
                    </a:cubicBezTo>
                    <a:cubicBezTo>
                      <a:pt x="218" y="352"/>
                      <a:pt x="218" y="352"/>
                      <a:pt x="218" y="352"/>
                    </a:cubicBezTo>
                    <a:cubicBezTo>
                      <a:pt x="246" y="312"/>
                      <a:pt x="246" y="312"/>
                      <a:pt x="246" y="312"/>
                    </a:cubicBezTo>
                    <a:cubicBezTo>
                      <a:pt x="287" y="253"/>
                      <a:pt x="287" y="253"/>
                      <a:pt x="287" y="253"/>
                    </a:cubicBezTo>
                    <a:cubicBezTo>
                      <a:pt x="335" y="185"/>
                      <a:pt x="335" y="185"/>
                      <a:pt x="335" y="185"/>
                    </a:cubicBezTo>
                    <a:cubicBezTo>
                      <a:pt x="317" y="172"/>
                      <a:pt x="290" y="176"/>
                      <a:pt x="277" y="195"/>
                    </a:cubicBezTo>
                    <a:cubicBezTo>
                      <a:pt x="214" y="285"/>
                      <a:pt x="214" y="285"/>
                      <a:pt x="214" y="285"/>
                    </a:cubicBezTo>
                    <a:cubicBezTo>
                      <a:pt x="195" y="308"/>
                      <a:pt x="173" y="304"/>
                      <a:pt x="158" y="281"/>
                    </a:cubicBezTo>
                    <a:cubicBezTo>
                      <a:pt x="128" y="232"/>
                      <a:pt x="185" y="189"/>
                      <a:pt x="185" y="189"/>
                    </a:cubicBezTo>
                    <a:cubicBezTo>
                      <a:pt x="273" y="108"/>
                      <a:pt x="273" y="108"/>
                      <a:pt x="273" y="108"/>
                    </a:cubicBezTo>
                    <a:cubicBezTo>
                      <a:pt x="292" y="140"/>
                      <a:pt x="292" y="140"/>
                      <a:pt x="292" y="140"/>
                    </a:cubicBezTo>
                    <a:cubicBezTo>
                      <a:pt x="303" y="159"/>
                      <a:pt x="327" y="166"/>
                      <a:pt x="346" y="155"/>
                    </a:cubicBezTo>
                    <a:lnTo>
                      <a:pt x="290" y="57"/>
                    </a:lnTo>
                    <a:close/>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86" name="Freeform 318"/>
              <p:cNvSpPr>
                <a:spLocks/>
              </p:cNvSpPr>
              <p:nvPr/>
            </p:nvSpPr>
            <p:spPr bwMode="auto">
              <a:xfrm>
                <a:off x="1055688" y="1047751"/>
                <a:ext cx="711200" cy="242888"/>
              </a:xfrm>
              <a:custGeom>
                <a:avLst/>
                <a:gdLst>
                  <a:gd name="T0" fmla="*/ 0 w 448"/>
                  <a:gd name="T1" fmla="*/ 0 h 153"/>
                  <a:gd name="T2" fmla="*/ 0 w 448"/>
                  <a:gd name="T3" fmla="*/ 153 h 153"/>
                  <a:gd name="T4" fmla="*/ 448 w 448"/>
                  <a:gd name="T5" fmla="*/ 153 h 153"/>
                  <a:gd name="T6" fmla="*/ 409 w 448"/>
                  <a:gd name="T7" fmla="*/ 76 h 153"/>
                  <a:gd name="T8" fmla="*/ 0 w 448"/>
                  <a:gd name="T9" fmla="*/ 0 h 153"/>
                </a:gdLst>
                <a:ahLst/>
                <a:cxnLst>
                  <a:cxn ang="0">
                    <a:pos x="T0" y="T1"/>
                  </a:cxn>
                  <a:cxn ang="0">
                    <a:pos x="T2" y="T3"/>
                  </a:cxn>
                  <a:cxn ang="0">
                    <a:pos x="T4" y="T5"/>
                  </a:cxn>
                  <a:cxn ang="0">
                    <a:pos x="T6" y="T7"/>
                  </a:cxn>
                  <a:cxn ang="0">
                    <a:pos x="T8" y="T9"/>
                  </a:cxn>
                </a:cxnLst>
                <a:rect l="0" t="0" r="r" b="b"/>
                <a:pathLst>
                  <a:path w="448" h="153">
                    <a:moveTo>
                      <a:pt x="0" y="0"/>
                    </a:moveTo>
                    <a:lnTo>
                      <a:pt x="0" y="153"/>
                    </a:lnTo>
                    <a:lnTo>
                      <a:pt x="448" y="153"/>
                    </a:lnTo>
                    <a:lnTo>
                      <a:pt x="409" y="76"/>
                    </a:lnTo>
                    <a:lnTo>
                      <a:pt x="0" y="0"/>
                    </a:lnTo>
                    <a:close/>
                  </a:path>
                </a:pathLst>
              </a:custGeom>
              <a:solidFill>
                <a:srgbClr val="AB2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87" name="Freeform 319"/>
              <p:cNvSpPr>
                <a:spLocks/>
              </p:cNvSpPr>
              <p:nvPr/>
            </p:nvSpPr>
            <p:spPr bwMode="auto">
              <a:xfrm>
                <a:off x="1706563" y="1157288"/>
                <a:ext cx="88900" cy="131763"/>
              </a:xfrm>
              <a:custGeom>
                <a:avLst/>
                <a:gdLst>
                  <a:gd name="T0" fmla="*/ 19 w 56"/>
                  <a:gd name="T1" fmla="*/ 0 h 83"/>
                  <a:gd name="T2" fmla="*/ 0 w 56"/>
                  <a:gd name="T3" fmla="*/ 10 h 83"/>
                  <a:gd name="T4" fmla="*/ 38 w 56"/>
                  <a:gd name="T5" fmla="*/ 83 h 83"/>
                  <a:gd name="T6" fmla="*/ 56 w 56"/>
                  <a:gd name="T7" fmla="*/ 73 h 83"/>
                  <a:gd name="T8" fmla="*/ 19 w 56"/>
                  <a:gd name="T9" fmla="*/ 0 h 83"/>
                </a:gdLst>
                <a:ahLst/>
                <a:cxnLst>
                  <a:cxn ang="0">
                    <a:pos x="T0" y="T1"/>
                  </a:cxn>
                  <a:cxn ang="0">
                    <a:pos x="T2" y="T3"/>
                  </a:cxn>
                  <a:cxn ang="0">
                    <a:pos x="T4" y="T5"/>
                  </a:cxn>
                  <a:cxn ang="0">
                    <a:pos x="T6" y="T7"/>
                  </a:cxn>
                  <a:cxn ang="0">
                    <a:pos x="T8" y="T9"/>
                  </a:cxn>
                </a:cxnLst>
                <a:rect l="0" t="0" r="r" b="b"/>
                <a:pathLst>
                  <a:path w="56" h="83">
                    <a:moveTo>
                      <a:pt x="19" y="0"/>
                    </a:moveTo>
                    <a:lnTo>
                      <a:pt x="0" y="10"/>
                    </a:lnTo>
                    <a:lnTo>
                      <a:pt x="38" y="83"/>
                    </a:lnTo>
                    <a:lnTo>
                      <a:pt x="56" y="73"/>
                    </a:ln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88" name="Freeform 320"/>
              <p:cNvSpPr>
                <a:spLocks/>
              </p:cNvSpPr>
              <p:nvPr/>
            </p:nvSpPr>
            <p:spPr bwMode="auto">
              <a:xfrm>
                <a:off x="1689101" y="1987551"/>
                <a:ext cx="290513" cy="258763"/>
              </a:xfrm>
              <a:custGeom>
                <a:avLst/>
                <a:gdLst>
                  <a:gd name="T0" fmla="*/ 260 w 389"/>
                  <a:gd name="T1" fmla="*/ 0 h 346"/>
                  <a:gd name="T2" fmla="*/ 250 w 389"/>
                  <a:gd name="T3" fmla="*/ 18 h 346"/>
                  <a:gd name="T4" fmla="*/ 13 w 389"/>
                  <a:gd name="T5" fmla="*/ 115 h 346"/>
                  <a:gd name="T6" fmla="*/ 16 w 389"/>
                  <a:gd name="T7" fmla="*/ 158 h 346"/>
                  <a:gd name="T8" fmla="*/ 59 w 389"/>
                  <a:gd name="T9" fmla="*/ 143 h 346"/>
                  <a:gd name="T10" fmla="*/ 0 w 389"/>
                  <a:gd name="T11" fmla="*/ 194 h 346"/>
                  <a:gd name="T12" fmla="*/ 0 w 389"/>
                  <a:gd name="T13" fmla="*/ 194 h 346"/>
                  <a:gd name="T14" fmla="*/ 30 w 389"/>
                  <a:gd name="T15" fmla="*/ 221 h 346"/>
                  <a:gd name="T16" fmla="*/ 93 w 389"/>
                  <a:gd name="T17" fmla="*/ 165 h 346"/>
                  <a:gd name="T18" fmla="*/ 25 w 389"/>
                  <a:gd name="T19" fmla="*/ 242 h 346"/>
                  <a:gd name="T20" fmla="*/ 58 w 389"/>
                  <a:gd name="T21" fmla="*/ 268 h 346"/>
                  <a:gd name="T22" fmla="*/ 119 w 389"/>
                  <a:gd name="T23" fmla="*/ 188 h 346"/>
                  <a:gd name="T24" fmla="*/ 57 w 389"/>
                  <a:gd name="T25" fmla="*/ 289 h 346"/>
                  <a:gd name="T26" fmla="*/ 154 w 389"/>
                  <a:gd name="T27" fmla="*/ 346 h 346"/>
                  <a:gd name="T28" fmla="*/ 139 w 389"/>
                  <a:gd name="T29" fmla="*/ 291 h 346"/>
                  <a:gd name="T30" fmla="*/ 107 w 389"/>
                  <a:gd name="T31" fmla="*/ 273 h 346"/>
                  <a:gd name="T32" fmla="*/ 189 w 389"/>
                  <a:gd name="T33" fmla="*/ 185 h 346"/>
                  <a:gd name="T34" fmla="*/ 281 w 389"/>
                  <a:gd name="T35" fmla="*/ 158 h 346"/>
                  <a:gd name="T36" fmla="*/ 284 w 389"/>
                  <a:gd name="T37" fmla="*/ 213 h 346"/>
                  <a:gd name="T38" fmla="*/ 195 w 389"/>
                  <a:gd name="T39" fmla="*/ 277 h 346"/>
                  <a:gd name="T40" fmla="*/ 185 w 389"/>
                  <a:gd name="T41" fmla="*/ 335 h 346"/>
                  <a:gd name="T42" fmla="*/ 253 w 389"/>
                  <a:gd name="T43" fmla="*/ 287 h 346"/>
                  <a:gd name="T44" fmla="*/ 311 w 389"/>
                  <a:gd name="T45" fmla="*/ 245 h 346"/>
                  <a:gd name="T46" fmla="*/ 351 w 389"/>
                  <a:gd name="T47" fmla="*/ 217 h 346"/>
                  <a:gd name="T48" fmla="*/ 351 w 389"/>
                  <a:gd name="T49" fmla="*/ 217 h 346"/>
                  <a:gd name="T50" fmla="*/ 351 w 389"/>
                  <a:gd name="T51" fmla="*/ 217 h 346"/>
                  <a:gd name="T52" fmla="*/ 389 w 389"/>
                  <a:gd name="T53" fmla="*/ 67 h 346"/>
                  <a:gd name="T54" fmla="*/ 260 w 389"/>
                  <a:gd name="T55"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89" h="346">
                    <a:moveTo>
                      <a:pt x="260" y="0"/>
                    </a:moveTo>
                    <a:cubicBezTo>
                      <a:pt x="250" y="18"/>
                      <a:pt x="250" y="18"/>
                      <a:pt x="250" y="18"/>
                    </a:cubicBezTo>
                    <a:cubicBezTo>
                      <a:pt x="13" y="115"/>
                      <a:pt x="13" y="115"/>
                      <a:pt x="13" y="115"/>
                    </a:cubicBezTo>
                    <a:cubicBezTo>
                      <a:pt x="16" y="158"/>
                      <a:pt x="16" y="158"/>
                      <a:pt x="16" y="158"/>
                    </a:cubicBezTo>
                    <a:cubicBezTo>
                      <a:pt x="59" y="143"/>
                      <a:pt x="59" y="143"/>
                      <a:pt x="59" y="143"/>
                    </a:cubicBezTo>
                    <a:cubicBezTo>
                      <a:pt x="0" y="194"/>
                      <a:pt x="0" y="194"/>
                      <a:pt x="0" y="194"/>
                    </a:cubicBezTo>
                    <a:cubicBezTo>
                      <a:pt x="0" y="194"/>
                      <a:pt x="0" y="194"/>
                      <a:pt x="0" y="194"/>
                    </a:cubicBezTo>
                    <a:cubicBezTo>
                      <a:pt x="30" y="221"/>
                      <a:pt x="30" y="221"/>
                      <a:pt x="30" y="221"/>
                    </a:cubicBezTo>
                    <a:cubicBezTo>
                      <a:pt x="93" y="165"/>
                      <a:pt x="93" y="165"/>
                      <a:pt x="93" y="165"/>
                    </a:cubicBezTo>
                    <a:cubicBezTo>
                      <a:pt x="25" y="242"/>
                      <a:pt x="25" y="242"/>
                      <a:pt x="25" y="242"/>
                    </a:cubicBezTo>
                    <a:cubicBezTo>
                      <a:pt x="58" y="268"/>
                      <a:pt x="58" y="268"/>
                      <a:pt x="58" y="268"/>
                    </a:cubicBezTo>
                    <a:cubicBezTo>
                      <a:pt x="119" y="188"/>
                      <a:pt x="119" y="188"/>
                      <a:pt x="119" y="188"/>
                    </a:cubicBezTo>
                    <a:cubicBezTo>
                      <a:pt x="57" y="289"/>
                      <a:pt x="57" y="289"/>
                      <a:pt x="57" y="289"/>
                    </a:cubicBezTo>
                    <a:cubicBezTo>
                      <a:pt x="154" y="346"/>
                      <a:pt x="154" y="346"/>
                      <a:pt x="154" y="346"/>
                    </a:cubicBezTo>
                    <a:cubicBezTo>
                      <a:pt x="165" y="327"/>
                      <a:pt x="158" y="302"/>
                      <a:pt x="139" y="291"/>
                    </a:cubicBezTo>
                    <a:cubicBezTo>
                      <a:pt x="107" y="273"/>
                      <a:pt x="107" y="273"/>
                      <a:pt x="107" y="273"/>
                    </a:cubicBezTo>
                    <a:cubicBezTo>
                      <a:pt x="189" y="185"/>
                      <a:pt x="189" y="185"/>
                      <a:pt x="189" y="185"/>
                    </a:cubicBezTo>
                    <a:cubicBezTo>
                      <a:pt x="189" y="185"/>
                      <a:pt x="231" y="127"/>
                      <a:pt x="281" y="158"/>
                    </a:cubicBezTo>
                    <a:cubicBezTo>
                      <a:pt x="303" y="172"/>
                      <a:pt x="308" y="195"/>
                      <a:pt x="284" y="213"/>
                    </a:cubicBezTo>
                    <a:cubicBezTo>
                      <a:pt x="195" y="277"/>
                      <a:pt x="195" y="277"/>
                      <a:pt x="195" y="277"/>
                    </a:cubicBezTo>
                    <a:cubicBezTo>
                      <a:pt x="176" y="290"/>
                      <a:pt x="171" y="316"/>
                      <a:pt x="185" y="335"/>
                    </a:cubicBezTo>
                    <a:cubicBezTo>
                      <a:pt x="253" y="287"/>
                      <a:pt x="253" y="287"/>
                      <a:pt x="253" y="287"/>
                    </a:cubicBezTo>
                    <a:cubicBezTo>
                      <a:pt x="311" y="245"/>
                      <a:pt x="311" y="245"/>
                      <a:pt x="311" y="245"/>
                    </a:cubicBezTo>
                    <a:cubicBezTo>
                      <a:pt x="351" y="217"/>
                      <a:pt x="351" y="217"/>
                      <a:pt x="351" y="217"/>
                    </a:cubicBezTo>
                    <a:cubicBezTo>
                      <a:pt x="351" y="217"/>
                      <a:pt x="351" y="217"/>
                      <a:pt x="351" y="217"/>
                    </a:cubicBezTo>
                    <a:cubicBezTo>
                      <a:pt x="351" y="217"/>
                      <a:pt x="351" y="217"/>
                      <a:pt x="351" y="217"/>
                    </a:cubicBezTo>
                    <a:cubicBezTo>
                      <a:pt x="389" y="67"/>
                      <a:pt x="389" y="67"/>
                      <a:pt x="389" y="67"/>
                    </a:cubicBezTo>
                    <a:lnTo>
                      <a:pt x="260" y="0"/>
                    </a:lnTo>
                    <a:close/>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89" name="Freeform 321"/>
              <p:cNvSpPr>
                <a:spLocks/>
              </p:cNvSpPr>
              <p:nvPr/>
            </p:nvSpPr>
            <p:spPr bwMode="auto">
              <a:xfrm>
                <a:off x="1835151" y="1657352"/>
                <a:ext cx="176213" cy="358774"/>
              </a:xfrm>
              <a:custGeom>
                <a:avLst/>
                <a:gdLst>
                  <a:gd name="T0" fmla="*/ 0 w 111"/>
                  <a:gd name="T1" fmla="*/ 0 h 226"/>
                  <a:gd name="T2" fmla="*/ 34 w 111"/>
                  <a:gd name="T3" fmla="*/ 186 h 226"/>
                  <a:gd name="T4" fmla="*/ 111 w 111"/>
                  <a:gd name="T5" fmla="*/ 226 h 226"/>
                  <a:gd name="T6" fmla="*/ 111 w 111"/>
                  <a:gd name="T7" fmla="*/ 0 h 226"/>
                  <a:gd name="T8" fmla="*/ 0 w 111"/>
                  <a:gd name="T9" fmla="*/ 0 h 226"/>
                </a:gdLst>
                <a:ahLst/>
                <a:cxnLst>
                  <a:cxn ang="0">
                    <a:pos x="T0" y="T1"/>
                  </a:cxn>
                  <a:cxn ang="0">
                    <a:pos x="T2" y="T3"/>
                  </a:cxn>
                  <a:cxn ang="0">
                    <a:pos x="T4" y="T5"/>
                  </a:cxn>
                  <a:cxn ang="0">
                    <a:pos x="T6" y="T7"/>
                  </a:cxn>
                  <a:cxn ang="0">
                    <a:pos x="T8" y="T9"/>
                  </a:cxn>
                </a:cxnLst>
                <a:rect l="0" t="0" r="r" b="b"/>
                <a:pathLst>
                  <a:path w="111" h="226">
                    <a:moveTo>
                      <a:pt x="0" y="0"/>
                    </a:moveTo>
                    <a:lnTo>
                      <a:pt x="34" y="186"/>
                    </a:lnTo>
                    <a:lnTo>
                      <a:pt x="111" y="226"/>
                    </a:lnTo>
                    <a:lnTo>
                      <a:pt x="111" y="0"/>
                    </a:lnTo>
                    <a:lnTo>
                      <a:pt x="0" y="0"/>
                    </a:lnTo>
                    <a:close/>
                  </a:path>
                </a:pathLst>
              </a:custGeom>
              <a:solidFill>
                <a:srgbClr val="AB2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90" name="Freeform 322"/>
              <p:cNvSpPr>
                <a:spLocks/>
              </p:cNvSpPr>
              <p:nvPr/>
            </p:nvSpPr>
            <p:spPr bwMode="auto">
              <a:xfrm>
                <a:off x="1878013" y="1954213"/>
                <a:ext cx="130175" cy="90488"/>
              </a:xfrm>
              <a:custGeom>
                <a:avLst/>
                <a:gdLst>
                  <a:gd name="T0" fmla="*/ 0 w 82"/>
                  <a:gd name="T1" fmla="*/ 19 h 57"/>
                  <a:gd name="T2" fmla="*/ 10 w 82"/>
                  <a:gd name="T3" fmla="*/ 0 h 57"/>
                  <a:gd name="T4" fmla="*/ 82 w 82"/>
                  <a:gd name="T5" fmla="*/ 38 h 57"/>
                  <a:gd name="T6" fmla="*/ 72 w 82"/>
                  <a:gd name="T7" fmla="*/ 57 h 57"/>
                  <a:gd name="T8" fmla="*/ 0 w 82"/>
                  <a:gd name="T9" fmla="*/ 19 h 57"/>
                </a:gdLst>
                <a:ahLst/>
                <a:cxnLst>
                  <a:cxn ang="0">
                    <a:pos x="T0" y="T1"/>
                  </a:cxn>
                  <a:cxn ang="0">
                    <a:pos x="T2" y="T3"/>
                  </a:cxn>
                  <a:cxn ang="0">
                    <a:pos x="T4" y="T5"/>
                  </a:cxn>
                  <a:cxn ang="0">
                    <a:pos x="T6" y="T7"/>
                  </a:cxn>
                  <a:cxn ang="0">
                    <a:pos x="T8" y="T9"/>
                  </a:cxn>
                </a:cxnLst>
                <a:rect l="0" t="0" r="r" b="b"/>
                <a:pathLst>
                  <a:path w="82" h="57">
                    <a:moveTo>
                      <a:pt x="0" y="19"/>
                    </a:moveTo>
                    <a:lnTo>
                      <a:pt x="10" y="0"/>
                    </a:lnTo>
                    <a:lnTo>
                      <a:pt x="82" y="38"/>
                    </a:lnTo>
                    <a:lnTo>
                      <a:pt x="72" y="57"/>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91" name="Freeform 323"/>
              <p:cNvSpPr>
                <a:spLocks/>
              </p:cNvSpPr>
              <p:nvPr/>
            </p:nvSpPr>
            <p:spPr bwMode="auto">
              <a:xfrm>
                <a:off x="1873251" y="2373313"/>
                <a:ext cx="292100" cy="258763"/>
              </a:xfrm>
              <a:custGeom>
                <a:avLst/>
                <a:gdLst>
                  <a:gd name="T0" fmla="*/ 360 w 390"/>
                  <a:gd name="T1" fmla="*/ 124 h 346"/>
                  <a:gd name="T2" fmla="*/ 297 w 390"/>
                  <a:gd name="T3" fmla="*/ 181 h 346"/>
                  <a:gd name="T4" fmla="*/ 364 w 390"/>
                  <a:gd name="T5" fmla="*/ 103 h 346"/>
                  <a:gd name="T6" fmla="*/ 332 w 390"/>
                  <a:gd name="T7" fmla="*/ 77 h 346"/>
                  <a:gd name="T8" fmla="*/ 271 w 390"/>
                  <a:gd name="T9" fmla="*/ 158 h 346"/>
                  <a:gd name="T10" fmla="*/ 333 w 390"/>
                  <a:gd name="T11" fmla="*/ 56 h 346"/>
                  <a:gd name="T12" fmla="*/ 235 w 390"/>
                  <a:gd name="T13" fmla="*/ 0 h 346"/>
                  <a:gd name="T14" fmla="*/ 250 w 390"/>
                  <a:gd name="T15" fmla="*/ 54 h 346"/>
                  <a:gd name="T16" fmla="*/ 282 w 390"/>
                  <a:gd name="T17" fmla="*/ 73 h 346"/>
                  <a:gd name="T18" fmla="*/ 201 w 390"/>
                  <a:gd name="T19" fmla="*/ 161 h 346"/>
                  <a:gd name="T20" fmla="*/ 109 w 390"/>
                  <a:gd name="T21" fmla="*/ 188 h 346"/>
                  <a:gd name="T22" fmla="*/ 105 w 390"/>
                  <a:gd name="T23" fmla="*/ 132 h 346"/>
                  <a:gd name="T24" fmla="*/ 195 w 390"/>
                  <a:gd name="T25" fmla="*/ 69 h 346"/>
                  <a:gd name="T26" fmla="*/ 205 w 390"/>
                  <a:gd name="T27" fmla="*/ 11 h 346"/>
                  <a:gd name="T28" fmla="*/ 137 w 390"/>
                  <a:gd name="T29" fmla="*/ 59 h 346"/>
                  <a:gd name="T30" fmla="*/ 78 w 390"/>
                  <a:gd name="T31" fmla="*/ 101 h 346"/>
                  <a:gd name="T32" fmla="*/ 39 w 390"/>
                  <a:gd name="T33" fmla="*/ 129 h 346"/>
                  <a:gd name="T34" fmla="*/ 39 w 390"/>
                  <a:gd name="T35" fmla="*/ 129 h 346"/>
                  <a:gd name="T36" fmla="*/ 39 w 390"/>
                  <a:gd name="T37" fmla="*/ 129 h 346"/>
                  <a:gd name="T38" fmla="*/ 0 w 390"/>
                  <a:gd name="T39" fmla="*/ 279 h 346"/>
                  <a:gd name="T40" fmla="*/ 130 w 390"/>
                  <a:gd name="T41" fmla="*/ 346 h 346"/>
                  <a:gd name="T42" fmla="*/ 140 w 390"/>
                  <a:gd name="T43" fmla="*/ 328 h 346"/>
                  <a:gd name="T44" fmla="*/ 377 w 390"/>
                  <a:gd name="T45" fmla="*/ 231 h 346"/>
                  <a:gd name="T46" fmla="*/ 374 w 390"/>
                  <a:gd name="T47" fmla="*/ 188 h 346"/>
                  <a:gd name="T48" fmla="*/ 331 w 390"/>
                  <a:gd name="T49" fmla="*/ 203 h 346"/>
                  <a:gd name="T50" fmla="*/ 390 w 390"/>
                  <a:gd name="T51" fmla="*/ 152 h 346"/>
                  <a:gd name="T52" fmla="*/ 360 w 390"/>
                  <a:gd name="T53" fmla="*/ 12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0" h="346">
                    <a:moveTo>
                      <a:pt x="360" y="124"/>
                    </a:moveTo>
                    <a:cubicBezTo>
                      <a:pt x="297" y="181"/>
                      <a:pt x="297" y="181"/>
                      <a:pt x="297" y="181"/>
                    </a:cubicBezTo>
                    <a:cubicBezTo>
                      <a:pt x="364" y="103"/>
                      <a:pt x="364" y="103"/>
                      <a:pt x="364" y="103"/>
                    </a:cubicBezTo>
                    <a:cubicBezTo>
                      <a:pt x="332" y="77"/>
                      <a:pt x="332" y="77"/>
                      <a:pt x="332" y="77"/>
                    </a:cubicBezTo>
                    <a:cubicBezTo>
                      <a:pt x="271" y="158"/>
                      <a:pt x="271" y="158"/>
                      <a:pt x="271" y="158"/>
                    </a:cubicBezTo>
                    <a:cubicBezTo>
                      <a:pt x="333" y="56"/>
                      <a:pt x="333" y="56"/>
                      <a:pt x="333" y="56"/>
                    </a:cubicBezTo>
                    <a:cubicBezTo>
                      <a:pt x="235" y="0"/>
                      <a:pt x="235" y="0"/>
                      <a:pt x="235" y="0"/>
                    </a:cubicBezTo>
                    <a:cubicBezTo>
                      <a:pt x="224" y="19"/>
                      <a:pt x="231" y="44"/>
                      <a:pt x="250" y="54"/>
                    </a:cubicBezTo>
                    <a:cubicBezTo>
                      <a:pt x="282" y="73"/>
                      <a:pt x="282" y="73"/>
                      <a:pt x="282" y="73"/>
                    </a:cubicBezTo>
                    <a:cubicBezTo>
                      <a:pt x="201" y="161"/>
                      <a:pt x="201" y="161"/>
                      <a:pt x="201" y="161"/>
                    </a:cubicBezTo>
                    <a:cubicBezTo>
                      <a:pt x="201" y="161"/>
                      <a:pt x="158" y="218"/>
                      <a:pt x="109" y="188"/>
                    </a:cubicBezTo>
                    <a:cubicBezTo>
                      <a:pt x="87" y="174"/>
                      <a:pt x="82" y="151"/>
                      <a:pt x="105" y="132"/>
                    </a:cubicBezTo>
                    <a:cubicBezTo>
                      <a:pt x="195" y="69"/>
                      <a:pt x="195" y="69"/>
                      <a:pt x="195" y="69"/>
                    </a:cubicBezTo>
                    <a:cubicBezTo>
                      <a:pt x="214" y="56"/>
                      <a:pt x="218" y="30"/>
                      <a:pt x="205" y="11"/>
                    </a:cubicBezTo>
                    <a:cubicBezTo>
                      <a:pt x="137" y="59"/>
                      <a:pt x="137" y="59"/>
                      <a:pt x="137" y="59"/>
                    </a:cubicBezTo>
                    <a:cubicBezTo>
                      <a:pt x="78" y="101"/>
                      <a:pt x="78" y="101"/>
                      <a:pt x="78" y="101"/>
                    </a:cubicBezTo>
                    <a:cubicBezTo>
                      <a:pt x="39" y="129"/>
                      <a:pt x="39" y="129"/>
                      <a:pt x="39" y="129"/>
                    </a:cubicBezTo>
                    <a:cubicBezTo>
                      <a:pt x="39" y="129"/>
                      <a:pt x="39" y="129"/>
                      <a:pt x="39" y="129"/>
                    </a:cubicBezTo>
                    <a:cubicBezTo>
                      <a:pt x="39" y="129"/>
                      <a:pt x="39" y="129"/>
                      <a:pt x="39" y="129"/>
                    </a:cubicBezTo>
                    <a:cubicBezTo>
                      <a:pt x="0" y="279"/>
                      <a:pt x="0" y="279"/>
                      <a:pt x="0" y="279"/>
                    </a:cubicBezTo>
                    <a:cubicBezTo>
                      <a:pt x="130" y="346"/>
                      <a:pt x="130" y="346"/>
                      <a:pt x="130" y="346"/>
                    </a:cubicBezTo>
                    <a:cubicBezTo>
                      <a:pt x="140" y="328"/>
                      <a:pt x="140" y="328"/>
                      <a:pt x="140" y="328"/>
                    </a:cubicBezTo>
                    <a:cubicBezTo>
                      <a:pt x="377" y="231"/>
                      <a:pt x="377" y="231"/>
                      <a:pt x="377" y="231"/>
                    </a:cubicBezTo>
                    <a:cubicBezTo>
                      <a:pt x="374" y="188"/>
                      <a:pt x="374" y="188"/>
                      <a:pt x="374" y="188"/>
                    </a:cubicBezTo>
                    <a:cubicBezTo>
                      <a:pt x="331" y="203"/>
                      <a:pt x="331" y="203"/>
                      <a:pt x="331" y="203"/>
                    </a:cubicBezTo>
                    <a:cubicBezTo>
                      <a:pt x="390" y="152"/>
                      <a:pt x="390" y="152"/>
                      <a:pt x="390" y="152"/>
                    </a:cubicBezTo>
                    <a:lnTo>
                      <a:pt x="360" y="124"/>
                    </a:lnTo>
                    <a:close/>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92" name="Freeform 324"/>
              <p:cNvSpPr>
                <a:spLocks/>
              </p:cNvSpPr>
              <p:nvPr/>
            </p:nvSpPr>
            <p:spPr bwMode="auto">
              <a:xfrm>
                <a:off x="1843088" y="2605088"/>
                <a:ext cx="153988" cy="236538"/>
              </a:xfrm>
              <a:custGeom>
                <a:avLst/>
                <a:gdLst>
                  <a:gd name="T0" fmla="*/ 97 w 97"/>
                  <a:gd name="T1" fmla="*/ 149 h 149"/>
                  <a:gd name="T2" fmla="*/ 76 w 97"/>
                  <a:gd name="T3" fmla="*/ 39 h 149"/>
                  <a:gd name="T4" fmla="*/ 0 w 97"/>
                  <a:gd name="T5" fmla="*/ 0 h 149"/>
                  <a:gd name="T6" fmla="*/ 0 w 97"/>
                  <a:gd name="T7" fmla="*/ 149 h 149"/>
                  <a:gd name="T8" fmla="*/ 97 w 97"/>
                  <a:gd name="T9" fmla="*/ 149 h 149"/>
                </a:gdLst>
                <a:ahLst/>
                <a:cxnLst>
                  <a:cxn ang="0">
                    <a:pos x="T0" y="T1"/>
                  </a:cxn>
                  <a:cxn ang="0">
                    <a:pos x="T2" y="T3"/>
                  </a:cxn>
                  <a:cxn ang="0">
                    <a:pos x="T4" y="T5"/>
                  </a:cxn>
                  <a:cxn ang="0">
                    <a:pos x="T6" y="T7"/>
                  </a:cxn>
                  <a:cxn ang="0">
                    <a:pos x="T8" y="T9"/>
                  </a:cxn>
                </a:cxnLst>
                <a:rect l="0" t="0" r="r" b="b"/>
                <a:pathLst>
                  <a:path w="97" h="149">
                    <a:moveTo>
                      <a:pt x="97" y="149"/>
                    </a:moveTo>
                    <a:lnTo>
                      <a:pt x="76" y="39"/>
                    </a:lnTo>
                    <a:lnTo>
                      <a:pt x="0" y="0"/>
                    </a:lnTo>
                    <a:lnTo>
                      <a:pt x="0" y="149"/>
                    </a:lnTo>
                    <a:lnTo>
                      <a:pt x="97" y="149"/>
                    </a:lnTo>
                    <a:close/>
                  </a:path>
                </a:pathLst>
              </a:custGeom>
              <a:solidFill>
                <a:srgbClr val="AB2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93" name="Freeform 325"/>
              <p:cNvSpPr>
                <a:spLocks/>
              </p:cNvSpPr>
              <p:nvPr/>
            </p:nvSpPr>
            <p:spPr bwMode="auto">
              <a:xfrm>
                <a:off x="1844676" y="2576513"/>
                <a:ext cx="131763" cy="88900"/>
              </a:xfrm>
              <a:custGeom>
                <a:avLst/>
                <a:gdLst>
                  <a:gd name="T0" fmla="*/ 83 w 83"/>
                  <a:gd name="T1" fmla="*/ 37 h 56"/>
                  <a:gd name="T2" fmla="*/ 73 w 83"/>
                  <a:gd name="T3" fmla="*/ 56 h 56"/>
                  <a:gd name="T4" fmla="*/ 0 w 83"/>
                  <a:gd name="T5" fmla="*/ 18 h 56"/>
                  <a:gd name="T6" fmla="*/ 10 w 83"/>
                  <a:gd name="T7" fmla="*/ 0 h 56"/>
                  <a:gd name="T8" fmla="*/ 83 w 83"/>
                  <a:gd name="T9" fmla="*/ 37 h 56"/>
                </a:gdLst>
                <a:ahLst/>
                <a:cxnLst>
                  <a:cxn ang="0">
                    <a:pos x="T0" y="T1"/>
                  </a:cxn>
                  <a:cxn ang="0">
                    <a:pos x="T2" y="T3"/>
                  </a:cxn>
                  <a:cxn ang="0">
                    <a:pos x="T4" y="T5"/>
                  </a:cxn>
                  <a:cxn ang="0">
                    <a:pos x="T6" y="T7"/>
                  </a:cxn>
                  <a:cxn ang="0">
                    <a:pos x="T8" y="T9"/>
                  </a:cxn>
                </a:cxnLst>
                <a:rect l="0" t="0" r="r" b="b"/>
                <a:pathLst>
                  <a:path w="83" h="56">
                    <a:moveTo>
                      <a:pt x="83" y="37"/>
                    </a:moveTo>
                    <a:lnTo>
                      <a:pt x="73" y="56"/>
                    </a:lnTo>
                    <a:lnTo>
                      <a:pt x="0" y="18"/>
                    </a:lnTo>
                    <a:lnTo>
                      <a:pt x="10" y="0"/>
                    </a:lnTo>
                    <a:lnTo>
                      <a:pt x="83"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94" name="Freeform 326"/>
              <p:cNvSpPr>
                <a:spLocks/>
              </p:cNvSpPr>
              <p:nvPr/>
            </p:nvSpPr>
            <p:spPr bwMode="auto">
              <a:xfrm>
                <a:off x="1055688" y="2492376"/>
                <a:ext cx="173038" cy="346075"/>
              </a:xfrm>
              <a:custGeom>
                <a:avLst/>
                <a:gdLst>
                  <a:gd name="T0" fmla="*/ 154 w 233"/>
                  <a:gd name="T1" fmla="*/ 463 h 463"/>
                  <a:gd name="T2" fmla="*/ 232 w 233"/>
                  <a:gd name="T3" fmla="*/ 354 h 463"/>
                  <a:gd name="T4" fmla="*/ 233 w 233"/>
                  <a:gd name="T5" fmla="*/ 193 h 463"/>
                  <a:gd name="T6" fmla="*/ 194 w 233"/>
                  <a:gd name="T7" fmla="*/ 225 h 463"/>
                  <a:gd name="T8" fmla="*/ 194 w 233"/>
                  <a:gd name="T9" fmla="*/ 313 h 463"/>
                  <a:gd name="T10" fmla="*/ 161 w 233"/>
                  <a:gd name="T11" fmla="*/ 336 h 463"/>
                  <a:gd name="T12" fmla="*/ 137 w 233"/>
                  <a:gd name="T13" fmla="*/ 264 h 463"/>
                  <a:gd name="T14" fmla="*/ 158 w 233"/>
                  <a:gd name="T15" fmla="*/ 168 h 463"/>
                  <a:gd name="T16" fmla="*/ 188 w 233"/>
                  <a:gd name="T17" fmla="*/ 173 h 463"/>
                  <a:gd name="T18" fmla="*/ 221 w 233"/>
                  <a:gd name="T19" fmla="*/ 143 h 463"/>
                  <a:gd name="T20" fmla="*/ 145 w 233"/>
                  <a:gd name="T21" fmla="*/ 131 h 463"/>
                  <a:gd name="T22" fmla="*/ 107 w 233"/>
                  <a:gd name="T23" fmla="*/ 217 h 463"/>
                  <a:gd name="T24" fmla="*/ 132 w 233"/>
                  <a:gd name="T25" fmla="*/ 141 h 463"/>
                  <a:gd name="T26" fmla="*/ 189 w 233"/>
                  <a:gd name="T27" fmla="*/ 55 h 463"/>
                  <a:gd name="T28" fmla="*/ 181 w 233"/>
                  <a:gd name="T29" fmla="*/ 11 h 463"/>
                  <a:gd name="T30" fmla="*/ 100 w 233"/>
                  <a:gd name="T31" fmla="*/ 132 h 463"/>
                  <a:gd name="T32" fmla="*/ 80 w 233"/>
                  <a:gd name="T33" fmla="*/ 211 h 463"/>
                  <a:gd name="T34" fmla="*/ 88 w 233"/>
                  <a:gd name="T35" fmla="*/ 144 h 463"/>
                  <a:gd name="T36" fmla="*/ 136 w 233"/>
                  <a:gd name="T37" fmla="*/ 42 h 463"/>
                  <a:gd name="T38" fmla="*/ 121 w 233"/>
                  <a:gd name="T39" fmla="*/ 0 h 463"/>
                  <a:gd name="T40" fmla="*/ 57 w 233"/>
                  <a:gd name="T41" fmla="*/ 137 h 463"/>
                  <a:gd name="T42" fmla="*/ 57 w 233"/>
                  <a:gd name="T43" fmla="*/ 137 h 463"/>
                  <a:gd name="T44" fmla="*/ 51 w 233"/>
                  <a:gd name="T45" fmla="*/ 199 h 463"/>
                  <a:gd name="T46" fmla="*/ 41 w 233"/>
                  <a:gd name="T47" fmla="*/ 164 h 463"/>
                  <a:gd name="T48" fmla="*/ 61 w 233"/>
                  <a:gd name="T49" fmla="*/ 103 h 463"/>
                  <a:gd name="T50" fmla="*/ 40 w 233"/>
                  <a:gd name="T51" fmla="*/ 63 h 463"/>
                  <a:gd name="T52" fmla="*/ 6 w 233"/>
                  <a:gd name="T53" fmla="*/ 170 h 463"/>
                  <a:gd name="T54" fmla="*/ 6 w 233"/>
                  <a:gd name="T55" fmla="*/ 170 h 463"/>
                  <a:gd name="T56" fmla="*/ 6 w 233"/>
                  <a:gd name="T57" fmla="*/ 170 h 463"/>
                  <a:gd name="T58" fmla="*/ 63 w 233"/>
                  <a:gd name="T59" fmla="*/ 376 h 463"/>
                  <a:gd name="T60" fmla="*/ 0 w 233"/>
                  <a:gd name="T61" fmla="*/ 462 h 463"/>
                  <a:gd name="T62" fmla="*/ 154 w 233"/>
                  <a:gd name="T63" fmla="*/ 463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463">
                    <a:moveTo>
                      <a:pt x="154" y="463"/>
                    </a:moveTo>
                    <a:cubicBezTo>
                      <a:pt x="232" y="354"/>
                      <a:pt x="232" y="354"/>
                      <a:pt x="232" y="354"/>
                    </a:cubicBezTo>
                    <a:cubicBezTo>
                      <a:pt x="233" y="193"/>
                      <a:pt x="233" y="193"/>
                      <a:pt x="233" y="193"/>
                    </a:cubicBezTo>
                    <a:cubicBezTo>
                      <a:pt x="214" y="193"/>
                      <a:pt x="195" y="207"/>
                      <a:pt x="194" y="225"/>
                    </a:cubicBezTo>
                    <a:cubicBezTo>
                      <a:pt x="194" y="313"/>
                      <a:pt x="194" y="313"/>
                      <a:pt x="194" y="313"/>
                    </a:cubicBezTo>
                    <a:cubicBezTo>
                      <a:pt x="194" y="313"/>
                      <a:pt x="182" y="323"/>
                      <a:pt x="161" y="336"/>
                    </a:cubicBezTo>
                    <a:cubicBezTo>
                      <a:pt x="119" y="318"/>
                      <a:pt x="137" y="264"/>
                      <a:pt x="137" y="264"/>
                    </a:cubicBezTo>
                    <a:cubicBezTo>
                      <a:pt x="158" y="168"/>
                      <a:pt x="158" y="168"/>
                      <a:pt x="158" y="168"/>
                    </a:cubicBezTo>
                    <a:cubicBezTo>
                      <a:pt x="188" y="173"/>
                      <a:pt x="188" y="173"/>
                      <a:pt x="188" y="173"/>
                    </a:cubicBezTo>
                    <a:cubicBezTo>
                      <a:pt x="205" y="174"/>
                      <a:pt x="220" y="160"/>
                      <a:pt x="221" y="143"/>
                    </a:cubicBezTo>
                    <a:cubicBezTo>
                      <a:pt x="145" y="131"/>
                      <a:pt x="145" y="131"/>
                      <a:pt x="145" y="131"/>
                    </a:cubicBezTo>
                    <a:cubicBezTo>
                      <a:pt x="107" y="217"/>
                      <a:pt x="107" y="217"/>
                      <a:pt x="107" y="217"/>
                    </a:cubicBezTo>
                    <a:cubicBezTo>
                      <a:pt x="132" y="141"/>
                      <a:pt x="132" y="141"/>
                      <a:pt x="132" y="141"/>
                    </a:cubicBezTo>
                    <a:cubicBezTo>
                      <a:pt x="189" y="55"/>
                      <a:pt x="189" y="55"/>
                      <a:pt x="189" y="55"/>
                    </a:cubicBezTo>
                    <a:cubicBezTo>
                      <a:pt x="199" y="40"/>
                      <a:pt x="195" y="21"/>
                      <a:pt x="181" y="11"/>
                    </a:cubicBezTo>
                    <a:cubicBezTo>
                      <a:pt x="100" y="132"/>
                      <a:pt x="100" y="132"/>
                      <a:pt x="100" y="132"/>
                    </a:cubicBezTo>
                    <a:cubicBezTo>
                      <a:pt x="80" y="211"/>
                      <a:pt x="80" y="211"/>
                      <a:pt x="80" y="211"/>
                    </a:cubicBezTo>
                    <a:cubicBezTo>
                      <a:pt x="88" y="144"/>
                      <a:pt x="88" y="144"/>
                      <a:pt x="88" y="144"/>
                    </a:cubicBezTo>
                    <a:cubicBezTo>
                      <a:pt x="136" y="42"/>
                      <a:pt x="136" y="42"/>
                      <a:pt x="136" y="42"/>
                    </a:cubicBezTo>
                    <a:cubicBezTo>
                      <a:pt x="143" y="26"/>
                      <a:pt x="136" y="7"/>
                      <a:pt x="121" y="0"/>
                    </a:cubicBezTo>
                    <a:cubicBezTo>
                      <a:pt x="57" y="137"/>
                      <a:pt x="57" y="137"/>
                      <a:pt x="57" y="137"/>
                    </a:cubicBezTo>
                    <a:cubicBezTo>
                      <a:pt x="57" y="137"/>
                      <a:pt x="57" y="137"/>
                      <a:pt x="57" y="137"/>
                    </a:cubicBezTo>
                    <a:cubicBezTo>
                      <a:pt x="51" y="199"/>
                      <a:pt x="51" y="199"/>
                      <a:pt x="51" y="199"/>
                    </a:cubicBezTo>
                    <a:cubicBezTo>
                      <a:pt x="41" y="164"/>
                      <a:pt x="41" y="164"/>
                      <a:pt x="41" y="164"/>
                    </a:cubicBezTo>
                    <a:cubicBezTo>
                      <a:pt x="61" y="103"/>
                      <a:pt x="61" y="103"/>
                      <a:pt x="61" y="103"/>
                    </a:cubicBezTo>
                    <a:cubicBezTo>
                      <a:pt x="66" y="86"/>
                      <a:pt x="57" y="68"/>
                      <a:pt x="40" y="63"/>
                    </a:cubicBezTo>
                    <a:cubicBezTo>
                      <a:pt x="6" y="170"/>
                      <a:pt x="6" y="170"/>
                      <a:pt x="6" y="170"/>
                    </a:cubicBezTo>
                    <a:cubicBezTo>
                      <a:pt x="6" y="170"/>
                      <a:pt x="6" y="170"/>
                      <a:pt x="6" y="170"/>
                    </a:cubicBezTo>
                    <a:cubicBezTo>
                      <a:pt x="6" y="170"/>
                      <a:pt x="6" y="170"/>
                      <a:pt x="6" y="170"/>
                    </a:cubicBezTo>
                    <a:cubicBezTo>
                      <a:pt x="63" y="376"/>
                      <a:pt x="63" y="376"/>
                      <a:pt x="63" y="376"/>
                    </a:cubicBezTo>
                    <a:cubicBezTo>
                      <a:pt x="0" y="462"/>
                      <a:pt x="0" y="462"/>
                      <a:pt x="0" y="462"/>
                    </a:cubicBezTo>
                    <a:lnTo>
                      <a:pt x="154" y="463"/>
                    </a:lnTo>
                    <a:close/>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95" name="Freeform 327"/>
              <p:cNvSpPr>
                <a:spLocks/>
              </p:cNvSpPr>
              <p:nvPr/>
            </p:nvSpPr>
            <p:spPr bwMode="auto">
              <a:xfrm>
                <a:off x="1092201" y="2614613"/>
                <a:ext cx="28575" cy="12700"/>
              </a:xfrm>
              <a:custGeom>
                <a:avLst/>
                <a:gdLst>
                  <a:gd name="T0" fmla="*/ 0 w 18"/>
                  <a:gd name="T1" fmla="*/ 0 h 8"/>
                  <a:gd name="T2" fmla="*/ 18 w 18"/>
                  <a:gd name="T3" fmla="*/ 1 h 8"/>
                  <a:gd name="T4" fmla="*/ 17 w 18"/>
                  <a:gd name="T5" fmla="*/ 8 h 8"/>
                  <a:gd name="T6" fmla="*/ 0 w 18"/>
                  <a:gd name="T7" fmla="*/ 7 h 8"/>
                  <a:gd name="T8" fmla="*/ 0 w 18"/>
                  <a:gd name="T9" fmla="*/ 0 h 8"/>
                </a:gdLst>
                <a:ahLst/>
                <a:cxnLst>
                  <a:cxn ang="0">
                    <a:pos x="T0" y="T1"/>
                  </a:cxn>
                  <a:cxn ang="0">
                    <a:pos x="T2" y="T3"/>
                  </a:cxn>
                  <a:cxn ang="0">
                    <a:pos x="T4" y="T5"/>
                  </a:cxn>
                  <a:cxn ang="0">
                    <a:pos x="T6" y="T7"/>
                  </a:cxn>
                  <a:cxn ang="0">
                    <a:pos x="T8" y="T9"/>
                  </a:cxn>
                </a:cxnLst>
                <a:rect l="0" t="0" r="r" b="b"/>
                <a:pathLst>
                  <a:path w="18" h="8">
                    <a:moveTo>
                      <a:pt x="0" y="0"/>
                    </a:moveTo>
                    <a:lnTo>
                      <a:pt x="18" y="1"/>
                    </a:lnTo>
                    <a:lnTo>
                      <a:pt x="17" y="8"/>
                    </a:lnTo>
                    <a:lnTo>
                      <a:pt x="0" y="7"/>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96" name="Freeform 328"/>
              <p:cNvSpPr>
                <a:spLocks/>
              </p:cNvSpPr>
              <p:nvPr/>
            </p:nvSpPr>
            <p:spPr bwMode="auto">
              <a:xfrm>
                <a:off x="2092326" y="1181101"/>
                <a:ext cx="244475" cy="392113"/>
              </a:xfrm>
              <a:custGeom>
                <a:avLst/>
                <a:gdLst>
                  <a:gd name="T0" fmla="*/ 0 w 326"/>
                  <a:gd name="T1" fmla="*/ 524 h 524"/>
                  <a:gd name="T2" fmla="*/ 126 w 326"/>
                  <a:gd name="T3" fmla="*/ 524 h 524"/>
                  <a:gd name="T4" fmla="*/ 125 w 326"/>
                  <a:gd name="T5" fmla="*/ 366 h 524"/>
                  <a:gd name="T6" fmla="*/ 291 w 326"/>
                  <a:gd name="T7" fmla="*/ 233 h 524"/>
                  <a:gd name="T8" fmla="*/ 291 w 326"/>
                  <a:gd name="T9" fmla="*/ 233 h 524"/>
                  <a:gd name="T10" fmla="*/ 291 w 326"/>
                  <a:gd name="T11" fmla="*/ 233 h 524"/>
                  <a:gd name="T12" fmla="*/ 326 w 326"/>
                  <a:gd name="T13" fmla="*/ 126 h 524"/>
                  <a:gd name="T14" fmla="*/ 286 w 326"/>
                  <a:gd name="T15" fmla="*/ 146 h 524"/>
                  <a:gd name="T16" fmla="*/ 267 w 326"/>
                  <a:gd name="T17" fmla="*/ 207 h 524"/>
                  <a:gd name="T18" fmla="*/ 238 w 326"/>
                  <a:gd name="T19" fmla="*/ 230 h 524"/>
                  <a:gd name="T20" fmla="*/ 269 w 326"/>
                  <a:gd name="T21" fmla="*/ 176 h 524"/>
                  <a:gd name="T22" fmla="*/ 269 w 326"/>
                  <a:gd name="T23" fmla="*/ 176 h 524"/>
                  <a:gd name="T24" fmla="*/ 298 w 326"/>
                  <a:gd name="T25" fmla="*/ 27 h 524"/>
                  <a:gd name="T26" fmla="*/ 261 w 326"/>
                  <a:gd name="T27" fmla="*/ 53 h 524"/>
                  <a:gd name="T28" fmla="*/ 239 w 326"/>
                  <a:gd name="T29" fmla="*/ 163 h 524"/>
                  <a:gd name="T30" fmla="*/ 207 w 326"/>
                  <a:gd name="T31" fmla="*/ 222 h 524"/>
                  <a:gd name="T32" fmla="*/ 237 w 326"/>
                  <a:gd name="T33" fmla="*/ 146 h 524"/>
                  <a:gd name="T34" fmla="*/ 242 w 326"/>
                  <a:gd name="T35" fmla="*/ 1 h 524"/>
                  <a:gd name="T36" fmla="*/ 210 w 326"/>
                  <a:gd name="T37" fmla="*/ 32 h 524"/>
                  <a:gd name="T38" fmla="*/ 206 w 326"/>
                  <a:gd name="T39" fmla="*/ 135 h 524"/>
                  <a:gd name="T40" fmla="*/ 182 w 326"/>
                  <a:gd name="T41" fmla="*/ 212 h 524"/>
                  <a:gd name="T42" fmla="*/ 202 w 326"/>
                  <a:gd name="T43" fmla="*/ 119 h 524"/>
                  <a:gd name="T44" fmla="*/ 133 w 326"/>
                  <a:gd name="T45" fmla="*/ 85 h 524"/>
                  <a:gd name="T46" fmla="*/ 142 w 326"/>
                  <a:gd name="T47" fmla="*/ 128 h 524"/>
                  <a:gd name="T48" fmla="*/ 169 w 326"/>
                  <a:gd name="T49" fmla="*/ 142 h 524"/>
                  <a:gd name="T50" fmla="*/ 130 w 326"/>
                  <a:gd name="T51" fmla="*/ 232 h 524"/>
                  <a:gd name="T52" fmla="*/ 68 w 326"/>
                  <a:gd name="T53" fmla="*/ 277 h 524"/>
                  <a:gd name="T54" fmla="*/ 55 w 326"/>
                  <a:gd name="T55" fmla="*/ 238 h 524"/>
                  <a:gd name="T56" fmla="*/ 106 w 326"/>
                  <a:gd name="T57" fmla="*/ 167 h 524"/>
                  <a:gd name="T58" fmla="*/ 94 w 326"/>
                  <a:gd name="T59" fmla="*/ 119 h 524"/>
                  <a:gd name="T60" fmla="*/ 0 w 326"/>
                  <a:gd name="T61" fmla="*/ 249 h 524"/>
                  <a:gd name="T62" fmla="*/ 0 w 326"/>
                  <a:gd name="T63" fmla="*/ 52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6" h="524">
                    <a:moveTo>
                      <a:pt x="0" y="524"/>
                    </a:moveTo>
                    <a:cubicBezTo>
                      <a:pt x="126" y="524"/>
                      <a:pt x="126" y="524"/>
                      <a:pt x="126" y="524"/>
                    </a:cubicBezTo>
                    <a:cubicBezTo>
                      <a:pt x="125" y="366"/>
                      <a:pt x="125" y="366"/>
                      <a:pt x="125" y="366"/>
                    </a:cubicBezTo>
                    <a:cubicBezTo>
                      <a:pt x="291" y="233"/>
                      <a:pt x="291" y="233"/>
                      <a:pt x="291" y="233"/>
                    </a:cubicBezTo>
                    <a:cubicBezTo>
                      <a:pt x="291" y="233"/>
                      <a:pt x="291" y="233"/>
                      <a:pt x="291" y="233"/>
                    </a:cubicBezTo>
                    <a:cubicBezTo>
                      <a:pt x="291" y="233"/>
                      <a:pt x="291" y="233"/>
                      <a:pt x="291" y="233"/>
                    </a:cubicBezTo>
                    <a:cubicBezTo>
                      <a:pt x="326" y="126"/>
                      <a:pt x="326" y="126"/>
                      <a:pt x="326" y="126"/>
                    </a:cubicBezTo>
                    <a:cubicBezTo>
                      <a:pt x="310" y="120"/>
                      <a:pt x="292" y="129"/>
                      <a:pt x="286" y="146"/>
                    </a:cubicBezTo>
                    <a:cubicBezTo>
                      <a:pt x="267" y="207"/>
                      <a:pt x="267" y="207"/>
                      <a:pt x="267" y="207"/>
                    </a:cubicBezTo>
                    <a:cubicBezTo>
                      <a:pt x="238" y="230"/>
                      <a:pt x="238" y="230"/>
                      <a:pt x="238" y="230"/>
                    </a:cubicBezTo>
                    <a:cubicBezTo>
                      <a:pt x="269" y="176"/>
                      <a:pt x="269" y="176"/>
                      <a:pt x="269" y="176"/>
                    </a:cubicBezTo>
                    <a:cubicBezTo>
                      <a:pt x="269" y="176"/>
                      <a:pt x="269" y="176"/>
                      <a:pt x="269" y="176"/>
                    </a:cubicBezTo>
                    <a:cubicBezTo>
                      <a:pt x="298" y="27"/>
                      <a:pt x="298" y="27"/>
                      <a:pt x="298" y="27"/>
                    </a:cubicBezTo>
                    <a:cubicBezTo>
                      <a:pt x="280" y="24"/>
                      <a:pt x="264" y="35"/>
                      <a:pt x="261" y="53"/>
                    </a:cubicBezTo>
                    <a:cubicBezTo>
                      <a:pt x="239" y="163"/>
                      <a:pt x="239" y="163"/>
                      <a:pt x="239" y="163"/>
                    </a:cubicBezTo>
                    <a:cubicBezTo>
                      <a:pt x="207" y="222"/>
                      <a:pt x="207" y="222"/>
                      <a:pt x="207" y="222"/>
                    </a:cubicBezTo>
                    <a:cubicBezTo>
                      <a:pt x="237" y="146"/>
                      <a:pt x="237" y="146"/>
                      <a:pt x="237" y="146"/>
                    </a:cubicBezTo>
                    <a:cubicBezTo>
                      <a:pt x="242" y="1"/>
                      <a:pt x="242" y="1"/>
                      <a:pt x="242" y="1"/>
                    </a:cubicBezTo>
                    <a:cubicBezTo>
                      <a:pt x="225" y="0"/>
                      <a:pt x="210" y="14"/>
                      <a:pt x="210" y="32"/>
                    </a:cubicBezTo>
                    <a:cubicBezTo>
                      <a:pt x="206" y="135"/>
                      <a:pt x="206" y="135"/>
                      <a:pt x="206" y="135"/>
                    </a:cubicBezTo>
                    <a:cubicBezTo>
                      <a:pt x="182" y="212"/>
                      <a:pt x="182" y="212"/>
                      <a:pt x="182" y="212"/>
                    </a:cubicBezTo>
                    <a:cubicBezTo>
                      <a:pt x="202" y="119"/>
                      <a:pt x="202" y="119"/>
                      <a:pt x="202" y="119"/>
                    </a:cubicBezTo>
                    <a:cubicBezTo>
                      <a:pt x="133" y="85"/>
                      <a:pt x="133" y="85"/>
                      <a:pt x="133" y="85"/>
                    </a:cubicBezTo>
                    <a:cubicBezTo>
                      <a:pt x="123" y="99"/>
                      <a:pt x="127" y="119"/>
                      <a:pt x="142" y="128"/>
                    </a:cubicBezTo>
                    <a:cubicBezTo>
                      <a:pt x="169" y="142"/>
                      <a:pt x="169" y="142"/>
                      <a:pt x="169" y="142"/>
                    </a:cubicBezTo>
                    <a:cubicBezTo>
                      <a:pt x="130" y="232"/>
                      <a:pt x="130" y="232"/>
                      <a:pt x="130" y="232"/>
                    </a:cubicBezTo>
                    <a:cubicBezTo>
                      <a:pt x="130" y="232"/>
                      <a:pt x="113" y="286"/>
                      <a:pt x="68" y="277"/>
                    </a:cubicBezTo>
                    <a:cubicBezTo>
                      <a:pt x="59" y="253"/>
                      <a:pt x="55" y="238"/>
                      <a:pt x="55" y="238"/>
                    </a:cubicBezTo>
                    <a:cubicBezTo>
                      <a:pt x="106" y="167"/>
                      <a:pt x="106" y="167"/>
                      <a:pt x="106" y="167"/>
                    </a:cubicBezTo>
                    <a:cubicBezTo>
                      <a:pt x="117" y="152"/>
                      <a:pt x="109" y="129"/>
                      <a:pt x="94" y="119"/>
                    </a:cubicBezTo>
                    <a:cubicBezTo>
                      <a:pt x="0" y="249"/>
                      <a:pt x="0" y="249"/>
                      <a:pt x="0" y="249"/>
                    </a:cubicBezTo>
                    <a:lnTo>
                      <a:pt x="0" y="524"/>
                    </a:lnTo>
                    <a:close/>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97" name="Freeform 329"/>
              <p:cNvSpPr>
                <a:spLocks/>
              </p:cNvSpPr>
              <p:nvPr/>
            </p:nvSpPr>
            <p:spPr bwMode="auto">
              <a:xfrm>
                <a:off x="2257426" y="1316038"/>
                <a:ext cx="30163" cy="25400"/>
              </a:xfrm>
              <a:custGeom>
                <a:avLst/>
                <a:gdLst>
                  <a:gd name="T0" fmla="*/ 19 w 19"/>
                  <a:gd name="T1" fmla="*/ 10 h 16"/>
                  <a:gd name="T2" fmla="*/ 3 w 19"/>
                  <a:gd name="T3" fmla="*/ 0 h 16"/>
                  <a:gd name="T4" fmla="*/ 0 w 19"/>
                  <a:gd name="T5" fmla="*/ 6 h 16"/>
                  <a:gd name="T6" fmla="*/ 15 w 19"/>
                  <a:gd name="T7" fmla="*/ 16 h 16"/>
                  <a:gd name="T8" fmla="*/ 19 w 19"/>
                  <a:gd name="T9" fmla="*/ 10 h 16"/>
                </a:gdLst>
                <a:ahLst/>
                <a:cxnLst>
                  <a:cxn ang="0">
                    <a:pos x="T0" y="T1"/>
                  </a:cxn>
                  <a:cxn ang="0">
                    <a:pos x="T2" y="T3"/>
                  </a:cxn>
                  <a:cxn ang="0">
                    <a:pos x="T4" y="T5"/>
                  </a:cxn>
                  <a:cxn ang="0">
                    <a:pos x="T6" y="T7"/>
                  </a:cxn>
                  <a:cxn ang="0">
                    <a:pos x="T8" y="T9"/>
                  </a:cxn>
                </a:cxnLst>
                <a:rect l="0" t="0" r="r" b="b"/>
                <a:pathLst>
                  <a:path w="19" h="16">
                    <a:moveTo>
                      <a:pt x="19" y="10"/>
                    </a:moveTo>
                    <a:lnTo>
                      <a:pt x="3" y="0"/>
                    </a:lnTo>
                    <a:lnTo>
                      <a:pt x="0" y="6"/>
                    </a:lnTo>
                    <a:lnTo>
                      <a:pt x="15" y="16"/>
                    </a:lnTo>
                    <a:lnTo>
                      <a:pt x="19"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98" name="Freeform 330"/>
              <p:cNvSpPr>
                <a:spLocks noEditPoints="1"/>
              </p:cNvSpPr>
              <p:nvPr/>
            </p:nvSpPr>
            <p:spPr bwMode="auto">
              <a:xfrm>
                <a:off x="2081213" y="1516063"/>
                <a:ext cx="117475" cy="23813"/>
              </a:xfrm>
              <a:custGeom>
                <a:avLst/>
                <a:gdLst>
                  <a:gd name="T0" fmla="*/ 32 w 157"/>
                  <a:gd name="T1" fmla="*/ 16 h 33"/>
                  <a:gd name="T2" fmla="*/ 16 w 157"/>
                  <a:gd name="T3" fmla="*/ 0 h 33"/>
                  <a:gd name="T4" fmla="*/ 0 w 157"/>
                  <a:gd name="T5" fmla="*/ 16 h 33"/>
                  <a:gd name="T6" fmla="*/ 16 w 157"/>
                  <a:gd name="T7" fmla="*/ 31 h 33"/>
                  <a:gd name="T8" fmla="*/ 32 w 157"/>
                  <a:gd name="T9" fmla="*/ 16 h 33"/>
                  <a:gd name="T10" fmla="*/ 63 w 157"/>
                  <a:gd name="T11" fmla="*/ 16 h 33"/>
                  <a:gd name="T12" fmla="*/ 47 w 157"/>
                  <a:gd name="T13" fmla="*/ 0 h 33"/>
                  <a:gd name="T14" fmla="*/ 32 w 157"/>
                  <a:gd name="T15" fmla="*/ 16 h 33"/>
                  <a:gd name="T16" fmla="*/ 47 w 157"/>
                  <a:gd name="T17" fmla="*/ 32 h 33"/>
                  <a:gd name="T18" fmla="*/ 63 w 157"/>
                  <a:gd name="T19" fmla="*/ 16 h 33"/>
                  <a:gd name="T20" fmla="*/ 94 w 157"/>
                  <a:gd name="T21" fmla="*/ 17 h 33"/>
                  <a:gd name="T22" fmla="*/ 79 w 157"/>
                  <a:gd name="T23" fmla="*/ 1 h 33"/>
                  <a:gd name="T24" fmla="*/ 63 w 157"/>
                  <a:gd name="T25" fmla="*/ 16 h 33"/>
                  <a:gd name="T26" fmla="*/ 78 w 157"/>
                  <a:gd name="T27" fmla="*/ 32 h 33"/>
                  <a:gd name="T28" fmla="*/ 94 w 157"/>
                  <a:gd name="T29" fmla="*/ 17 h 33"/>
                  <a:gd name="T30" fmla="*/ 126 w 157"/>
                  <a:gd name="T31" fmla="*/ 17 h 33"/>
                  <a:gd name="T32" fmla="*/ 110 w 157"/>
                  <a:gd name="T33" fmla="*/ 1 h 33"/>
                  <a:gd name="T34" fmla="*/ 94 w 157"/>
                  <a:gd name="T35" fmla="*/ 17 h 33"/>
                  <a:gd name="T36" fmla="*/ 110 w 157"/>
                  <a:gd name="T37" fmla="*/ 32 h 33"/>
                  <a:gd name="T38" fmla="*/ 126 w 157"/>
                  <a:gd name="T39" fmla="*/ 17 h 33"/>
                  <a:gd name="T40" fmla="*/ 157 w 157"/>
                  <a:gd name="T41" fmla="*/ 17 h 33"/>
                  <a:gd name="T42" fmla="*/ 141 w 157"/>
                  <a:gd name="T43" fmla="*/ 1 h 33"/>
                  <a:gd name="T44" fmla="*/ 126 w 157"/>
                  <a:gd name="T45" fmla="*/ 17 h 33"/>
                  <a:gd name="T46" fmla="*/ 141 w 157"/>
                  <a:gd name="T47" fmla="*/ 33 h 33"/>
                  <a:gd name="T48" fmla="*/ 157 w 157"/>
                  <a:gd name="T49"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7" h="33">
                    <a:moveTo>
                      <a:pt x="32" y="16"/>
                    </a:moveTo>
                    <a:cubicBezTo>
                      <a:pt x="32" y="7"/>
                      <a:pt x="25" y="0"/>
                      <a:pt x="16" y="0"/>
                    </a:cubicBezTo>
                    <a:cubicBezTo>
                      <a:pt x="8" y="0"/>
                      <a:pt x="0" y="7"/>
                      <a:pt x="0" y="16"/>
                    </a:cubicBezTo>
                    <a:cubicBezTo>
                      <a:pt x="0" y="24"/>
                      <a:pt x="7" y="31"/>
                      <a:pt x="16" y="31"/>
                    </a:cubicBezTo>
                    <a:cubicBezTo>
                      <a:pt x="25" y="32"/>
                      <a:pt x="32" y="25"/>
                      <a:pt x="32" y="16"/>
                    </a:cubicBezTo>
                    <a:moveTo>
                      <a:pt x="63" y="16"/>
                    </a:moveTo>
                    <a:cubicBezTo>
                      <a:pt x="63" y="8"/>
                      <a:pt x="56" y="1"/>
                      <a:pt x="47" y="0"/>
                    </a:cubicBezTo>
                    <a:cubicBezTo>
                      <a:pt x="39" y="0"/>
                      <a:pt x="32" y="7"/>
                      <a:pt x="32" y="16"/>
                    </a:cubicBezTo>
                    <a:cubicBezTo>
                      <a:pt x="32" y="25"/>
                      <a:pt x="39" y="32"/>
                      <a:pt x="47" y="32"/>
                    </a:cubicBezTo>
                    <a:cubicBezTo>
                      <a:pt x="56" y="32"/>
                      <a:pt x="63" y="25"/>
                      <a:pt x="63" y="16"/>
                    </a:cubicBezTo>
                    <a:moveTo>
                      <a:pt x="94" y="17"/>
                    </a:moveTo>
                    <a:cubicBezTo>
                      <a:pt x="94" y="8"/>
                      <a:pt x="87" y="1"/>
                      <a:pt x="79" y="1"/>
                    </a:cubicBezTo>
                    <a:cubicBezTo>
                      <a:pt x="70" y="1"/>
                      <a:pt x="63" y="8"/>
                      <a:pt x="63" y="16"/>
                    </a:cubicBezTo>
                    <a:cubicBezTo>
                      <a:pt x="63" y="25"/>
                      <a:pt x="70" y="32"/>
                      <a:pt x="78" y="32"/>
                    </a:cubicBezTo>
                    <a:cubicBezTo>
                      <a:pt x="87" y="32"/>
                      <a:pt x="94" y="25"/>
                      <a:pt x="94" y="17"/>
                    </a:cubicBezTo>
                    <a:moveTo>
                      <a:pt x="126" y="17"/>
                    </a:moveTo>
                    <a:cubicBezTo>
                      <a:pt x="126" y="8"/>
                      <a:pt x="119" y="1"/>
                      <a:pt x="110" y="1"/>
                    </a:cubicBezTo>
                    <a:cubicBezTo>
                      <a:pt x="101" y="1"/>
                      <a:pt x="94" y="8"/>
                      <a:pt x="94" y="17"/>
                    </a:cubicBezTo>
                    <a:cubicBezTo>
                      <a:pt x="94" y="25"/>
                      <a:pt x="101" y="32"/>
                      <a:pt x="110" y="32"/>
                    </a:cubicBezTo>
                    <a:cubicBezTo>
                      <a:pt x="118" y="32"/>
                      <a:pt x="125" y="25"/>
                      <a:pt x="126" y="17"/>
                    </a:cubicBezTo>
                    <a:moveTo>
                      <a:pt x="157" y="17"/>
                    </a:moveTo>
                    <a:cubicBezTo>
                      <a:pt x="157" y="8"/>
                      <a:pt x="150" y="1"/>
                      <a:pt x="141" y="1"/>
                    </a:cubicBezTo>
                    <a:cubicBezTo>
                      <a:pt x="133" y="1"/>
                      <a:pt x="126" y="8"/>
                      <a:pt x="126" y="17"/>
                    </a:cubicBezTo>
                    <a:cubicBezTo>
                      <a:pt x="125" y="25"/>
                      <a:pt x="132" y="32"/>
                      <a:pt x="141" y="33"/>
                    </a:cubicBezTo>
                    <a:cubicBezTo>
                      <a:pt x="150" y="33"/>
                      <a:pt x="157" y="26"/>
                      <a:pt x="157" y="1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599" name="Freeform 331"/>
              <p:cNvSpPr>
                <a:spLocks/>
              </p:cNvSpPr>
              <p:nvPr/>
            </p:nvSpPr>
            <p:spPr bwMode="auto">
              <a:xfrm>
                <a:off x="2092326" y="1573213"/>
                <a:ext cx="174625" cy="441325"/>
              </a:xfrm>
              <a:custGeom>
                <a:avLst/>
                <a:gdLst>
                  <a:gd name="T0" fmla="*/ 130 w 233"/>
                  <a:gd name="T1" fmla="*/ 0 h 590"/>
                  <a:gd name="T2" fmla="*/ 0 w 233"/>
                  <a:gd name="T3" fmla="*/ 0 h 590"/>
                  <a:gd name="T4" fmla="*/ 0 w 233"/>
                  <a:gd name="T5" fmla="*/ 324 h 590"/>
                  <a:gd name="T6" fmla="*/ 0 w 233"/>
                  <a:gd name="T7" fmla="*/ 590 h 590"/>
                  <a:gd name="T8" fmla="*/ 196 w 233"/>
                  <a:gd name="T9" fmla="*/ 590 h 590"/>
                  <a:gd name="T10" fmla="*/ 233 w 233"/>
                  <a:gd name="T11" fmla="*/ 578 h 590"/>
                  <a:gd name="T12" fmla="*/ 130 w 233"/>
                  <a:gd name="T13" fmla="*/ 0 h 590"/>
                </a:gdLst>
                <a:ahLst/>
                <a:cxnLst>
                  <a:cxn ang="0">
                    <a:pos x="T0" y="T1"/>
                  </a:cxn>
                  <a:cxn ang="0">
                    <a:pos x="T2" y="T3"/>
                  </a:cxn>
                  <a:cxn ang="0">
                    <a:pos x="T4" y="T5"/>
                  </a:cxn>
                  <a:cxn ang="0">
                    <a:pos x="T6" y="T7"/>
                  </a:cxn>
                  <a:cxn ang="0">
                    <a:pos x="T8" y="T9"/>
                  </a:cxn>
                  <a:cxn ang="0">
                    <a:pos x="T10" y="T11"/>
                  </a:cxn>
                  <a:cxn ang="0">
                    <a:pos x="T12" y="T13"/>
                  </a:cxn>
                </a:cxnLst>
                <a:rect l="0" t="0" r="r" b="b"/>
                <a:pathLst>
                  <a:path w="233" h="590">
                    <a:moveTo>
                      <a:pt x="130" y="0"/>
                    </a:moveTo>
                    <a:cubicBezTo>
                      <a:pt x="0" y="0"/>
                      <a:pt x="0" y="0"/>
                      <a:pt x="0" y="0"/>
                    </a:cubicBezTo>
                    <a:cubicBezTo>
                      <a:pt x="0" y="324"/>
                      <a:pt x="0" y="324"/>
                      <a:pt x="0" y="324"/>
                    </a:cubicBezTo>
                    <a:cubicBezTo>
                      <a:pt x="0" y="590"/>
                      <a:pt x="0" y="590"/>
                      <a:pt x="0" y="590"/>
                    </a:cubicBezTo>
                    <a:cubicBezTo>
                      <a:pt x="196" y="590"/>
                      <a:pt x="196" y="590"/>
                      <a:pt x="196" y="590"/>
                    </a:cubicBezTo>
                    <a:cubicBezTo>
                      <a:pt x="196" y="590"/>
                      <a:pt x="217" y="590"/>
                      <a:pt x="233" y="578"/>
                    </a:cubicBezTo>
                    <a:lnTo>
                      <a:pt x="13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600" name="Freeform 332"/>
              <p:cNvSpPr>
                <a:spLocks/>
              </p:cNvSpPr>
              <p:nvPr/>
            </p:nvSpPr>
            <p:spPr bwMode="auto">
              <a:xfrm>
                <a:off x="1187451" y="1247776"/>
                <a:ext cx="244475" cy="390525"/>
              </a:xfrm>
              <a:custGeom>
                <a:avLst/>
                <a:gdLst>
                  <a:gd name="T0" fmla="*/ 0 w 327"/>
                  <a:gd name="T1" fmla="*/ 0 h 523"/>
                  <a:gd name="T2" fmla="*/ 127 w 327"/>
                  <a:gd name="T3" fmla="*/ 0 h 523"/>
                  <a:gd name="T4" fmla="*/ 125 w 327"/>
                  <a:gd name="T5" fmla="*/ 157 h 523"/>
                  <a:gd name="T6" fmla="*/ 292 w 327"/>
                  <a:gd name="T7" fmla="*/ 291 h 523"/>
                  <a:gd name="T8" fmla="*/ 292 w 327"/>
                  <a:gd name="T9" fmla="*/ 291 h 523"/>
                  <a:gd name="T10" fmla="*/ 292 w 327"/>
                  <a:gd name="T11" fmla="*/ 291 h 523"/>
                  <a:gd name="T12" fmla="*/ 327 w 327"/>
                  <a:gd name="T13" fmla="*/ 397 h 523"/>
                  <a:gd name="T14" fmla="*/ 287 w 327"/>
                  <a:gd name="T15" fmla="*/ 377 h 523"/>
                  <a:gd name="T16" fmla="*/ 267 w 327"/>
                  <a:gd name="T17" fmla="*/ 316 h 523"/>
                  <a:gd name="T18" fmla="*/ 239 w 327"/>
                  <a:gd name="T19" fmla="*/ 293 h 523"/>
                  <a:gd name="T20" fmla="*/ 270 w 327"/>
                  <a:gd name="T21" fmla="*/ 347 h 523"/>
                  <a:gd name="T22" fmla="*/ 270 w 327"/>
                  <a:gd name="T23" fmla="*/ 347 h 523"/>
                  <a:gd name="T24" fmla="*/ 298 w 327"/>
                  <a:gd name="T25" fmla="*/ 496 h 523"/>
                  <a:gd name="T26" fmla="*/ 261 w 327"/>
                  <a:gd name="T27" fmla="*/ 471 h 523"/>
                  <a:gd name="T28" fmla="*/ 240 w 327"/>
                  <a:gd name="T29" fmla="*/ 360 h 523"/>
                  <a:gd name="T30" fmla="*/ 208 w 327"/>
                  <a:gd name="T31" fmla="*/ 301 h 523"/>
                  <a:gd name="T32" fmla="*/ 238 w 327"/>
                  <a:gd name="T33" fmla="*/ 377 h 523"/>
                  <a:gd name="T34" fmla="*/ 243 w 327"/>
                  <a:gd name="T35" fmla="*/ 522 h 523"/>
                  <a:gd name="T36" fmla="*/ 210 w 327"/>
                  <a:gd name="T37" fmla="*/ 492 h 523"/>
                  <a:gd name="T38" fmla="*/ 207 w 327"/>
                  <a:gd name="T39" fmla="*/ 388 h 523"/>
                  <a:gd name="T40" fmla="*/ 182 w 327"/>
                  <a:gd name="T41" fmla="*/ 312 h 523"/>
                  <a:gd name="T42" fmla="*/ 202 w 327"/>
                  <a:gd name="T43" fmla="*/ 404 h 523"/>
                  <a:gd name="T44" fmla="*/ 133 w 327"/>
                  <a:gd name="T45" fmla="*/ 439 h 523"/>
                  <a:gd name="T46" fmla="*/ 142 w 327"/>
                  <a:gd name="T47" fmla="*/ 395 h 523"/>
                  <a:gd name="T48" fmla="*/ 169 w 327"/>
                  <a:gd name="T49" fmla="*/ 381 h 523"/>
                  <a:gd name="T50" fmla="*/ 131 w 327"/>
                  <a:gd name="T51" fmla="*/ 291 h 523"/>
                  <a:gd name="T52" fmla="*/ 69 w 327"/>
                  <a:gd name="T53" fmla="*/ 246 h 523"/>
                  <a:gd name="T54" fmla="*/ 56 w 327"/>
                  <a:gd name="T55" fmla="*/ 285 h 523"/>
                  <a:gd name="T56" fmla="*/ 106 w 327"/>
                  <a:gd name="T57" fmla="*/ 356 h 523"/>
                  <a:gd name="T58" fmla="*/ 94 w 327"/>
                  <a:gd name="T59" fmla="*/ 404 h 523"/>
                  <a:gd name="T60" fmla="*/ 0 w 327"/>
                  <a:gd name="T61" fmla="*/ 274 h 523"/>
                  <a:gd name="T62" fmla="*/ 0 w 327"/>
                  <a:gd name="T63"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523">
                    <a:moveTo>
                      <a:pt x="0" y="0"/>
                    </a:moveTo>
                    <a:cubicBezTo>
                      <a:pt x="127" y="0"/>
                      <a:pt x="127" y="0"/>
                      <a:pt x="127" y="0"/>
                    </a:cubicBezTo>
                    <a:cubicBezTo>
                      <a:pt x="125" y="157"/>
                      <a:pt x="125" y="157"/>
                      <a:pt x="125" y="157"/>
                    </a:cubicBezTo>
                    <a:cubicBezTo>
                      <a:pt x="292" y="291"/>
                      <a:pt x="292" y="291"/>
                      <a:pt x="292" y="291"/>
                    </a:cubicBezTo>
                    <a:cubicBezTo>
                      <a:pt x="292" y="291"/>
                      <a:pt x="292" y="291"/>
                      <a:pt x="292" y="291"/>
                    </a:cubicBezTo>
                    <a:cubicBezTo>
                      <a:pt x="292" y="291"/>
                      <a:pt x="292" y="291"/>
                      <a:pt x="292" y="291"/>
                    </a:cubicBezTo>
                    <a:cubicBezTo>
                      <a:pt x="327" y="397"/>
                      <a:pt x="327" y="397"/>
                      <a:pt x="327" y="397"/>
                    </a:cubicBezTo>
                    <a:cubicBezTo>
                      <a:pt x="310" y="403"/>
                      <a:pt x="292" y="394"/>
                      <a:pt x="287" y="377"/>
                    </a:cubicBezTo>
                    <a:cubicBezTo>
                      <a:pt x="267" y="316"/>
                      <a:pt x="267" y="316"/>
                      <a:pt x="267" y="316"/>
                    </a:cubicBezTo>
                    <a:cubicBezTo>
                      <a:pt x="239" y="293"/>
                      <a:pt x="239" y="293"/>
                      <a:pt x="239" y="293"/>
                    </a:cubicBezTo>
                    <a:cubicBezTo>
                      <a:pt x="270" y="347"/>
                      <a:pt x="270" y="347"/>
                      <a:pt x="270" y="347"/>
                    </a:cubicBezTo>
                    <a:cubicBezTo>
                      <a:pt x="270" y="347"/>
                      <a:pt x="270" y="347"/>
                      <a:pt x="270" y="347"/>
                    </a:cubicBezTo>
                    <a:cubicBezTo>
                      <a:pt x="298" y="496"/>
                      <a:pt x="298" y="496"/>
                      <a:pt x="298" y="496"/>
                    </a:cubicBezTo>
                    <a:cubicBezTo>
                      <a:pt x="281" y="499"/>
                      <a:pt x="265" y="488"/>
                      <a:pt x="261" y="471"/>
                    </a:cubicBezTo>
                    <a:cubicBezTo>
                      <a:pt x="240" y="360"/>
                      <a:pt x="240" y="360"/>
                      <a:pt x="240" y="360"/>
                    </a:cubicBezTo>
                    <a:cubicBezTo>
                      <a:pt x="208" y="301"/>
                      <a:pt x="208" y="301"/>
                      <a:pt x="208" y="301"/>
                    </a:cubicBezTo>
                    <a:cubicBezTo>
                      <a:pt x="238" y="377"/>
                      <a:pt x="238" y="377"/>
                      <a:pt x="238" y="377"/>
                    </a:cubicBezTo>
                    <a:cubicBezTo>
                      <a:pt x="243" y="522"/>
                      <a:pt x="243" y="522"/>
                      <a:pt x="243" y="522"/>
                    </a:cubicBezTo>
                    <a:cubicBezTo>
                      <a:pt x="225" y="523"/>
                      <a:pt x="211" y="509"/>
                      <a:pt x="210" y="492"/>
                    </a:cubicBezTo>
                    <a:cubicBezTo>
                      <a:pt x="207" y="388"/>
                      <a:pt x="207" y="388"/>
                      <a:pt x="207" y="388"/>
                    </a:cubicBezTo>
                    <a:cubicBezTo>
                      <a:pt x="182" y="312"/>
                      <a:pt x="182" y="312"/>
                      <a:pt x="182" y="312"/>
                    </a:cubicBezTo>
                    <a:cubicBezTo>
                      <a:pt x="202" y="404"/>
                      <a:pt x="202" y="404"/>
                      <a:pt x="202" y="404"/>
                    </a:cubicBezTo>
                    <a:cubicBezTo>
                      <a:pt x="133" y="439"/>
                      <a:pt x="133" y="439"/>
                      <a:pt x="133" y="439"/>
                    </a:cubicBezTo>
                    <a:cubicBezTo>
                      <a:pt x="124" y="424"/>
                      <a:pt x="128" y="404"/>
                      <a:pt x="142" y="395"/>
                    </a:cubicBezTo>
                    <a:cubicBezTo>
                      <a:pt x="169" y="381"/>
                      <a:pt x="169" y="381"/>
                      <a:pt x="169" y="381"/>
                    </a:cubicBezTo>
                    <a:cubicBezTo>
                      <a:pt x="131" y="291"/>
                      <a:pt x="131" y="291"/>
                      <a:pt x="131" y="291"/>
                    </a:cubicBezTo>
                    <a:cubicBezTo>
                      <a:pt x="131" y="291"/>
                      <a:pt x="114" y="237"/>
                      <a:pt x="69" y="246"/>
                    </a:cubicBezTo>
                    <a:cubicBezTo>
                      <a:pt x="60" y="270"/>
                      <a:pt x="56" y="285"/>
                      <a:pt x="56" y="285"/>
                    </a:cubicBezTo>
                    <a:cubicBezTo>
                      <a:pt x="106" y="356"/>
                      <a:pt x="106" y="356"/>
                      <a:pt x="106" y="356"/>
                    </a:cubicBezTo>
                    <a:cubicBezTo>
                      <a:pt x="117" y="371"/>
                      <a:pt x="109" y="394"/>
                      <a:pt x="94" y="404"/>
                    </a:cubicBezTo>
                    <a:cubicBezTo>
                      <a:pt x="0" y="274"/>
                      <a:pt x="0" y="274"/>
                      <a:pt x="0" y="274"/>
                    </a:cubicBezTo>
                    <a:lnTo>
                      <a:pt x="0" y="0"/>
                    </a:lnTo>
                    <a:close/>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601" name="Freeform 333"/>
              <p:cNvSpPr>
                <a:spLocks/>
              </p:cNvSpPr>
              <p:nvPr/>
            </p:nvSpPr>
            <p:spPr bwMode="auto">
              <a:xfrm>
                <a:off x="1187451" y="1047751"/>
                <a:ext cx="131763" cy="200025"/>
              </a:xfrm>
              <a:custGeom>
                <a:avLst/>
                <a:gdLst>
                  <a:gd name="T0" fmla="*/ 0 w 83"/>
                  <a:gd name="T1" fmla="*/ 0 h 126"/>
                  <a:gd name="T2" fmla="*/ 0 w 83"/>
                  <a:gd name="T3" fmla="*/ 126 h 126"/>
                  <a:gd name="T4" fmla="*/ 61 w 83"/>
                  <a:gd name="T5" fmla="*/ 126 h 126"/>
                  <a:gd name="T6" fmla="*/ 83 w 83"/>
                  <a:gd name="T7" fmla="*/ 0 h 126"/>
                  <a:gd name="T8" fmla="*/ 0 w 83"/>
                  <a:gd name="T9" fmla="*/ 0 h 126"/>
                </a:gdLst>
                <a:ahLst/>
                <a:cxnLst>
                  <a:cxn ang="0">
                    <a:pos x="T0" y="T1"/>
                  </a:cxn>
                  <a:cxn ang="0">
                    <a:pos x="T2" y="T3"/>
                  </a:cxn>
                  <a:cxn ang="0">
                    <a:pos x="T4" y="T5"/>
                  </a:cxn>
                  <a:cxn ang="0">
                    <a:pos x="T6" y="T7"/>
                  </a:cxn>
                  <a:cxn ang="0">
                    <a:pos x="T8" y="T9"/>
                  </a:cxn>
                </a:cxnLst>
                <a:rect l="0" t="0" r="r" b="b"/>
                <a:pathLst>
                  <a:path w="83" h="126">
                    <a:moveTo>
                      <a:pt x="0" y="0"/>
                    </a:moveTo>
                    <a:lnTo>
                      <a:pt x="0" y="126"/>
                    </a:lnTo>
                    <a:lnTo>
                      <a:pt x="61" y="126"/>
                    </a:lnTo>
                    <a:lnTo>
                      <a:pt x="83"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602" name="Freeform 334"/>
              <p:cNvSpPr>
                <a:spLocks/>
              </p:cNvSpPr>
              <p:nvPr/>
            </p:nvSpPr>
            <p:spPr bwMode="auto">
              <a:xfrm>
                <a:off x="1354138" y="1479551"/>
                <a:ext cx="28575" cy="25400"/>
              </a:xfrm>
              <a:custGeom>
                <a:avLst/>
                <a:gdLst>
                  <a:gd name="T0" fmla="*/ 18 w 18"/>
                  <a:gd name="T1" fmla="*/ 6 h 16"/>
                  <a:gd name="T2" fmla="*/ 2 w 18"/>
                  <a:gd name="T3" fmla="*/ 16 h 16"/>
                  <a:gd name="T4" fmla="*/ 0 w 18"/>
                  <a:gd name="T5" fmla="*/ 9 h 16"/>
                  <a:gd name="T6" fmla="*/ 14 w 18"/>
                  <a:gd name="T7" fmla="*/ 0 h 16"/>
                  <a:gd name="T8" fmla="*/ 18 w 18"/>
                  <a:gd name="T9" fmla="*/ 6 h 16"/>
                </a:gdLst>
                <a:ahLst/>
                <a:cxnLst>
                  <a:cxn ang="0">
                    <a:pos x="T0" y="T1"/>
                  </a:cxn>
                  <a:cxn ang="0">
                    <a:pos x="T2" y="T3"/>
                  </a:cxn>
                  <a:cxn ang="0">
                    <a:pos x="T4" y="T5"/>
                  </a:cxn>
                  <a:cxn ang="0">
                    <a:pos x="T6" y="T7"/>
                  </a:cxn>
                  <a:cxn ang="0">
                    <a:pos x="T8" y="T9"/>
                  </a:cxn>
                </a:cxnLst>
                <a:rect l="0" t="0" r="r" b="b"/>
                <a:pathLst>
                  <a:path w="18" h="16">
                    <a:moveTo>
                      <a:pt x="18" y="6"/>
                    </a:moveTo>
                    <a:lnTo>
                      <a:pt x="2" y="16"/>
                    </a:lnTo>
                    <a:lnTo>
                      <a:pt x="0" y="9"/>
                    </a:lnTo>
                    <a:lnTo>
                      <a:pt x="14" y="0"/>
                    </a:lnTo>
                    <a:lnTo>
                      <a:pt x="1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603" name="Freeform 335"/>
              <p:cNvSpPr>
                <a:spLocks noEditPoints="1"/>
              </p:cNvSpPr>
              <p:nvPr/>
            </p:nvSpPr>
            <p:spPr bwMode="auto">
              <a:xfrm>
                <a:off x="1176338" y="1281113"/>
                <a:ext cx="117475" cy="23813"/>
              </a:xfrm>
              <a:custGeom>
                <a:avLst/>
                <a:gdLst>
                  <a:gd name="T0" fmla="*/ 31 w 156"/>
                  <a:gd name="T1" fmla="*/ 16 h 32"/>
                  <a:gd name="T2" fmla="*/ 15 w 156"/>
                  <a:gd name="T3" fmla="*/ 1 h 32"/>
                  <a:gd name="T4" fmla="*/ 0 w 156"/>
                  <a:gd name="T5" fmla="*/ 17 h 32"/>
                  <a:gd name="T6" fmla="*/ 16 w 156"/>
                  <a:gd name="T7" fmla="*/ 32 h 32"/>
                  <a:gd name="T8" fmla="*/ 31 w 156"/>
                  <a:gd name="T9" fmla="*/ 16 h 32"/>
                  <a:gd name="T10" fmla="*/ 62 w 156"/>
                  <a:gd name="T11" fmla="*/ 16 h 32"/>
                  <a:gd name="T12" fmla="*/ 47 w 156"/>
                  <a:gd name="T13" fmla="*/ 0 h 32"/>
                  <a:gd name="T14" fmla="*/ 31 w 156"/>
                  <a:gd name="T15" fmla="*/ 16 h 32"/>
                  <a:gd name="T16" fmla="*/ 47 w 156"/>
                  <a:gd name="T17" fmla="*/ 32 h 32"/>
                  <a:gd name="T18" fmla="*/ 62 w 156"/>
                  <a:gd name="T19" fmla="*/ 16 h 32"/>
                  <a:gd name="T20" fmla="*/ 94 w 156"/>
                  <a:gd name="T21" fmla="*/ 16 h 32"/>
                  <a:gd name="T22" fmla="*/ 78 w 156"/>
                  <a:gd name="T23" fmla="*/ 0 h 32"/>
                  <a:gd name="T24" fmla="*/ 62 w 156"/>
                  <a:gd name="T25" fmla="*/ 16 h 32"/>
                  <a:gd name="T26" fmla="*/ 78 w 156"/>
                  <a:gd name="T27" fmla="*/ 31 h 32"/>
                  <a:gd name="T28" fmla="*/ 94 w 156"/>
                  <a:gd name="T29" fmla="*/ 16 h 32"/>
                  <a:gd name="T30" fmla="*/ 125 w 156"/>
                  <a:gd name="T31" fmla="*/ 15 h 32"/>
                  <a:gd name="T32" fmla="*/ 109 w 156"/>
                  <a:gd name="T33" fmla="*/ 0 h 32"/>
                  <a:gd name="T34" fmla="*/ 94 w 156"/>
                  <a:gd name="T35" fmla="*/ 16 h 32"/>
                  <a:gd name="T36" fmla="*/ 110 w 156"/>
                  <a:gd name="T37" fmla="*/ 31 h 32"/>
                  <a:gd name="T38" fmla="*/ 125 w 156"/>
                  <a:gd name="T39" fmla="*/ 15 h 32"/>
                  <a:gd name="T40" fmla="*/ 156 w 156"/>
                  <a:gd name="T41" fmla="*/ 15 h 32"/>
                  <a:gd name="T42" fmla="*/ 141 w 156"/>
                  <a:gd name="T43" fmla="*/ 0 h 32"/>
                  <a:gd name="T44" fmla="*/ 125 w 156"/>
                  <a:gd name="T45" fmla="*/ 15 h 32"/>
                  <a:gd name="T46" fmla="*/ 141 w 156"/>
                  <a:gd name="T47" fmla="*/ 31 h 32"/>
                  <a:gd name="T48" fmla="*/ 156 w 156"/>
                  <a:gd name="T49"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6" h="32">
                    <a:moveTo>
                      <a:pt x="31" y="16"/>
                    </a:moveTo>
                    <a:cubicBezTo>
                      <a:pt x="31" y="8"/>
                      <a:pt x="24" y="1"/>
                      <a:pt x="15" y="1"/>
                    </a:cubicBezTo>
                    <a:cubicBezTo>
                      <a:pt x="7" y="1"/>
                      <a:pt x="0" y="8"/>
                      <a:pt x="0" y="17"/>
                    </a:cubicBezTo>
                    <a:cubicBezTo>
                      <a:pt x="0" y="25"/>
                      <a:pt x="7" y="32"/>
                      <a:pt x="16" y="32"/>
                    </a:cubicBezTo>
                    <a:cubicBezTo>
                      <a:pt x="24" y="32"/>
                      <a:pt x="31" y="25"/>
                      <a:pt x="31" y="16"/>
                    </a:cubicBezTo>
                    <a:moveTo>
                      <a:pt x="62" y="16"/>
                    </a:moveTo>
                    <a:cubicBezTo>
                      <a:pt x="62" y="7"/>
                      <a:pt x="55" y="0"/>
                      <a:pt x="47" y="0"/>
                    </a:cubicBezTo>
                    <a:cubicBezTo>
                      <a:pt x="38" y="1"/>
                      <a:pt x="31" y="8"/>
                      <a:pt x="31" y="16"/>
                    </a:cubicBezTo>
                    <a:cubicBezTo>
                      <a:pt x="31" y="25"/>
                      <a:pt x="38" y="32"/>
                      <a:pt x="47" y="32"/>
                    </a:cubicBezTo>
                    <a:cubicBezTo>
                      <a:pt x="56" y="32"/>
                      <a:pt x="63" y="25"/>
                      <a:pt x="62" y="16"/>
                    </a:cubicBezTo>
                    <a:moveTo>
                      <a:pt x="94" y="16"/>
                    </a:moveTo>
                    <a:cubicBezTo>
                      <a:pt x="94" y="7"/>
                      <a:pt x="87" y="0"/>
                      <a:pt x="78" y="0"/>
                    </a:cubicBezTo>
                    <a:cubicBezTo>
                      <a:pt x="69" y="0"/>
                      <a:pt x="62" y="7"/>
                      <a:pt x="62" y="16"/>
                    </a:cubicBezTo>
                    <a:cubicBezTo>
                      <a:pt x="63" y="25"/>
                      <a:pt x="70" y="32"/>
                      <a:pt x="78" y="31"/>
                    </a:cubicBezTo>
                    <a:cubicBezTo>
                      <a:pt x="87" y="31"/>
                      <a:pt x="94" y="24"/>
                      <a:pt x="94" y="16"/>
                    </a:cubicBezTo>
                    <a:moveTo>
                      <a:pt x="125" y="15"/>
                    </a:moveTo>
                    <a:cubicBezTo>
                      <a:pt x="125" y="7"/>
                      <a:pt x="118" y="0"/>
                      <a:pt x="109" y="0"/>
                    </a:cubicBezTo>
                    <a:cubicBezTo>
                      <a:pt x="101" y="0"/>
                      <a:pt x="94" y="7"/>
                      <a:pt x="94" y="16"/>
                    </a:cubicBezTo>
                    <a:cubicBezTo>
                      <a:pt x="94" y="24"/>
                      <a:pt x="101" y="31"/>
                      <a:pt x="110" y="31"/>
                    </a:cubicBezTo>
                    <a:cubicBezTo>
                      <a:pt x="118" y="31"/>
                      <a:pt x="125" y="24"/>
                      <a:pt x="125" y="15"/>
                    </a:cubicBezTo>
                    <a:moveTo>
                      <a:pt x="156" y="15"/>
                    </a:moveTo>
                    <a:cubicBezTo>
                      <a:pt x="156" y="7"/>
                      <a:pt x="149" y="0"/>
                      <a:pt x="141" y="0"/>
                    </a:cubicBezTo>
                    <a:cubicBezTo>
                      <a:pt x="132" y="0"/>
                      <a:pt x="125" y="7"/>
                      <a:pt x="125" y="15"/>
                    </a:cubicBezTo>
                    <a:cubicBezTo>
                      <a:pt x="125" y="24"/>
                      <a:pt x="132" y="31"/>
                      <a:pt x="141" y="31"/>
                    </a:cubicBezTo>
                    <a:cubicBezTo>
                      <a:pt x="149" y="31"/>
                      <a:pt x="156" y="24"/>
                      <a:pt x="156"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604" name="Freeform 336"/>
              <p:cNvSpPr>
                <a:spLocks/>
              </p:cNvSpPr>
              <p:nvPr/>
            </p:nvSpPr>
            <p:spPr bwMode="auto">
              <a:xfrm>
                <a:off x="2084388" y="1187451"/>
                <a:ext cx="65088" cy="71438"/>
              </a:xfrm>
              <a:custGeom>
                <a:avLst/>
                <a:gdLst>
                  <a:gd name="T0" fmla="*/ 18 w 87"/>
                  <a:gd name="T1" fmla="*/ 95 h 95"/>
                  <a:gd name="T2" fmla="*/ 0 w 87"/>
                  <a:gd name="T3" fmla="*/ 77 h 95"/>
                  <a:gd name="T4" fmla="*/ 0 w 87"/>
                  <a:gd name="T5" fmla="*/ 60 h 95"/>
                  <a:gd name="T6" fmla="*/ 6 w 87"/>
                  <a:gd name="T7" fmla="*/ 47 h 95"/>
                  <a:gd name="T8" fmla="*/ 0 w 87"/>
                  <a:gd name="T9" fmla="*/ 34 h 95"/>
                  <a:gd name="T10" fmla="*/ 0 w 87"/>
                  <a:gd name="T11" fmla="*/ 17 h 95"/>
                  <a:gd name="T12" fmla="*/ 18 w 87"/>
                  <a:gd name="T13" fmla="*/ 0 h 95"/>
                  <a:gd name="T14" fmla="*/ 74 w 87"/>
                  <a:gd name="T15" fmla="*/ 0 h 95"/>
                  <a:gd name="T16" fmla="*/ 85 w 87"/>
                  <a:gd name="T17" fmla="*/ 6 h 95"/>
                  <a:gd name="T18" fmla="*/ 87 w 87"/>
                  <a:gd name="T19" fmla="*/ 15 h 95"/>
                  <a:gd name="T20" fmla="*/ 87 w 87"/>
                  <a:gd name="T21" fmla="*/ 16 h 95"/>
                  <a:gd name="T22" fmla="*/ 87 w 87"/>
                  <a:gd name="T23" fmla="*/ 17 h 95"/>
                  <a:gd name="T24" fmla="*/ 87 w 87"/>
                  <a:gd name="T25" fmla="*/ 34 h 95"/>
                  <a:gd name="T26" fmla="*/ 87 w 87"/>
                  <a:gd name="T27" fmla="*/ 35 h 95"/>
                  <a:gd name="T28" fmla="*/ 87 w 87"/>
                  <a:gd name="T29" fmla="*/ 37 h 95"/>
                  <a:gd name="T30" fmla="*/ 85 w 87"/>
                  <a:gd name="T31" fmla="*/ 45 h 95"/>
                  <a:gd name="T32" fmla="*/ 83 w 87"/>
                  <a:gd name="T33" fmla="*/ 47 h 95"/>
                  <a:gd name="T34" fmla="*/ 85 w 87"/>
                  <a:gd name="T35" fmla="*/ 50 h 95"/>
                  <a:gd name="T36" fmla="*/ 87 w 87"/>
                  <a:gd name="T37" fmla="*/ 58 h 95"/>
                  <a:gd name="T38" fmla="*/ 87 w 87"/>
                  <a:gd name="T39" fmla="*/ 59 h 95"/>
                  <a:gd name="T40" fmla="*/ 87 w 87"/>
                  <a:gd name="T41" fmla="*/ 60 h 95"/>
                  <a:gd name="T42" fmla="*/ 87 w 87"/>
                  <a:gd name="T43" fmla="*/ 77 h 95"/>
                  <a:gd name="T44" fmla="*/ 87 w 87"/>
                  <a:gd name="T45" fmla="*/ 79 h 95"/>
                  <a:gd name="T46" fmla="*/ 87 w 87"/>
                  <a:gd name="T47" fmla="*/ 80 h 95"/>
                  <a:gd name="T48" fmla="*/ 85 w 87"/>
                  <a:gd name="T49" fmla="*/ 88 h 95"/>
                  <a:gd name="T50" fmla="*/ 74 w 87"/>
                  <a:gd name="T51" fmla="*/ 95 h 95"/>
                  <a:gd name="T52" fmla="*/ 18 w 87"/>
                  <a:gd name="T53"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7" h="95">
                    <a:moveTo>
                      <a:pt x="18" y="95"/>
                    </a:moveTo>
                    <a:cubicBezTo>
                      <a:pt x="8" y="95"/>
                      <a:pt x="0" y="87"/>
                      <a:pt x="0" y="77"/>
                    </a:cubicBezTo>
                    <a:cubicBezTo>
                      <a:pt x="0" y="60"/>
                      <a:pt x="0" y="60"/>
                      <a:pt x="0" y="60"/>
                    </a:cubicBezTo>
                    <a:cubicBezTo>
                      <a:pt x="0" y="55"/>
                      <a:pt x="3" y="51"/>
                      <a:pt x="6" y="47"/>
                    </a:cubicBezTo>
                    <a:cubicBezTo>
                      <a:pt x="3" y="44"/>
                      <a:pt x="0" y="40"/>
                      <a:pt x="0" y="34"/>
                    </a:cubicBezTo>
                    <a:cubicBezTo>
                      <a:pt x="0" y="17"/>
                      <a:pt x="0" y="17"/>
                      <a:pt x="0" y="17"/>
                    </a:cubicBezTo>
                    <a:cubicBezTo>
                      <a:pt x="0" y="8"/>
                      <a:pt x="8" y="0"/>
                      <a:pt x="18" y="0"/>
                    </a:cubicBezTo>
                    <a:cubicBezTo>
                      <a:pt x="74" y="0"/>
                      <a:pt x="74" y="0"/>
                      <a:pt x="74" y="0"/>
                    </a:cubicBezTo>
                    <a:cubicBezTo>
                      <a:pt x="79" y="0"/>
                      <a:pt x="83" y="2"/>
                      <a:pt x="85" y="6"/>
                    </a:cubicBezTo>
                    <a:cubicBezTo>
                      <a:pt x="86" y="9"/>
                      <a:pt x="87" y="12"/>
                      <a:pt x="87" y="15"/>
                    </a:cubicBezTo>
                    <a:cubicBezTo>
                      <a:pt x="87" y="16"/>
                      <a:pt x="87" y="16"/>
                      <a:pt x="87" y="16"/>
                    </a:cubicBezTo>
                    <a:cubicBezTo>
                      <a:pt x="87" y="17"/>
                      <a:pt x="87" y="17"/>
                      <a:pt x="87" y="17"/>
                    </a:cubicBezTo>
                    <a:cubicBezTo>
                      <a:pt x="87" y="34"/>
                      <a:pt x="87" y="34"/>
                      <a:pt x="87" y="34"/>
                    </a:cubicBezTo>
                    <a:cubicBezTo>
                      <a:pt x="87" y="35"/>
                      <a:pt x="87" y="35"/>
                      <a:pt x="87" y="35"/>
                    </a:cubicBezTo>
                    <a:cubicBezTo>
                      <a:pt x="87" y="37"/>
                      <a:pt x="87" y="37"/>
                      <a:pt x="87" y="37"/>
                    </a:cubicBezTo>
                    <a:cubicBezTo>
                      <a:pt x="87" y="39"/>
                      <a:pt x="86" y="42"/>
                      <a:pt x="85" y="45"/>
                    </a:cubicBezTo>
                    <a:cubicBezTo>
                      <a:pt x="85" y="46"/>
                      <a:pt x="84" y="47"/>
                      <a:pt x="83" y="47"/>
                    </a:cubicBezTo>
                    <a:cubicBezTo>
                      <a:pt x="84" y="48"/>
                      <a:pt x="85" y="49"/>
                      <a:pt x="85" y="50"/>
                    </a:cubicBezTo>
                    <a:cubicBezTo>
                      <a:pt x="86" y="52"/>
                      <a:pt x="87" y="55"/>
                      <a:pt x="87" y="58"/>
                    </a:cubicBezTo>
                    <a:cubicBezTo>
                      <a:pt x="87" y="59"/>
                      <a:pt x="87" y="59"/>
                      <a:pt x="87" y="59"/>
                    </a:cubicBezTo>
                    <a:cubicBezTo>
                      <a:pt x="87" y="60"/>
                      <a:pt x="87" y="60"/>
                      <a:pt x="87" y="60"/>
                    </a:cubicBezTo>
                    <a:cubicBezTo>
                      <a:pt x="87" y="77"/>
                      <a:pt x="87" y="77"/>
                      <a:pt x="87" y="77"/>
                    </a:cubicBezTo>
                    <a:cubicBezTo>
                      <a:pt x="87" y="79"/>
                      <a:pt x="87" y="79"/>
                      <a:pt x="87" y="79"/>
                    </a:cubicBezTo>
                    <a:cubicBezTo>
                      <a:pt x="87" y="80"/>
                      <a:pt x="87" y="80"/>
                      <a:pt x="87" y="80"/>
                    </a:cubicBezTo>
                    <a:cubicBezTo>
                      <a:pt x="87" y="82"/>
                      <a:pt x="86" y="85"/>
                      <a:pt x="85" y="88"/>
                    </a:cubicBezTo>
                    <a:cubicBezTo>
                      <a:pt x="83" y="92"/>
                      <a:pt x="79" y="95"/>
                      <a:pt x="74" y="95"/>
                    </a:cubicBezTo>
                    <a:cubicBezTo>
                      <a:pt x="18" y="95"/>
                      <a:pt x="18" y="95"/>
                      <a:pt x="18" y="95"/>
                    </a:cubicBezTo>
                  </a:path>
                </a:pathLst>
              </a:custGeom>
              <a:solidFill>
                <a:srgbClr val="6929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605" name="Freeform 337"/>
              <p:cNvSpPr>
                <a:spLocks noEditPoints="1"/>
              </p:cNvSpPr>
              <p:nvPr/>
            </p:nvSpPr>
            <p:spPr bwMode="auto">
              <a:xfrm>
                <a:off x="2092326" y="1193801"/>
                <a:ext cx="50800" cy="58738"/>
              </a:xfrm>
              <a:custGeom>
                <a:avLst/>
                <a:gdLst>
                  <a:gd name="T0" fmla="*/ 65 w 69"/>
                  <a:gd name="T1" fmla="*/ 77 h 77"/>
                  <a:gd name="T2" fmla="*/ 9 w 69"/>
                  <a:gd name="T3" fmla="*/ 77 h 77"/>
                  <a:gd name="T4" fmla="*/ 0 w 69"/>
                  <a:gd name="T5" fmla="*/ 68 h 77"/>
                  <a:gd name="T6" fmla="*/ 0 w 69"/>
                  <a:gd name="T7" fmla="*/ 51 h 77"/>
                  <a:gd name="T8" fmla="*/ 9 w 69"/>
                  <a:gd name="T9" fmla="*/ 43 h 77"/>
                  <a:gd name="T10" fmla="*/ 65 w 69"/>
                  <a:gd name="T11" fmla="*/ 43 h 77"/>
                  <a:gd name="T12" fmla="*/ 69 w 69"/>
                  <a:gd name="T13" fmla="*/ 51 h 77"/>
                  <a:gd name="T14" fmla="*/ 69 w 69"/>
                  <a:gd name="T15" fmla="*/ 68 h 77"/>
                  <a:gd name="T16" fmla="*/ 65 w 69"/>
                  <a:gd name="T17" fmla="*/ 77 h 77"/>
                  <a:gd name="T18" fmla="*/ 65 w 69"/>
                  <a:gd name="T19" fmla="*/ 34 h 77"/>
                  <a:gd name="T20" fmla="*/ 9 w 69"/>
                  <a:gd name="T21" fmla="*/ 34 h 77"/>
                  <a:gd name="T22" fmla="*/ 0 w 69"/>
                  <a:gd name="T23" fmla="*/ 25 h 77"/>
                  <a:gd name="T24" fmla="*/ 0 w 69"/>
                  <a:gd name="T25" fmla="*/ 8 h 77"/>
                  <a:gd name="T26" fmla="*/ 9 w 69"/>
                  <a:gd name="T27" fmla="*/ 0 h 77"/>
                  <a:gd name="T28" fmla="*/ 65 w 69"/>
                  <a:gd name="T29" fmla="*/ 0 h 77"/>
                  <a:gd name="T30" fmla="*/ 69 w 69"/>
                  <a:gd name="T31" fmla="*/ 8 h 77"/>
                  <a:gd name="T32" fmla="*/ 69 w 69"/>
                  <a:gd name="T33" fmla="*/ 25 h 77"/>
                  <a:gd name="T34" fmla="*/ 65 w 69"/>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77">
                    <a:moveTo>
                      <a:pt x="65" y="77"/>
                    </a:moveTo>
                    <a:cubicBezTo>
                      <a:pt x="9" y="77"/>
                      <a:pt x="9" y="77"/>
                      <a:pt x="9" y="77"/>
                    </a:cubicBezTo>
                    <a:cubicBezTo>
                      <a:pt x="4" y="77"/>
                      <a:pt x="0" y="73"/>
                      <a:pt x="0" y="68"/>
                    </a:cubicBezTo>
                    <a:cubicBezTo>
                      <a:pt x="0" y="51"/>
                      <a:pt x="0" y="51"/>
                      <a:pt x="0" y="51"/>
                    </a:cubicBezTo>
                    <a:cubicBezTo>
                      <a:pt x="0" y="47"/>
                      <a:pt x="4" y="43"/>
                      <a:pt x="9" y="43"/>
                    </a:cubicBezTo>
                    <a:cubicBezTo>
                      <a:pt x="65" y="43"/>
                      <a:pt x="65" y="43"/>
                      <a:pt x="65" y="43"/>
                    </a:cubicBezTo>
                    <a:cubicBezTo>
                      <a:pt x="69" y="43"/>
                      <a:pt x="69" y="47"/>
                      <a:pt x="69" y="51"/>
                    </a:cubicBezTo>
                    <a:cubicBezTo>
                      <a:pt x="69" y="68"/>
                      <a:pt x="69" y="68"/>
                      <a:pt x="69" y="68"/>
                    </a:cubicBezTo>
                    <a:cubicBezTo>
                      <a:pt x="69" y="73"/>
                      <a:pt x="69" y="77"/>
                      <a:pt x="65" y="77"/>
                    </a:cubicBezTo>
                    <a:close/>
                    <a:moveTo>
                      <a:pt x="65" y="34"/>
                    </a:moveTo>
                    <a:cubicBezTo>
                      <a:pt x="9" y="34"/>
                      <a:pt x="9" y="34"/>
                      <a:pt x="9" y="34"/>
                    </a:cubicBezTo>
                    <a:cubicBezTo>
                      <a:pt x="4" y="34"/>
                      <a:pt x="0" y="30"/>
                      <a:pt x="0" y="25"/>
                    </a:cubicBezTo>
                    <a:cubicBezTo>
                      <a:pt x="0" y="8"/>
                      <a:pt x="0" y="8"/>
                      <a:pt x="0" y="8"/>
                    </a:cubicBezTo>
                    <a:cubicBezTo>
                      <a:pt x="0" y="3"/>
                      <a:pt x="4" y="0"/>
                      <a:pt x="9" y="0"/>
                    </a:cubicBezTo>
                    <a:cubicBezTo>
                      <a:pt x="65" y="0"/>
                      <a:pt x="65" y="0"/>
                      <a:pt x="65" y="0"/>
                    </a:cubicBezTo>
                    <a:cubicBezTo>
                      <a:pt x="69" y="0"/>
                      <a:pt x="69" y="3"/>
                      <a:pt x="69" y="8"/>
                    </a:cubicBezTo>
                    <a:cubicBezTo>
                      <a:pt x="69" y="25"/>
                      <a:pt x="69" y="25"/>
                      <a:pt x="69" y="25"/>
                    </a:cubicBezTo>
                    <a:cubicBezTo>
                      <a:pt x="69" y="30"/>
                      <a:pt x="69" y="34"/>
                      <a:pt x="65"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606" name="Freeform 338"/>
              <p:cNvSpPr>
                <a:spLocks/>
              </p:cNvSpPr>
              <p:nvPr/>
            </p:nvSpPr>
            <p:spPr bwMode="auto">
              <a:xfrm>
                <a:off x="2046288" y="1143001"/>
                <a:ext cx="103188" cy="128588"/>
              </a:xfrm>
              <a:custGeom>
                <a:avLst/>
                <a:gdLst>
                  <a:gd name="T0" fmla="*/ 17 w 138"/>
                  <a:gd name="T1" fmla="*/ 172 h 172"/>
                  <a:gd name="T2" fmla="*/ 0 w 138"/>
                  <a:gd name="T3" fmla="*/ 155 h 172"/>
                  <a:gd name="T4" fmla="*/ 0 w 138"/>
                  <a:gd name="T5" fmla="*/ 17 h 172"/>
                  <a:gd name="T6" fmla="*/ 17 w 138"/>
                  <a:gd name="T7" fmla="*/ 0 h 172"/>
                  <a:gd name="T8" fmla="*/ 107 w 138"/>
                  <a:gd name="T9" fmla="*/ 0 h 172"/>
                  <a:gd name="T10" fmla="*/ 119 w 138"/>
                  <a:gd name="T11" fmla="*/ 6 h 172"/>
                  <a:gd name="T12" fmla="*/ 120 w 138"/>
                  <a:gd name="T13" fmla="*/ 8 h 172"/>
                  <a:gd name="T14" fmla="*/ 125 w 138"/>
                  <a:gd name="T15" fmla="*/ 8 h 172"/>
                  <a:gd name="T16" fmla="*/ 136 w 138"/>
                  <a:gd name="T17" fmla="*/ 15 h 172"/>
                  <a:gd name="T18" fmla="*/ 138 w 138"/>
                  <a:gd name="T19" fmla="*/ 23 h 172"/>
                  <a:gd name="T20" fmla="*/ 138 w 138"/>
                  <a:gd name="T21" fmla="*/ 25 h 172"/>
                  <a:gd name="T22" fmla="*/ 138 w 138"/>
                  <a:gd name="T23" fmla="*/ 26 h 172"/>
                  <a:gd name="T24" fmla="*/ 138 w 138"/>
                  <a:gd name="T25" fmla="*/ 51 h 172"/>
                  <a:gd name="T26" fmla="*/ 138 w 138"/>
                  <a:gd name="T27" fmla="*/ 52 h 172"/>
                  <a:gd name="T28" fmla="*/ 138 w 138"/>
                  <a:gd name="T29" fmla="*/ 54 h 172"/>
                  <a:gd name="T30" fmla="*/ 136 w 138"/>
                  <a:gd name="T31" fmla="*/ 62 h 172"/>
                  <a:gd name="T32" fmla="*/ 125 w 138"/>
                  <a:gd name="T33" fmla="*/ 69 h 172"/>
                  <a:gd name="T34" fmla="*/ 120 w 138"/>
                  <a:gd name="T35" fmla="*/ 69 h 172"/>
                  <a:gd name="T36" fmla="*/ 120 w 138"/>
                  <a:gd name="T37" fmla="*/ 155 h 172"/>
                  <a:gd name="T38" fmla="*/ 120 w 138"/>
                  <a:gd name="T39" fmla="*/ 156 h 172"/>
                  <a:gd name="T40" fmla="*/ 120 w 138"/>
                  <a:gd name="T41" fmla="*/ 157 h 172"/>
                  <a:gd name="T42" fmla="*/ 119 w 138"/>
                  <a:gd name="T43" fmla="*/ 165 h 172"/>
                  <a:gd name="T44" fmla="*/ 107 w 138"/>
                  <a:gd name="T45" fmla="*/ 172 h 172"/>
                  <a:gd name="T46" fmla="*/ 17 w 138"/>
                  <a:gd name="T47"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8" h="172">
                    <a:moveTo>
                      <a:pt x="17" y="172"/>
                    </a:moveTo>
                    <a:cubicBezTo>
                      <a:pt x="8" y="172"/>
                      <a:pt x="0" y="164"/>
                      <a:pt x="0" y="155"/>
                    </a:cubicBezTo>
                    <a:cubicBezTo>
                      <a:pt x="0" y="17"/>
                      <a:pt x="0" y="17"/>
                      <a:pt x="0" y="17"/>
                    </a:cubicBezTo>
                    <a:cubicBezTo>
                      <a:pt x="0" y="7"/>
                      <a:pt x="8" y="0"/>
                      <a:pt x="17" y="0"/>
                    </a:cubicBezTo>
                    <a:cubicBezTo>
                      <a:pt x="107" y="0"/>
                      <a:pt x="107" y="0"/>
                      <a:pt x="107" y="0"/>
                    </a:cubicBezTo>
                    <a:cubicBezTo>
                      <a:pt x="112" y="0"/>
                      <a:pt x="117" y="2"/>
                      <a:pt x="119" y="6"/>
                    </a:cubicBezTo>
                    <a:cubicBezTo>
                      <a:pt x="119" y="7"/>
                      <a:pt x="119" y="8"/>
                      <a:pt x="120" y="8"/>
                    </a:cubicBezTo>
                    <a:cubicBezTo>
                      <a:pt x="122" y="8"/>
                      <a:pt x="125" y="8"/>
                      <a:pt x="125" y="8"/>
                    </a:cubicBezTo>
                    <a:cubicBezTo>
                      <a:pt x="130" y="8"/>
                      <a:pt x="134" y="11"/>
                      <a:pt x="136" y="15"/>
                    </a:cubicBezTo>
                    <a:cubicBezTo>
                      <a:pt x="137" y="18"/>
                      <a:pt x="138" y="21"/>
                      <a:pt x="138" y="23"/>
                    </a:cubicBezTo>
                    <a:cubicBezTo>
                      <a:pt x="138" y="25"/>
                      <a:pt x="138" y="25"/>
                      <a:pt x="138" y="25"/>
                    </a:cubicBezTo>
                    <a:cubicBezTo>
                      <a:pt x="138" y="26"/>
                      <a:pt x="138" y="26"/>
                      <a:pt x="138" y="26"/>
                    </a:cubicBezTo>
                    <a:cubicBezTo>
                      <a:pt x="138" y="51"/>
                      <a:pt x="138" y="51"/>
                      <a:pt x="138" y="51"/>
                    </a:cubicBezTo>
                    <a:cubicBezTo>
                      <a:pt x="138" y="52"/>
                      <a:pt x="138" y="52"/>
                      <a:pt x="138" y="52"/>
                    </a:cubicBezTo>
                    <a:cubicBezTo>
                      <a:pt x="138" y="54"/>
                      <a:pt x="138" y="54"/>
                      <a:pt x="138" y="54"/>
                    </a:cubicBezTo>
                    <a:cubicBezTo>
                      <a:pt x="138" y="56"/>
                      <a:pt x="137" y="59"/>
                      <a:pt x="136" y="62"/>
                    </a:cubicBezTo>
                    <a:cubicBezTo>
                      <a:pt x="134" y="66"/>
                      <a:pt x="130" y="69"/>
                      <a:pt x="125" y="69"/>
                    </a:cubicBezTo>
                    <a:cubicBezTo>
                      <a:pt x="125" y="69"/>
                      <a:pt x="122" y="69"/>
                      <a:pt x="120" y="69"/>
                    </a:cubicBezTo>
                    <a:cubicBezTo>
                      <a:pt x="120" y="83"/>
                      <a:pt x="120" y="155"/>
                      <a:pt x="120" y="155"/>
                    </a:cubicBezTo>
                    <a:cubicBezTo>
                      <a:pt x="120" y="156"/>
                      <a:pt x="120" y="156"/>
                      <a:pt x="120" y="156"/>
                    </a:cubicBezTo>
                    <a:cubicBezTo>
                      <a:pt x="120" y="157"/>
                      <a:pt x="120" y="157"/>
                      <a:pt x="120" y="157"/>
                    </a:cubicBezTo>
                    <a:cubicBezTo>
                      <a:pt x="120" y="160"/>
                      <a:pt x="120" y="163"/>
                      <a:pt x="119" y="165"/>
                    </a:cubicBezTo>
                    <a:cubicBezTo>
                      <a:pt x="117" y="170"/>
                      <a:pt x="112" y="172"/>
                      <a:pt x="107" y="172"/>
                    </a:cubicBezTo>
                    <a:cubicBezTo>
                      <a:pt x="17" y="172"/>
                      <a:pt x="17" y="172"/>
                      <a:pt x="17" y="172"/>
                    </a:cubicBezTo>
                  </a:path>
                </a:pathLst>
              </a:custGeom>
              <a:solidFill>
                <a:srgbClr val="6929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607" name="Freeform 339"/>
              <p:cNvSpPr>
                <a:spLocks noEditPoints="1"/>
              </p:cNvSpPr>
              <p:nvPr/>
            </p:nvSpPr>
            <p:spPr bwMode="auto">
              <a:xfrm>
                <a:off x="2052638" y="1149351"/>
                <a:ext cx="90488" cy="115888"/>
              </a:xfrm>
              <a:custGeom>
                <a:avLst/>
                <a:gdLst>
                  <a:gd name="T0" fmla="*/ 117 w 121"/>
                  <a:gd name="T1" fmla="*/ 52 h 155"/>
                  <a:gd name="T2" fmla="*/ 61 w 121"/>
                  <a:gd name="T3" fmla="*/ 52 h 155"/>
                  <a:gd name="T4" fmla="*/ 52 w 121"/>
                  <a:gd name="T5" fmla="*/ 43 h 155"/>
                  <a:gd name="T6" fmla="*/ 52 w 121"/>
                  <a:gd name="T7" fmla="*/ 18 h 155"/>
                  <a:gd name="T8" fmla="*/ 61 w 121"/>
                  <a:gd name="T9" fmla="*/ 9 h 155"/>
                  <a:gd name="T10" fmla="*/ 117 w 121"/>
                  <a:gd name="T11" fmla="*/ 9 h 155"/>
                  <a:gd name="T12" fmla="*/ 121 w 121"/>
                  <a:gd name="T13" fmla="*/ 18 h 155"/>
                  <a:gd name="T14" fmla="*/ 121 w 121"/>
                  <a:gd name="T15" fmla="*/ 43 h 155"/>
                  <a:gd name="T16" fmla="*/ 117 w 121"/>
                  <a:gd name="T17" fmla="*/ 52 h 155"/>
                  <a:gd name="T18" fmla="*/ 99 w 121"/>
                  <a:gd name="T19" fmla="*/ 155 h 155"/>
                  <a:gd name="T20" fmla="*/ 9 w 121"/>
                  <a:gd name="T21" fmla="*/ 155 h 155"/>
                  <a:gd name="T22" fmla="*/ 0 w 121"/>
                  <a:gd name="T23" fmla="*/ 147 h 155"/>
                  <a:gd name="T24" fmla="*/ 0 w 121"/>
                  <a:gd name="T25" fmla="*/ 9 h 155"/>
                  <a:gd name="T26" fmla="*/ 9 w 121"/>
                  <a:gd name="T27" fmla="*/ 0 h 155"/>
                  <a:gd name="T28" fmla="*/ 99 w 121"/>
                  <a:gd name="T29" fmla="*/ 0 h 155"/>
                  <a:gd name="T30" fmla="*/ 104 w 121"/>
                  <a:gd name="T31" fmla="*/ 9 h 155"/>
                  <a:gd name="T32" fmla="*/ 104 w 121"/>
                  <a:gd name="T33" fmla="*/ 147 h 155"/>
                  <a:gd name="T34" fmla="*/ 99 w 121"/>
                  <a:gd name="T35"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1" h="155">
                    <a:moveTo>
                      <a:pt x="117" y="52"/>
                    </a:moveTo>
                    <a:cubicBezTo>
                      <a:pt x="61" y="52"/>
                      <a:pt x="61" y="52"/>
                      <a:pt x="61" y="52"/>
                    </a:cubicBezTo>
                    <a:cubicBezTo>
                      <a:pt x="56" y="52"/>
                      <a:pt x="52" y="48"/>
                      <a:pt x="52" y="43"/>
                    </a:cubicBezTo>
                    <a:cubicBezTo>
                      <a:pt x="52" y="18"/>
                      <a:pt x="52" y="18"/>
                      <a:pt x="52" y="18"/>
                    </a:cubicBezTo>
                    <a:cubicBezTo>
                      <a:pt x="52" y="13"/>
                      <a:pt x="56" y="9"/>
                      <a:pt x="61" y="9"/>
                    </a:cubicBezTo>
                    <a:cubicBezTo>
                      <a:pt x="117" y="9"/>
                      <a:pt x="117" y="9"/>
                      <a:pt x="117" y="9"/>
                    </a:cubicBezTo>
                    <a:cubicBezTo>
                      <a:pt x="121" y="9"/>
                      <a:pt x="121" y="13"/>
                      <a:pt x="121" y="18"/>
                    </a:cubicBezTo>
                    <a:cubicBezTo>
                      <a:pt x="121" y="43"/>
                      <a:pt x="121" y="43"/>
                      <a:pt x="121" y="43"/>
                    </a:cubicBezTo>
                    <a:cubicBezTo>
                      <a:pt x="121" y="48"/>
                      <a:pt x="121" y="52"/>
                      <a:pt x="117" y="52"/>
                    </a:cubicBezTo>
                    <a:close/>
                    <a:moveTo>
                      <a:pt x="99" y="155"/>
                    </a:moveTo>
                    <a:cubicBezTo>
                      <a:pt x="9" y="155"/>
                      <a:pt x="9" y="155"/>
                      <a:pt x="9" y="155"/>
                    </a:cubicBezTo>
                    <a:cubicBezTo>
                      <a:pt x="4" y="155"/>
                      <a:pt x="0" y="151"/>
                      <a:pt x="0" y="147"/>
                    </a:cubicBezTo>
                    <a:cubicBezTo>
                      <a:pt x="0" y="9"/>
                      <a:pt x="0" y="9"/>
                      <a:pt x="0" y="9"/>
                    </a:cubicBezTo>
                    <a:cubicBezTo>
                      <a:pt x="0" y="4"/>
                      <a:pt x="4" y="0"/>
                      <a:pt x="9" y="0"/>
                    </a:cubicBezTo>
                    <a:cubicBezTo>
                      <a:pt x="99" y="0"/>
                      <a:pt x="99" y="0"/>
                      <a:pt x="99" y="0"/>
                    </a:cubicBezTo>
                    <a:cubicBezTo>
                      <a:pt x="104" y="0"/>
                      <a:pt x="104" y="4"/>
                      <a:pt x="104" y="9"/>
                    </a:cubicBezTo>
                    <a:cubicBezTo>
                      <a:pt x="104" y="147"/>
                      <a:pt x="104" y="147"/>
                      <a:pt x="104" y="147"/>
                    </a:cubicBezTo>
                    <a:cubicBezTo>
                      <a:pt x="104" y="151"/>
                      <a:pt x="104" y="155"/>
                      <a:pt x="99" y="1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608" name="Freeform 340"/>
              <p:cNvSpPr>
                <a:spLocks noEditPoints="1"/>
              </p:cNvSpPr>
              <p:nvPr/>
            </p:nvSpPr>
            <p:spPr bwMode="auto">
              <a:xfrm>
                <a:off x="2046288" y="1162051"/>
                <a:ext cx="71438" cy="82550"/>
              </a:xfrm>
              <a:custGeom>
                <a:avLst/>
                <a:gdLst>
                  <a:gd name="T0" fmla="*/ 0 w 45"/>
                  <a:gd name="T1" fmla="*/ 28 h 52"/>
                  <a:gd name="T2" fmla="*/ 0 w 45"/>
                  <a:gd name="T3" fmla="*/ 24 h 52"/>
                  <a:gd name="T4" fmla="*/ 45 w 45"/>
                  <a:gd name="T5" fmla="*/ 24 h 52"/>
                  <a:gd name="T6" fmla="*/ 45 w 45"/>
                  <a:gd name="T7" fmla="*/ 28 h 52"/>
                  <a:gd name="T8" fmla="*/ 0 w 45"/>
                  <a:gd name="T9" fmla="*/ 28 h 52"/>
                  <a:gd name="T10" fmla="*/ 0 w 45"/>
                  <a:gd name="T11" fmla="*/ 52 h 52"/>
                  <a:gd name="T12" fmla="*/ 0 w 45"/>
                  <a:gd name="T13" fmla="*/ 49 h 52"/>
                  <a:gd name="T14" fmla="*/ 45 w 45"/>
                  <a:gd name="T15" fmla="*/ 49 h 52"/>
                  <a:gd name="T16" fmla="*/ 45 w 45"/>
                  <a:gd name="T17" fmla="*/ 52 h 52"/>
                  <a:gd name="T18" fmla="*/ 0 w 45"/>
                  <a:gd name="T19" fmla="*/ 52 h 52"/>
                  <a:gd name="T20" fmla="*/ 0 w 45"/>
                  <a:gd name="T21" fmla="*/ 41 h 52"/>
                  <a:gd name="T22" fmla="*/ 0 w 45"/>
                  <a:gd name="T23" fmla="*/ 36 h 52"/>
                  <a:gd name="T24" fmla="*/ 45 w 45"/>
                  <a:gd name="T25" fmla="*/ 36 h 52"/>
                  <a:gd name="T26" fmla="*/ 45 w 45"/>
                  <a:gd name="T27" fmla="*/ 41 h 52"/>
                  <a:gd name="T28" fmla="*/ 0 w 45"/>
                  <a:gd name="T29" fmla="*/ 41 h 52"/>
                  <a:gd name="T30" fmla="*/ 0 w 45"/>
                  <a:gd name="T31" fmla="*/ 16 h 52"/>
                  <a:gd name="T32" fmla="*/ 0 w 45"/>
                  <a:gd name="T33" fmla="*/ 12 h 52"/>
                  <a:gd name="T34" fmla="*/ 45 w 45"/>
                  <a:gd name="T35" fmla="*/ 12 h 52"/>
                  <a:gd name="T36" fmla="*/ 45 w 45"/>
                  <a:gd name="T37" fmla="*/ 16 h 52"/>
                  <a:gd name="T38" fmla="*/ 0 w 45"/>
                  <a:gd name="T39" fmla="*/ 16 h 52"/>
                  <a:gd name="T40" fmla="*/ 0 w 45"/>
                  <a:gd name="T41" fmla="*/ 4 h 52"/>
                  <a:gd name="T42" fmla="*/ 0 w 45"/>
                  <a:gd name="T43" fmla="*/ 0 h 52"/>
                  <a:gd name="T44" fmla="*/ 45 w 45"/>
                  <a:gd name="T45" fmla="*/ 0 h 52"/>
                  <a:gd name="T46" fmla="*/ 45 w 45"/>
                  <a:gd name="T47" fmla="*/ 4 h 52"/>
                  <a:gd name="T48" fmla="*/ 0 w 45"/>
                  <a:gd name="T49" fmla="*/ 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5" h="52">
                    <a:moveTo>
                      <a:pt x="0" y="28"/>
                    </a:moveTo>
                    <a:lnTo>
                      <a:pt x="0" y="24"/>
                    </a:lnTo>
                    <a:lnTo>
                      <a:pt x="45" y="24"/>
                    </a:lnTo>
                    <a:lnTo>
                      <a:pt x="45" y="28"/>
                    </a:lnTo>
                    <a:lnTo>
                      <a:pt x="0" y="28"/>
                    </a:lnTo>
                    <a:close/>
                    <a:moveTo>
                      <a:pt x="0" y="52"/>
                    </a:moveTo>
                    <a:lnTo>
                      <a:pt x="0" y="49"/>
                    </a:lnTo>
                    <a:lnTo>
                      <a:pt x="45" y="49"/>
                    </a:lnTo>
                    <a:lnTo>
                      <a:pt x="45" y="52"/>
                    </a:lnTo>
                    <a:lnTo>
                      <a:pt x="0" y="52"/>
                    </a:lnTo>
                    <a:close/>
                    <a:moveTo>
                      <a:pt x="0" y="41"/>
                    </a:moveTo>
                    <a:lnTo>
                      <a:pt x="0" y="36"/>
                    </a:lnTo>
                    <a:lnTo>
                      <a:pt x="45" y="36"/>
                    </a:lnTo>
                    <a:lnTo>
                      <a:pt x="45" y="41"/>
                    </a:lnTo>
                    <a:lnTo>
                      <a:pt x="0" y="41"/>
                    </a:lnTo>
                    <a:close/>
                    <a:moveTo>
                      <a:pt x="0" y="16"/>
                    </a:moveTo>
                    <a:lnTo>
                      <a:pt x="0" y="12"/>
                    </a:lnTo>
                    <a:lnTo>
                      <a:pt x="45" y="12"/>
                    </a:lnTo>
                    <a:lnTo>
                      <a:pt x="45" y="16"/>
                    </a:lnTo>
                    <a:lnTo>
                      <a:pt x="0" y="16"/>
                    </a:lnTo>
                    <a:close/>
                    <a:moveTo>
                      <a:pt x="0" y="4"/>
                    </a:moveTo>
                    <a:lnTo>
                      <a:pt x="0" y="0"/>
                    </a:lnTo>
                    <a:lnTo>
                      <a:pt x="45" y="0"/>
                    </a:lnTo>
                    <a:lnTo>
                      <a:pt x="45" y="4"/>
                    </a:lnTo>
                    <a:lnTo>
                      <a:pt x="0" y="4"/>
                    </a:lnTo>
                    <a:close/>
                  </a:path>
                </a:pathLst>
              </a:custGeom>
              <a:solidFill>
                <a:srgbClr val="6929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609" name="Freeform 341"/>
              <p:cNvSpPr>
                <a:spLocks/>
              </p:cNvSpPr>
              <p:nvPr/>
            </p:nvSpPr>
            <p:spPr bwMode="auto">
              <a:xfrm>
                <a:off x="1995488" y="1130301"/>
                <a:ext cx="88900" cy="153988"/>
              </a:xfrm>
              <a:custGeom>
                <a:avLst/>
                <a:gdLst>
                  <a:gd name="T0" fmla="*/ 56 w 56"/>
                  <a:gd name="T1" fmla="*/ 0 h 97"/>
                  <a:gd name="T2" fmla="*/ 0 w 56"/>
                  <a:gd name="T3" fmla="*/ 10 h 97"/>
                  <a:gd name="T4" fmla="*/ 0 w 56"/>
                  <a:gd name="T5" fmla="*/ 87 h 97"/>
                  <a:gd name="T6" fmla="*/ 56 w 56"/>
                  <a:gd name="T7" fmla="*/ 97 h 97"/>
                  <a:gd name="T8" fmla="*/ 56 w 56"/>
                  <a:gd name="T9" fmla="*/ 0 h 97"/>
                </a:gdLst>
                <a:ahLst/>
                <a:cxnLst>
                  <a:cxn ang="0">
                    <a:pos x="T0" y="T1"/>
                  </a:cxn>
                  <a:cxn ang="0">
                    <a:pos x="T2" y="T3"/>
                  </a:cxn>
                  <a:cxn ang="0">
                    <a:pos x="T4" y="T5"/>
                  </a:cxn>
                  <a:cxn ang="0">
                    <a:pos x="T6" y="T7"/>
                  </a:cxn>
                  <a:cxn ang="0">
                    <a:pos x="T8" y="T9"/>
                  </a:cxn>
                </a:cxnLst>
                <a:rect l="0" t="0" r="r" b="b"/>
                <a:pathLst>
                  <a:path w="56" h="97">
                    <a:moveTo>
                      <a:pt x="56" y="0"/>
                    </a:moveTo>
                    <a:lnTo>
                      <a:pt x="0" y="10"/>
                    </a:lnTo>
                    <a:lnTo>
                      <a:pt x="0" y="87"/>
                    </a:lnTo>
                    <a:lnTo>
                      <a:pt x="56" y="97"/>
                    </a:lnTo>
                    <a:lnTo>
                      <a:pt x="5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611" name="Freeform 343"/>
              <p:cNvSpPr>
                <a:spLocks/>
              </p:cNvSpPr>
              <p:nvPr/>
            </p:nvSpPr>
            <p:spPr bwMode="auto">
              <a:xfrm>
                <a:off x="1150938" y="1598613"/>
                <a:ext cx="115888" cy="128588"/>
              </a:xfrm>
              <a:custGeom>
                <a:avLst/>
                <a:gdLst>
                  <a:gd name="T0" fmla="*/ 12 w 155"/>
                  <a:gd name="T1" fmla="*/ 172 h 172"/>
                  <a:gd name="T2" fmla="*/ 0 w 155"/>
                  <a:gd name="T3" fmla="*/ 160 h 172"/>
                  <a:gd name="T4" fmla="*/ 0 w 155"/>
                  <a:gd name="T5" fmla="*/ 12 h 172"/>
                  <a:gd name="T6" fmla="*/ 12 w 155"/>
                  <a:gd name="T7" fmla="*/ 0 h 172"/>
                  <a:gd name="T8" fmla="*/ 144 w 155"/>
                  <a:gd name="T9" fmla="*/ 0 h 172"/>
                  <a:gd name="T10" fmla="*/ 155 w 155"/>
                  <a:gd name="T11" fmla="*/ 12 h 172"/>
                  <a:gd name="T12" fmla="*/ 155 w 155"/>
                  <a:gd name="T13" fmla="*/ 160 h 172"/>
                  <a:gd name="T14" fmla="*/ 144 w 155"/>
                  <a:gd name="T15" fmla="*/ 172 h 172"/>
                  <a:gd name="T16" fmla="*/ 12 w 155"/>
                  <a:gd name="T17"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 h="172">
                    <a:moveTo>
                      <a:pt x="12" y="172"/>
                    </a:moveTo>
                    <a:cubicBezTo>
                      <a:pt x="5" y="172"/>
                      <a:pt x="0" y="167"/>
                      <a:pt x="0" y="160"/>
                    </a:cubicBezTo>
                    <a:cubicBezTo>
                      <a:pt x="0" y="12"/>
                      <a:pt x="0" y="12"/>
                      <a:pt x="0" y="12"/>
                    </a:cubicBezTo>
                    <a:cubicBezTo>
                      <a:pt x="0" y="6"/>
                      <a:pt x="5" y="0"/>
                      <a:pt x="12" y="0"/>
                    </a:cubicBezTo>
                    <a:cubicBezTo>
                      <a:pt x="144" y="0"/>
                      <a:pt x="144" y="0"/>
                      <a:pt x="144" y="0"/>
                    </a:cubicBezTo>
                    <a:cubicBezTo>
                      <a:pt x="150" y="0"/>
                      <a:pt x="155" y="6"/>
                      <a:pt x="155" y="12"/>
                    </a:cubicBezTo>
                    <a:cubicBezTo>
                      <a:pt x="155" y="160"/>
                      <a:pt x="155" y="160"/>
                      <a:pt x="155" y="160"/>
                    </a:cubicBezTo>
                    <a:cubicBezTo>
                      <a:pt x="155" y="167"/>
                      <a:pt x="150" y="172"/>
                      <a:pt x="144" y="172"/>
                    </a:cubicBezTo>
                    <a:cubicBezTo>
                      <a:pt x="12" y="172"/>
                      <a:pt x="12" y="172"/>
                      <a:pt x="12" y="172"/>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612" name="Freeform 344"/>
              <p:cNvSpPr>
                <a:spLocks/>
              </p:cNvSpPr>
              <p:nvPr/>
            </p:nvSpPr>
            <p:spPr bwMode="auto">
              <a:xfrm>
                <a:off x="1158876" y="1604963"/>
                <a:ext cx="101600" cy="115888"/>
              </a:xfrm>
              <a:custGeom>
                <a:avLst/>
                <a:gdLst>
                  <a:gd name="T0" fmla="*/ 3 w 137"/>
                  <a:gd name="T1" fmla="*/ 0 h 155"/>
                  <a:gd name="T2" fmla="*/ 135 w 137"/>
                  <a:gd name="T3" fmla="*/ 0 h 155"/>
                  <a:gd name="T4" fmla="*/ 137 w 137"/>
                  <a:gd name="T5" fmla="*/ 3 h 155"/>
                  <a:gd name="T6" fmla="*/ 137 w 137"/>
                  <a:gd name="T7" fmla="*/ 151 h 155"/>
                  <a:gd name="T8" fmla="*/ 135 w 137"/>
                  <a:gd name="T9" fmla="*/ 155 h 155"/>
                  <a:gd name="T10" fmla="*/ 3 w 137"/>
                  <a:gd name="T11" fmla="*/ 155 h 155"/>
                  <a:gd name="T12" fmla="*/ 0 w 137"/>
                  <a:gd name="T13" fmla="*/ 151 h 155"/>
                  <a:gd name="T14" fmla="*/ 0 w 137"/>
                  <a:gd name="T15" fmla="*/ 3 h 155"/>
                  <a:gd name="T16" fmla="*/ 3 w 137"/>
                  <a:gd name="T17"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 h="155">
                    <a:moveTo>
                      <a:pt x="3" y="0"/>
                    </a:moveTo>
                    <a:cubicBezTo>
                      <a:pt x="135" y="0"/>
                      <a:pt x="135" y="0"/>
                      <a:pt x="135" y="0"/>
                    </a:cubicBezTo>
                    <a:cubicBezTo>
                      <a:pt x="136" y="0"/>
                      <a:pt x="137" y="1"/>
                      <a:pt x="137" y="3"/>
                    </a:cubicBezTo>
                    <a:cubicBezTo>
                      <a:pt x="137" y="151"/>
                      <a:pt x="137" y="151"/>
                      <a:pt x="137" y="151"/>
                    </a:cubicBezTo>
                    <a:cubicBezTo>
                      <a:pt x="137" y="153"/>
                      <a:pt x="136" y="155"/>
                      <a:pt x="135" y="155"/>
                    </a:cubicBezTo>
                    <a:cubicBezTo>
                      <a:pt x="3" y="155"/>
                      <a:pt x="3" y="155"/>
                      <a:pt x="3" y="155"/>
                    </a:cubicBezTo>
                    <a:cubicBezTo>
                      <a:pt x="1" y="155"/>
                      <a:pt x="0" y="153"/>
                      <a:pt x="0" y="151"/>
                    </a:cubicBezTo>
                    <a:cubicBezTo>
                      <a:pt x="0" y="3"/>
                      <a:pt x="0" y="3"/>
                      <a:pt x="0" y="3"/>
                    </a:cubicBezTo>
                    <a:cubicBezTo>
                      <a:pt x="0" y="1"/>
                      <a:pt x="1" y="0"/>
                      <a:pt x="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613" name="Freeform 345"/>
              <p:cNvSpPr>
                <a:spLocks noEditPoints="1"/>
              </p:cNvSpPr>
              <p:nvPr/>
            </p:nvSpPr>
            <p:spPr bwMode="auto">
              <a:xfrm>
                <a:off x="1163638" y="1617663"/>
                <a:ext cx="84138" cy="84138"/>
              </a:xfrm>
              <a:custGeom>
                <a:avLst/>
                <a:gdLst>
                  <a:gd name="T0" fmla="*/ 0 w 53"/>
                  <a:gd name="T1" fmla="*/ 53 h 53"/>
                  <a:gd name="T2" fmla="*/ 0 w 53"/>
                  <a:gd name="T3" fmla="*/ 49 h 53"/>
                  <a:gd name="T4" fmla="*/ 53 w 53"/>
                  <a:gd name="T5" fmla="*/ 49 h 53"/>
                  <a:gd name="T6" fmla="*/ 53 w 53"/>
                  <a:gd name="T7" fmla="*/ 53 h 53"/>
                  <a:gd name="T8" fmla="*/ 0 w 53"/>
                  <a:gd name="T9" fmla="*/ 53 h 53"/>
                  <a:gd name="T10" fmla="*/ 0 w 53"/>
                  <a:gd name="T11" fmla="*/ 41 h 53"/>
                  <a:gd name="T12" fmla="*/ 0 w 53"/>
                  <a:gd name="T13" fmla="*/ 36 h 53"/>
                  <a:gd name="T14" fmla="*/ 53 w 53"/>
                  <a:gd name="T15" fmla="*/ 36 h 53"/>
                  <a:gd name="T16" fmla="*/ 53 w 53"/>
                  <a:gd name="T17" fmla="*/ 41 h 53"/>
                  <a:gd name="T18" fmla="*/ 0 w 53"/>
                  <a:gd name="T19" fmla="*/ 41 h 53"/>
                  <a:gd name="T20" fmla="*/ 0 w 53"/>
                  <a:gd name="T21" fmla="*/ 28 h 53"/>
                  <a:gd name="T22" fmla="*/ 0 w 53"/>
                  <a:gd name="T23" fmla="*/ 24 h 53"/>
                  <a:gd name="T24" fmla="*/ 53 w 53"/>
                  <a:gd name="T25" fmla="*/ 24 h 53"/>
                  <a:gd name="T26" fmla="*/ 53 w 53"/>
                  <a:gd name="T27" fmla="*/ 28 h 53"/>
                  <a:gd name="T28" fmla="*/ 0 w 53"/>
                  <a:gd name="T29" fmla="*/ 28 h 53"/>
                  <a:gd name="T30" fmla="*/ 53 w 53"/>
                  <a:gd name="T31" fmla="*/ 16 h 53"/>
                  <a:gd name="T32" fmla="*/ 0 w 53"/>
                  <a:gd name="T33" fmla="*/ 16 h 53"/>
                  <a:gd name="T34" fmla="*/ 0 w 53"/>
                  <a:gd name="T35" fmla="*/ 12 h 53"/>
                  <a:gd name="T36" fmla="*/ 53 w 53"/>
                  <a:gd name="T37" fmla="*/ 12 h 53"/>
                  <a:gd name="T38" fmla="*/ 53 w 53"/>
                  <a:gd name="T39" fmla="*/ 16 h 53"/>
                  <a:gd name="T40" fmla="*/ 53 w 53"/>
                  <a:gd name="T41" fmla="*/ 4 h 53"/>
                  <a:gd name="T42" fmla="*/ 0 w 53"/>
                  <a:gd name="T43" fmla="*/ 4 h 53"/>
                  <a:gd name="T44" fmla="*/ 0 w 53"/>
                  <a:gd name="T45" fmla="*/ 0 h 53"/>
                  <a:gd name="T46" fmla="*/ 53 w 53"/>
                  <a:gd name="T47" fmla="*/ 0 h 53"/>
                  <a:gd name="T48" fmla="*/ 53 w 53"/>
                  <a:gd name="T49" fmla="*/ 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53">
                    <a:moveTo>
                      <a:pt x="0" y="53"/>
                    </a:moveTo>
                    <a:lnTo>
                      <a:pt x="0" y="49"/>
                    </a:lnTo>
                    <a:lnTo>
                      <a:pt x="53" y="49"/>
                    </a:lnTo>
                    <a:lnTo>
                      <a:pt x="53" y="53"/>
                    </a:lnTo>
                    <a:lnTo>
                      <a:pt x="0" y="53"/>
                    </a:lnTo>
                    <a:close/>
                    <a:moveTo>
                      <a:pt x="0" y="41"/>
                    </a:moveTo>
                    <a:lnTo>
                      <a:pt x="0" y="36"/>
                    </a:lnTo>
                    <a:lnTo>
                      <a:pt x="53" y="36"/>
                    </a:lnTo>
                    <a:lnTo>
                      <a:pt x="53" y="41"/>
                    </a:lnTo>
                    <a:lnTo>
                      <a:pt x="0" y="41"/>
                    </a:lnTo>
                    <a:close/>
                    <a:moveTo>
                      <a:pt x="0" y="28"/>
                    </a:moveTo>
                    <a:lnTo>
                      <a:pt x="0" y="24"/>
                    </a:lnTo>
                    <a:lnTo>
                      <a:pt x="53" y="24"/>
                    </a:lnTo>
                    <a:lnTo>
                      <a:pt x="53" y="28"/>
                    </a:lnTo>
                    <a:lnTo>
                      <a:pt x="0" y="28"/>
                    </a:lnTo>
                    <a:close/>
                    <a:moveTo>
                      <a:pt x="53" y="16"/>
                    </a:moveTo>
                    <a:lnTo>
                      <a:pt x="0" y="16"/>
                    </a:lnTo>
                    <a:lnTo>
                      <a:pt x="0" y="12"/>
                    </a:lnTo>
                    <a:lnTo>
                      <a:pt x="53" y="12"/>
                    </a:lnTo>
                    <a:lnTo>
                      <a:pt x="53" y="16"/>
                    </a:lnTo>
                    <a:close/>
                    <a:moveTo>
                      <a:pt x="53" y="4"/>
                    </a:moveTo>
                    <a:lnTo>
                      <a:pt x="0" y="4"/>
                    </a:lnTo>
                    <a:lnTo>
                      <a:pt x="0" y="0"/>
                    </a:lnTo>
                    <a:lnTo>
                      <a:pt x="53" y="0"/>
                    </a:lnTo>
                    <a:lnTo>
                      <a:pt x="53" y="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614" name="Freeform 346"/>
              <p:cNvSpPr>
                <a:spLocks/>
              </p:cNvSpPr>
              <p:nvPr/>
            </p:nvSpPr>
            <p:spPr bwMode="auto">
              <a:xfrm>
                <a:off x="1112838" y="1585913"/>
                <a:ext cx="90488" cy="153988"/>
              </a:xfrm>
              <a:custGeom>
                <a:avLst/>
                <a:gdLst>
                  <a:gd name="T0" fmla="*/ 57 w 57"/>
                  <a:gd name="T1" fmla="*/ 0 h 97"/>
                  <a:gd name="T2" fmla="*/ 0 w 57"/>
                  <a:gd name="T3" fmla="*/ 10 h 97"/>
                  <a:gd name="T4" fmla="*/ 0 w 57"/>
                  <a:gd name="T5" fmla="*/ 87 h 97"/>
                  <a:gd name="T6" fmla="*/ 57 w 57"/>
                  <a:gd name="T7" fmla="*/ 97 h 97"/>
                  <a:gd name="T8" fmla="*/ 57 w 57"/>
                  <a:gd name="T9" fmla="*/ 0 h 97"/>
                </a:gdLst>
                <a:ahLst/>
                <a:cxnLst>
                  <a:cxn ang="0">
                    <a:pos x="T0" y="T1"/>
                  </a:cxn>
                  <a:cxn ang="0">
                    <a:pos x="T2" y="T3"/>
                  </a:cxn>
                  <a:cxn ang="0">
                    <a:pos x="T4" y="T5"/>
                  </a:cxn>
                  <a:cxn ang="0">
                    <a:pos x="T6" y="T7"/>
                  </a:cxn>
                  <a:cxn ang="0">
                    <a:pos x="T8" y="T9"/>
                  </a:cxn>
                </a:cxnLst>
                <a:rect l="0" t="0" r="r" b="b"/>
                <a:pathLst>
                  <a:path w="57" h="97">
                    <a:moveTo>
                      <a:pt x="57" y="0"/>
                    </a:moveTo>
                    <a:lnTo>
                      <a:pt x="0" y="10"/>
                    </a:lnTo>
                    <a:lnTo>
                      <a:pt x="0" y="87"/>
                    </a:lnTo>
                    <a:lnTo>
                      <a:pt x="57" y="97"/>
                    </a:lnTo>
                    <a:lnTo>
                      <a:pt x="5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616" name="Freeform 348"/>
              <p:cNvSpPr>
                <a:spLocks/>
              </p:cNvSpPr>
              <p:nvPr/>
            </p:nvSpPr>
            <p:spPr bwMode="auto">
              <a:xfrm>
                <a:off x="1912938" y="2254251"/>
                <a:ext cx="98425" cy="115888"/>
              </a:xfrm>
              <a:custGeom>
                <a:avLst/>
                <a:gdLst>
                  <a:gd name="T0" fmla="*/ 11 w 130"/>
                  <a:gd name="T1" fmla="*/ 155 h 155"/>
                  <a:gd name="T2" fmla="*/ 0 w 130"/>
                  <a:gd name="T3" fmla="*/ 143 h 155"/>
                  <a:gd name="T4" fmla="*/ 0 w 130"/>
                  <a:gd name="T5" fmla="*/ 11 h 155"/>
                  <a:gd name="T6" fmla="*/ 11 w 130"/>
                  <a:gd name="T7" fmla="*/ 0 h 155"/>
                  <a:gd name="T8" fmla="*/ 119 w 130"/>
                  <a:gd name="T9" fmla="*/ 0 h 155"/>
                  <a:gd name="T10" fmla="*/ 130 w 130"/>
                  <a:gd name="T11" fmla="*/ 11 h 155"/>
                  <a:gd name="T12" fmla="*/ 130 w 130"/>
                  <a:gd name="T13" fmla="*/ 144 h 155"/>
                  <a:gd name="T14" fmla="*/ 119 w 130"/>
                  <a:gd name="T15" fmla="*/ 155 h 155"/>
                  <a:gd name="T16" fmla="*/ 11 w 130"/>
                  <a:gd name="T17"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55">
                    <a:moveTo>
                      <a:pt x="11" y="155"/>
                    </a:moveTo>
                    <a:cubicBezTo>
                      <a:pt x="5" y="155"/>
                      <a:pt x="0" y="149"/>
                      <a:pt x="0" y="143"/>
                    </a:cubicBezTo>
                    <a:cubicBezTo>
                      <a:pt x="0" y="11"/>
                      <a:pt x="0" y="11"/>
                      <a:pt x="0" y="11"/>
                    </a:cubicBezTo>
                    <a:cubicBezTo>
                      <a:pt x="0" y="5"/>
                      <a:pt x="5" y="0"/>
                      <a:pt x="11" y="0"/>
                    </a:cubicBezTo>
                    <a:cubicBezTo>
                      <a:pt x="119" y="0"/>
                      <a:pt x="119" y="0"/>
                      <a:pt x="119" y="0"/>
                    </a:cubicBezTo>
                    <a:cubicBezTo>
                      <a:pt x="126" y="0"/>
                      <a:pt x="130" y="4"/>
                      <a:pt x="130" y="11"/>
                    </a:cubicBezTo>
                    <a:cubicBezTo>
                      <a:pt x="130" y="144"/>
                      <a:pt x="130" y="144"/>
                      <a:pt x="130" y="144"/>
                    </a:cubicBezTo>
                    <a:cubicBezTo>
                      <a:pt x="130" y="150"/>
                      <a:pt x="126" y="155"/>
                      <a:pt x="119" y="155"/>
                    </a:cubicBezTo>
                    <a:cubicBezTo>
                      <a:pt x="11" y="155"/>
                      <a:pt x="11" y="155"/>
                      <a:pt x="11" y="155"/>
                    </a:cubicBezTo>
                  </a:path>
                </a:pathLst>
              </a:custGeom>
              <a:solidFill>
                <a:srgbClr val="0087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617" name="Freeform 349"/>
              <p:cNvSpPr>
                <a:spLocks/>
              </p:cNvSpPr>
              <p:nvPr/>
            </p:nvSpPr>
            <p:spPr bwMode="auto">
              <a:xfrm>
                <a:off x="1919288" y="2260601"/>
                <a:ext cx="85725" cy="103188"/>
              </a:xfrm>
              <a:custGeom>
                <a:avLst/>
                <a:gdLst>
                  <a:gd name="T0" fmla="*/ 3 w 114"/>
                  <a:gd name="T1" fmla="*/ 0 h 138"/>
                  <a:gd name="T2" fmla="*/ 111 w 114"/>
                  <a:gd name="T3" fmla="*/ 0 h 138"/>
                  <a:gd name="T4" fmla="*/ 114 w 114"/>
                  <a:gd name="T5" fmla="*/ 3 h 138"/>
                  <a:gd name="T6" fmla="*/ 114 w 114"/>
                  <a:gd name="T7" fmla="*/ 136 h 138"/>
                  <a:gd name="T8" fmla="*/ 111 w 114"/>
                  <a:gd name="T9" fmla="*/ 138 h 138"/>
                  <a:gd name="T10" fmla="*/ 3 w 114"/>
                  <a:gd name="T11" fmla="*/ 138 h 138"/>
                  <a:gd name="T12" fmla="*/ 0 w 114"/>
                  <a:gd name="T13" fmla="*/ 135 h 138"/>
                  <a:gd name="T14" fmla="*/ 0 w 114"/>
                  <a:gd name="T15" fmla="*/ 3 h 138"/>
                  <a:gd name="T16" fmla="*/ 3 w 114"/>
                  <a:gd name="T1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38">
                    <a:moveTo>
                      <a:pt x="3" y="0"/>
                    </a:moveTo>
                    <a:cubicBezTo>
                      <a:pt x="111" y="0"/>
                      <a:pt x="111" y="0"/>
                      <a:pt x="111" y="0"/>
                    </a:cubicBezTo>
                    <a:cubicBezTo>
                      <a:pt x="113" y="0"/>
                      <a:pt x="114" y="1"/>
                      <a:pt x="114" y="3"/>
                    </a:cubicBezTo>
                    <a:cubicBezTo>
                      <a:pt x="114" y="136"/>
                      <a:pt x="114" y="136"/>
                      <a:pt x="114" y="136"/>
                    </a:cubicBezTo>
                    <a:cubicBezTo>
                      <a:pt x="114" y="138"/>
                      <a:pt x="113" y="138"/>
                      <a:pt x="111" y="138"/>
                    </a:cubicBezTo>
                    <a:cubicBezTo>
                      <a:pt x="3" y="138"/>
                      <a:pt x="3" y="138"/>
                      <a:pt x="3" y="138"/>
                    </a:cubicBezTo>
                    <a:cubicBezTo>
                      <a:pt x="1" y="138"/>
                      <a:pt x="0" y="137"/>
                      <a:pt x="0" y="135"/>
                    </a:cubicBezTo>
                    <a:cubicBezTo>
                      <a:pt x="0" y="3"/>
                      <a:pt x="0" y="3"/>
                      <a:pt x="0" y="3"/>
                    </a:cubicBezTo>
                    <a:cubicBezTo>
                      <a:pt x="0" y="2"/>
                      <a:pt x="2" y="0"/>
                      <a:pt x="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618" name="Freeform 350"/>
              <p:cNvSpPr>
                <a:spLocks noEditPoints="1"/>
              </p:cNvSpPr>
              <p:nvPr/>
            </p:nvSpPr>
            <p:spPr bwMode="auto">
              <a:xfrm>
                <a:off x="1939926" y="2266951"/>
                <a:ext cx="58738" cy="90488"/>
              </a:xfrm>
              <a:custGeom>
                <a:avLst/>
                <a:gdLst>
                  <a:gd name="T0" fmla="*/ 0 w 37"/>
                  <a:gd name="T1" fmla="*/ 57 h 57"/>
                  <a:gd name="T2" fmla="*/ 0 w 37"/>
                  <a:gd name="T3" fmla="*/ 49 h 57"/>
                  <a:gd name="T4" fmla="*/ 16 w 37"/>
                  <a:gd name="T5" fmla="*/ 49 h 57"/>
                  <a:gd name="T6" fmla="*/ 16 w 37"/>
                  <a:gd name="T7" fmla="*/ 57 h 57"/>
                  <a:gd name="T8" fmla="*/ 0 w 37"/>
                  <a:gd name="T9" fmla="*/ 57 h 57"/>
                  <a:gd name="T10" fmla="*/ 21 w 37"/>
                  <a:gd name="T11" fmla="*/ 57 h 57"/>
                  <a:gd name="T12" fmla="*/ 21 w 37"/>
                  <a:gd name="T13" fmla="*/ 49 h 57"/>
                  <a:gd name="T14" fmla="*/ 37 w 37"/>
                  <a:gd name="T15" fmla="*/ 49 h 57"/>
                  <a:gd name="T16" fmla="*/ 37 w 37"/>
                  <a:gd name="T17" fmla="*/ 57 h 57"/>
                  <a:gd name="T18" fmla="*/ 21 w 37"/>
                  <a:gd name="T19" fmla="*/ 57 h 57"/>
                  <a:gd name="T20" fmla="*/ 0 w 37"/>
                  <a:gd name="T21" fmla="*/ 45 h 57"/>
                  <a:gd name="T22" fmla="*/ 0 w 37"/>
                  <a:gd name="T23" fmla="*/ 37 h 57"/>
                  <a:gd name="T24" fmla="*/ 16 w 37"/>
                  <a:gd name="T25" fmla="*/ 37 h 57"/>
                  <a:gd name="T26" fmla="*/ 16 w 37"/>
                  <a:gd name="T27" fmla="*/ 45 h 57"/>
                  <a:gd name="T28" fmla="*/ 0 w 37"/>
                  <a:gd name="T29" fmla="*/ 45 h 57"/>
                  <a:gd name="T30" fmla="*/ 21 w 37"/>
                  <a:gd name="T31" fmla="*/ 45 h 57"/>
                  <a:gd name="T32" fmla="*/ 21 w 37"/>
                  <a:gd name="T33" fmla="*/ 37 h 57"/>
                  <a:gd name="T34" fmla="*/ 37 w 37"/>
                  <a:gd name="T35" fmla="*/ 37 h 57"/>
                  <a:gd name="T36" fmla="*/ 37 w 37"/>
                  <a:gd name="T37" fmla="*/ 45 h 57"/>
                  <a:gd name="T38" fmla="*/ 21 w 37"/>
                  <a:gd name="T39" fmla="*/ 45 h 57"/>
                  <a:gd name="T40" fmla="*/ 0 w 37"/>
                  <a:gd name="T41" fmla="*/ 33 h 57"/>
                  <a:gd name="T42" fmla="*/ 0 w 37"/>
                  <a:gd name="T43" fmla="*/ 25 h 57"/>
                  <a:gd name="T44" fmla="*/ 16 w 37"/>
                  <a:gd name="T45" fmla="*/ 25 h 57"/>
                  <a:gd name="T46" fmla="*/ 16 w 37"/>
                  <a:gd name="T47" fmla="*/ 33 h 57"/>
                  <a:gd name="T48" fmla="*/ 0 w 37"/>
                  <a:gd name="T49" fmla="*/ 33 h 57"/>
                  <a:gd name="T50" fmla="*/ 21 w 37"/>
                  <a:gd name="T51" fmla="*/ 33 h 57"/>
                  <a:gd name="T52" fmla="*/ 21 w 37"/>
                  <a:gd name="T53" fmla="*/ 25 h 57"/>
                  <a:gd name="T54" fmla="*/ 37 w 37"/>
                  <a:gd name="T55" fmla="*/ 25 h 57"/>
                  <a:gd name="T56" fmla="*/ 37 w 37"/>
                  <a:gd name="T57" fmla="*/ 33 h 57"/>
                  <a:gd name="T58" fmla="*/ 21 w 37"/>
                  <a:gd name="T59" fmla="*/ 33 h 57"/>
                  <a:gd name="T60" fmla="*/ 0 w 37"/>
                  <a:gd name="T61" fmla="*/ 21 h 57"/>
                  <a:gd name="T62" fmla="*/ 0 w 37"/>
                  <a:gd name="T63" fmla="*/ 13 h 57"/>
                  <a:gd name="T64" fmla="*/ 16 w 37"/>
                  <a:gd name="T65" fmla="*/ 13 h 57"/>
                  <a:gd name="T66" fmla="*/ 16 w 37"/>
                  <a:gd name="T67" fmla="*/ 21 h 57"/>
                  <a:gd name="T68" fmla="*/ 0 w 37"/>
                  <a:gd name="T69" fmla="*/ 21 h 57"/>
                  <a:gd name="T70" fmla="*/ 21 w 37"/>
                  <a:gd name="T71" fmla="*/ 21 h 57"/>
                  <a:gd name="T72" fmla="*/ 21 w 37"/>
                  <a:gd name="T73" fmla="*/ 13 h 57"/>
                  <a:gd name="T74" fmla="*/ 37 w 37"/>
                  <a:gd name="T75" fmla="*/ 13 h 57"/>
                  <a:gd name="T76" fmla="*/ 37 w 37"/>
                  <a:gd name="T77" fmla="*/ 21 h 57"/>
                  <a:gd name="T78" fmla="*/ 21 w 37"/>
                  <a:gd name="T79" fmla="*/ 21 h 57"/>
                  <a:gd name="T80" fmla="*/ 0 w 37"/>
                  <a:gd name="T81" fmla="*/ 8 h 57"/>
                  <a:gd name="T82" fmla="*/ 0 w 37"/>
                  <a:gd name="T83" fmla="*/ 0 h 57"/>
                  <a:gd name="T84" fmla="*/ 16 w 37"/>
                  <a:gd name="T85" fmla="*/ 0 h 57"/>
                  <a:gd name="T86" fmla="*/ 16 w 37"/>
                  <a:gd name="T87" fmla="*/ 8 h 57"/>
                  <a:gd name="T88" fmla="*/ 0 w 37"/>
                  <a:gd name="T89" fmla="*/ 8 h 57"/>
                  <a:gd name="T90" fmla="*/ 21 w 37"/>
                  <a:gd name="T91" fmla="*/ 8 h 57"/>
                  <a:gd name="T92" fmla="*/ 21 w 37"/>
                  <a:gd name="T93" fmla="*/ 0 h 57"/>
                  <a:gd name="T94" fmla="*/ 37 w 37"/>
                  <a:gd name="T95" fmla="*/ 0 h 57"/>
                  <a:gd name="T96" fmla="*/ 37 w 37"/>
                  <a:gd name="T97" fmla="*/ 8 h 57"/>
                  <a:gd name="T98" fmla="*/ 21 w 37"/>
                  <a:gd name="T99"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 h="57">
                    <a:moveTo>
                      <a:pt x="0" y="57"/>
                    </a:moveTo>
                    <a:lnTo>
                      <a:pt x="0" y="49"/>
                    </a:lnTo>
                    <a:lnTo>
                      <a:pt x="16" y="49"/>
                    </a:lnTo>
                    <a:lnTo>
                      <a:pt x="16" y="57"/>
                    </a:lnTo>
                    <a:lnTo>
                      <a:pt x="0" y="57"/>
                    </a:lnTo>
                    <a:close/>
                    <a:moveTo>
                      <a:pt x="21" y="57"/>
                    </a:moveTo>
                    <a:lnTo>
                      <a:pt x="21" y="49"/>
                    </a:lnTo>
                    <a:lnTo>
                      <a:pt x="37" y="49"/>
                    </a:lnTo>
                    <a:lnTo>
                      <a:pt x="37" y="57"/>
                    </a:lnTo>
                    <a:lnTo>
                      <a:pt x="21" y="57"/>
                    </a:lnTo>
                    <a:close/>
                    <a:moveTo>
                      <a:pt x="0" y="45"/>
                    </a:moveTo>
                    <a:lnTo>
                      <a:pt x="0" y="37"/>
                    </a:lnTo>
                    <a:lnTo>
                      <a:pt x="16" y="37"/>
                    </a:lnTo>
                    <a:lnTo>
                      <a:pt x="16" y="45"/>
                    </a:lnTo>
                    <a:lnTo>
                      <a:pt x="0" y="45"/>
                    </a:lnTo>
                    <a:close/>
                    <a:moveTo>
                      <a:pt x="21" y="45"/>
                    </a:moveTo>
                    <a:lnTo>
                      <a:pt x="21" y="37"/>
                    </a:lnTo>
                    <a:lnTo>
                      <a:pt x="37" y="37"/>
                    </a:lnTo>
                    <a:lnTo>
                      <a:pt x="37" y="45"/>
                    </a:lnTo>
                    <a:lnTo>
                      <a:pt x="21" y="45"/>
                    </a:lnTo>
                    <a:close/>
                    <a:moveTo>
                      <a:pt x="0" y="33"/>
                    </a:moveTo>
                    <a:lnTo>
                      <a:pt x="0" y="25"/>
                    </a:lnTo>
                    <a:lnTo>
                      <a:pt x="16" y="25"/>
                    </a:lnTo>
                    <a:lnTo>
                      <a:pt x="16" y="33"/>
                    </a:lnTo>
                    <a:lnTo>
                      <a:pt x="0" y="33"/>
                    </a:lnTo>
                    <a:close/>
                    <a:moveTo>
                      <a:pt x="21" y="33"/>
                    </a:moveTo>
                    <a:lnTo>
                      <a:pt x="21" y="25"/>
                    </a:lnTo>
                    <a:lnTo>
                      <a:pt x="37" y="25"/>
                    </a:lnTo>
                    <a:lnTo>
                      <a:pt x="37" y="33"/>
                    </a:lnTo>
                    <a:lnTo>
                      <a:pt x="21" y="33"/>
                    </a:lnTo>
                    <a:close/>
                    <a:moveTo>
                      <a:pt x="0" y="21"/>
                    </a:moveTo>
                    <a:lnTo>
                      <a:pt x="0" y="13"/>
                    </a:lnTo>
                    <a:lnTo>
                      <a:pt x="16" y="13"/>
                    </a:lnTo>
                    <a:lnTo>
                      <a:pt x="16" y="21"/>
                    </a:lnTo>
                    <a:lnTo>
                      <a:pt x="0" y="21"/>
                    </a:lnTo>
                    <a:close/>
                    <a:moveTo>
                      <a:pt x="21" y="21"/>
                    </a:moveTo>
                    <a:lnTo>
                      <a:pt x="21" y="13"/>
                    </a:lnTo>
                    <a:lnTo>
                      <a:pt x="37" y="13"/>
                    </a:lnTo>
                    <a:lnTo>
                      <a:pt x="37" y="21"/>
                    </a:lnTo>
                    <a:lnTo>
                      <a:pt x="21" y="21"/>
                    </a:lnTo>
                    <a:close/>
                    <a:moveTo>
                      <a:pt x="0" y="8"/>
                    </a:moveTo>
                    <a:lnTo>
                      <a:pt x="0" y="0"/>
                    </a:lnTo>
                    <a:lnTo>
                      <a:pt x="16" y="0"/>
                    </a:lnTo>
                    <a:lnTo>
                      <a:pt x="16" y="8"/>
                    </a:lnTo>
                    <a:lnTo>
                      <a:pt x="0" y="8"/>
                    </a:lnTo>
                    <a:close/>
                    <a:moveTo>
                      <a:pt x="21" y="8"/>
                    </a:moveTo>
                    <a:lnTo>
                      <a:pt x="21" y="0"/>
                    </a:lnTo>
                    <a:lnTo>
                      <a:pt x="37" y="0"/>
                    </a:lnTo>
                    <a:lnTo>
                      <a:pt x="37" y="8"/>
                    </a:lnTo>
                    <a:lnTo>
                      <a:pt x="21" y="8"/>
                    </a:lnTo>
                    <a:close/>
                  </a:path>
                </a:pathLst>
              </a:custGeom>
              <a:solidFill>
                <a:srgbClr val="0087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619" name="Freeform 351"/>
              <p:cNvSpPr>
                <a:spLocks/>
              </p:cNvSpPr>
              <p:nvPr/>
            </p:nvSpPr>
            <p:spPr bwMode="auto">
              <a:xfrm>
                <a:off x="1857376" y="2235201"/>
                <a:ext cx="88900" cy="153988"/>
              </a:xfrm>
              <a:custGeom>
                <a:avLst/>
                <a:gdLst>
                  <a:gd name="T0" fmla="*/ 56 w 56"/>
                  <a:gd name="T1" fmla="*/ 0 h 97"/>
                  <a:gd name="T2" fmla="*/ 0 w 56"/>
                  <a:gd name="T3" fmla="*/ 10 h 97"/>
                  <a:gd name="T4" fmla="*/ 0 w 56"/>
                  <a:gd name="T5" fmla="*/ 87 h 97"/>
                  <a:gd name="T6" fmla="*/ 56 w 56"/>
                  <a:gd name="T7" fmla="*/ 97 h 97"/>
                  <a:gd name="T8" fmla="*/ 56 w 56"/>
                  <a:gd name="T9" fmla="*/ 0 h 97"/>
                </a:gdLst>
                <a:ahLst/>
                <a:cxnLst>
                  <a:cxn ang="0">
                    <a:pos x="T0" y="T1"/>
                  </a:cxn>
                  <a:cxn ang="0">
                    <a:pos x="T2" y="T3"/>
                  </a:cxn>
                  <a:cxn ang="0">
                    <a:pos x="T4" y="T5"/>
                  </a:cxn>
                  <a:cxn ang="0">
                    <a:pos x="T6" y="T7"/>
                  </a:cxn>
                  <a:cxn ang="0">
                    <a:pos x="T8" y="T9"/>
                  </a:cxn>
                </a:cxnLst>
                <a:rect l="0" t="0" r="r" b="b"/>
                <a:pathLst>
                  <a:path w="56" h="97">
                    <a:moveTo>
                      <a:pt x="56" y="0"/>
                    </a:moveTo>
                    <a:lnTo>
                      <a:pt x="0" y="10"/>
                    </a:lnTo>
                    <a:lnTo>
                      <a:pt x="0" y="87"/>
                    </a:lnTo>
                    <a:lnTo>
                      <a:pt x="56" y="97"/>
                    </a:lnTo>
                    <a:lnTo>
                      <a:pt x="5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621" name="Freeform 353"/>
              <p:cNvSpPr>
                <a:spLocks/>
              </p:cNvSpPr>
              <p:nvPr/>
            </p:nvSpPr>
            <p:spPr bwMode="auto">
              <a:xfrm>
                <a:off x="1289051" y="2449513"/>
                <a:ext cx="115888" cy="128588"/>
              </a:xfrm>
              <a:custGeom>
                <a:avLst/>
                <a:gdLst>
                  <a:gd name="T0" fmla="*/ 11 w 155"/>
                  <a:gd name="T1" fmla="*/ 172 h 172"/>
                  <a:gd name="T2" fmla="*/ 0 w 155"/>
                  <a:gd name="T3" fmla="*/ 160 h 172"/>
                  <a:gd name="T4" fmla="*/ 0 w 155"/>
                  <a:gd name="T5" fmla="*/ 12 h 172"/>
                  <a:gd name="T6" fmla="*/ 11 w 155"/>
                  <a:gd name="T7" fmla="*/ 0 h 172"/>
                  <a:gd name="T8" fmla="*/ 143 w 155"/>
                  <a:gd name="T9" fmla="*/ 0 h 172"/>
                  <a:gd name="T10" fmla="*/ 155 w 155"/>
                  <a:gd name="T11" fmla="*/ 12 h 172"/>
                  <a:gd name="T12" fmla="*/ 155 w 155"/>
                  <a:gd name="T13" fmla="*/ 160 h 172"/>
                  <a:gd name="T14" fmla="*/ 143 w 155"/>
                  <a:gd name="T15" fmla="*/ 172 h 172"/>
                  <a:gd name="T16" fmla="*/ 11 w 155"/>
                  <a:gd name="T17"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 h="172">
                    <a:moveTo>
                      <a:pt x="11" y="172"/>
                    </a:moveTo>
                    <a:cubicBezTo>
                      <a:pt x="5" y="172"/>
                      <a:pt x="0" y="166"/>
                      <a:pt x="0" y="160"/>
                    </a:cubicBezTo>
                    <a:cubicBezTo>
                      <a:pt x="0" y="12"/>
                      <a:pt x="0" y="12"/>
                      <a:pt x="0" y="12"/>
                    </a:cubicBezTo>
                    <a:cubicBezTo>
                      <a:pt x="0" y="5"/>
                      <a:pt x="5" y="0"/>
                      <a:pt x="11" y="0"/>
                    </a:cubicBezTo>
                    <a:cubicBezTo>
                      <a:pt x="143" y="0"/>
                      <a:pt x="143" y="0"/>
                      <a:pt x="143" y="0"/>
                    </a:cubicBezTo>
                    <a:cubicBezTo>
                      <a:pt x="150" y="0"/>
                      <a:pt x="155" y="5"/>
                      <a:pt x="155" y="12"/>
                    </a:cubicBezTo>
                    <a:cubicBezTo>
                      <a:pt x="155" y="160"/>
                      <a:pt x="155" y="160"/>
                      <a:pt x="155" y="160"/>
                    </a:cubicBezTo>
                    <a:cubicBezTo>
                      <a:pt x="155" y="166"/>
                      <a:pt x="150" y="172"/>
                      <a:pt x="143" y="172"/>
                    </a:cubicBezTo>
                    <a:cubicBezTo>
                      <a:pt x="11" y="172"/>
                      <a:pt x="11" y="172"/>
                      <a:pt x="11" y="172"/>
                    </a:cubicBezTo>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622" name="Freeform 354"/>
              <p:cNvSpPr>
                <a:spLocks/>
              </p:cNvSpPr>
              <p:nvPr/>
            </p:nvSpPr>
            <p:spPr bwMode="auto">
              <a:xfrm>
                <a:off x="1293813" y="2455863"/>
                <a:ext cx="103188" cy="115888"/>
              </a:xfrm>
              <a:custGeom>
                <a:avLst/>
                <a:gdLst>
                  <a:gd name="T0" fmla="*/ 3 w 138"/>
                  <a:gd name="T1" fmla="*/ 0 h 155"/>
                  <a:gd name="T2" fmla="*/ 135 w 138"/>
                  <a:gd name="T3" fmla="*/ 0 h 155"/>
                  <a:gd name="T4" fmla="*/ 138 w 138"/>
                  <a:gd name="T5" fmla="*/ 4 h 155"/>
                  <a:gd name="T6" fmla="*/ 138 w 138"/>
                  <a:gd name="T7" fmla="*/ 152 h 155"/>
                  <a:gd name="T8" fmla="*/ 135 w 138"/>
                  <a:gd name="T9" fmla="*/ 155 h 155"/>
                  <a:gd name="T10" fmla="*/ 3 w 138"/>
                  <a:gd name="T11" fmla="*/ 155 h 155"/>
                  <a:gd name="T12" fmla="*/ 0 w 138"/>
                  <a:gd name="T13" fmla="*/ 152 h 155"/>
                  <a:gd name="T14" fmla="*/ 0 w 138"/>
                  <a:gd name="T15" fmla="*/ 4 h 155"/>
                  <a:gd name="T16" fmla="*/ 3 w 138"/>
                  <a:gd name="T17"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 h="155">
                    <a:moveTo>
                      <a:pt x="3" y="0"/>
                    </a:moveTo>
                    <a:cubicBezTo>
                      <a:pt x="135" y="0"/>
                      <a:pt x="135" y="0"/>
                      <a:pt x="135" y="0"/>
                    </a:cubicBezTo>
                    <a:cubicBezTo>
                      <a:pt x="137" y="0"/>
                      <a:pt x="138" y="2"/>
                      <a:pt x="138" y="4"/>
                    </a:cubicBezTo>
                    <a:cubicBezTo>
                      <a:pt x="138" y="152"/>
                      <a:pt x="138" y="152"/>
                      <a:pt x="138" y="152"/>
                    </a:cubicBezTo>
                    <a:cubicBezTo>
                      <a:pt x="138" y="154"/>
                      <a:pt x="137" y="155"/>
                      <a:pt x="135" y="155"/>
                    </a:cubicBezTo>
                    <a:cubicBezTo>
                      <a:pt x="3" y="155"/>
                      <a:pt x="3" y="155"/>
                      <a:pt x="3" y="155"/>
                    </a:cubicBezTo>
                    <a:cubicBezTo>
                      <a:pt x="2" y="155"/>
                      <a:pt x="0" y="154"/>
                      <a:pt x="0" y="152"/>
                    </a:cubicBezTo>
                    <a:cubicBezTo>
                      <a:pt x="0" y="4"/>
                      <a:pt x="0" y="4"/>
                      <a:pt x="0" y="4"/>
                    </a:cubicBezTo>
                    <a:cubicBezTo>
                      <a:pt x="0" y="2"/>
                      <a:pt x="2" y="0"/>
                      <a:pt x="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623" name="Freeform 355"/>
              <p:cNvSpPr>
                <a:spLocks/>
              </p:cNvSpPr>
              <p:nvPr/>
            </p:nvSpPr>
            <p:spPr bwMode="auto">
              <a:xfrm>
                <a:off x="1274763" y="2462213"/>
                <a:ext cx="115888" cy="128588"/>
              </a:xfrm>
              <a:custGeom>
                <a:avLst/>
                <a:gdLst>
                  <a:gd name="T0" fmla="*/ 12 w 155"/>
                  <a:gd name="T1" fmla="*/ 172 h 172"/>
                  <a:gd name="T2" fmla="*/ 0 w 155"/>
                  <a:gd name="T3" fmla="*/ 160 h 172"/>
                  <a:gd name="T4" fmla="*/ 0 w 155"/>
                  <a:gd name="T5" fmla="*/ 12 h 172"/>
                  <a:gd name="T6" fmla="*/ 12 w 155"/>
                  <a:gd name="T7" fmla="*/ 0 h 172"/>
                  <a:gd name="T8" fmla="*/ 144 w 155"/>
                  <a:gd name="T9" fmla="*/ 0 h 172"/>
                  <a:gd name="T10" fmla="*/ 155 w 155"/>
                  <a:gd name="T11" fmla="*/ 12 h 172"/>
                  <a:gd name="T12" fmla="*/ 155 w 155"/>
                  <a:gd name="T13" fmla="*/ 160 h 172"/>
                  <a:gd name="T14" fmla="*/ 144 w 155"/>
                  <a:gd name="T15" fmla="*/ 172 h 172"/>
                  <a:gd name="T16" fmla="*/ 12 w 155"/>
                  <a:gd name="T17"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 h="172">
                    <a:moveTo>
                      <a:pt x="12" y="172"/>
                    </a:moveTo>
                    <a:cubicBezTo>
                      <a:pt x="6" y="172"/>
                      <a:pt x="0" y="167"/>
                      <a:pt x="0" y="160"/>
                    </a:cubicBezTo>
                    <a:cubicBezTo>
                      <a:pt x="0" y="12"/>
                      <a:pt x="0" y="12"/>
                      <a:pt x="0" y="12"/>
                    </a:cubicBezTo>
                    <a:cubicBezTo>
                      <a:pt x="0" y="6"/>
                      <a:pt x="6" y="0"/>
                      <a:pt x="12" y="0"/>
                    </a:cubicBezTo>
                    <a:cubicBezTo>
                      <a:pt x="144" y="0"/>
                      <a:pt x="144" y="0"/>
                      <a:pt x="144" y="0"/>
                    </a:cubicBezTo>
                    <a:cubicBezTo>
                      <a:pt x="150" y="0"/>
                      <a:pt x="155" y="6"/>
                      <a:pt x="155" y="12"/>
                    </a:cubicBezTo>
                    <a:cubicBezTo>
                      <a:pt x="155" y="160"/>
                      <a:pt x="155" y="160"/>
                      <a:pt x="155" y="160"/>
                    </a:cubicBezTo>
                    <a:cubicBezTo>
                      <a:pt x="155" y="167"/>
                      <a:pt x="150" y="172"/>
                      <a:pt x="144" y="172"/>
                    </a:cubicBezTo>
                    <a:cubicBezTo>
                      <a:pt x="12" y="172"/>
                      <a:pt x="12" y="172"/>
                      <a:pt x="12" y="172"/>
                    </a:cubicBezTo>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624" name="Freeform 356"/>
              <p:cNvSpPr>
                <a:spLocks/>
              </p:cNvSpPr>
              <p:nvPr/>
            </p:nvSpPr>
            <p:spPr bwMode="auto">
              <a:xfrm>
                <a:off x="1281113" y="2468563"/>
                <a:ext cx="103188" cy="115888"/>
              </a:xfrm>
              <a:custGeom>
                <a:avLst/>
                <a:gdLst>
                  <a:gd name="T0" fmla="*/ 3 w 138"/>
                  <a:gd name="T1" fmla="*/ 0 h 154"/>
                  <a:gd name="T2" fmla="*/ 135 w 138"/>
                  <a:gd name="T3" fmla="*/ 0 h 154"/>
                  <a:gd name="T4" fmla="*/ 138 w 138"/>
                  <a:gd name="T5" fmla="*/ 3 h 154"/>
                  <a:gd name="T6" fmla="*/ 138 w 138"/>
                  <a:gd name="T7" fmla="*/ 151 h 154"/>
                  <a:gd name="T8" fmla="*/ 135 w 138"/>
                  <a:gd name="T9" fmla="*/ 154 h 154"/>
                  <a:gd name="T10" fmla="*/ 3 w 138"/>
                  <a:gd name="T11" fmla="*/ 154 h 154"/>
                  <a:gd name="T12" fmla="*/ 0 w 138"/>
                  <a:gd name="T13" fmla="*/ 151 h 154"/>
                  <a:gd name="T14" fmla="*/ 0 w 138"/>
                  <a:gd name="T15" fmla="*/ 3 h 154"/>
                  <a:gd name="T16" fmla="*/ 3 w 138"/>
                  <a:gd name="T1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 h="154">
                    <a:moveTo>
                      <a:pt x="3" y="0"/>
                    </a:moveTo>
                    <a:cubicBezTo>
                      <a:pt x="135" y="0"/>
                      <a:pt x="135" y="0"/>
                      <a:pt x="135" y="0"/>
                    </a:cubicBezTo>
                    <a:cubicBezTo>
                      <a:pt x="136" y="0"/>
                      <a:pt x="138" y="1"/>
                      <a:pt x="138" y="3"/>
                    </a:cubicBezTo>
                    <a:cubicBezTo>
                      <a:pt x="138" y="151"/>
                      <a:pt x="138" y="151"/>
                      <a:pt x="138" y="151"/>
                    </a:cubicBezTo>
                    <a:cubicBezTo>
                      <a:pt x="138" y="153"/>
                      <a:pt x="136" y="154"/>
                      <a:pt x="135" y="154"/>
                    </a:cubicBezTo>
                    <a:cubicBezTo>
                      <a:pt x="3" y="154"/>
                      <a:pt x="3" y="154"/>
                      <a:pt x="3" y="154"/>
                    </a:cubicBezTo>
                    <a:cubicBezTo>
                      <a:pt x="1" y="154"/>
                      <a:pt x="0" y="153"/>
                      <a:pt x="0" y="151"/>
                    </a:cubicBezTo>
                    <a:cubicBezTo>
                      <a:pt x="0" y="3"/>
                      <a:pt x="0" y="3"/>
                      <a:pt x="0" y="3"/>
                    </a:cubicBezTo>
                    <a:cubicBezTo>
                      <a:pt x="0" y="1"/>
                      <a:pt x="1" y="0"/>
                      <a:pt x="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625" name="Freeform 357"/>
              <p:cNvSpPr>
                <a:spLocks noEditPoints="1"/>
              </p:cNvSpPr>
              <p:nvPr/>
            </p:nvSpPr>
            <p:spPr bwMode="auto">
              <a:xfrm>
                <a:off x="1273176" y="2481263"/>
                <a:ext cx="92075" cy="90488"/>
              </a:xfrm>
              <a:custGeom>
                <a:avLst/>
                <a:gdLst>
                  <a:gd name="T0" fmla="*/ 2 w 123"/>
                  <a:gd name="T1" fmla="*/ 103 h 120"/>
                  <a:gd name="T2" fmla="*/ 0 w 123"/>
                  <a:gd name="T3" fmla="*/ 95 h 120"/>
                  <a:gd name="T4" fmla="*/ 123 w 123"/>
                  <a:gd name="T5" fmla="*/ 95 h 120"/>
                  <a:gd name="T6" fmla="*/ 123 w 123"/>
                  <a:gd name="T7" fmla="*/ 103 h 120"/>
                  <a:gd name="T8" fmla="*/ 2 w 123"/>
                  <a:gd name="T9" fmla="*/ 103 h 120"/>
                  <a:gd name="T10" fmla="*/ 2 w 123"/>
                  <a:gd name="T11" fmla="*/ 120 h 120"/>
                  <a:gd name="T12" fmla="*/ 0 w 123"/>
                  <a:gd name="T13" fmla="*/ 112 h 120"/>
                  <a:gd name="T14" fmla="*/ 123 w 123"/>
                  <a:gd name="T15" fmla="*/ 112 h 120"/>
                  <a:gd name="T16" fmla="*/ 123 w 123"/>
                  <a:gd name="T17" fmla="*/ 120 h 120"/>
                  <a:gd name="T18" fmla="*/ 2 w 123"/>
                  <a:gd name="T19" fmla="*/ 120 h 120"/>
                  <a:gd name="T20" fmla="*/ 89 w 123"/>
                  <a:gd name="T21" fmla="*/ 34 h 120"/>
                  <a:gd name="T22" fmla="*/ 89 w 123"/>
                  <a:gd name="T23" fmla="*/ 0 h 120"/>
                  <a:gd name="T24" fmla="*/ 123 w 123"/>
                  <a:gd name="T25" fmla="*/ 34 h 120"/>
                  <a:gd name="T26" fmla="*/ 89 w 123"/>
                  <a:gd name="T27" fmla="*/ 34 h 120"/>
                  <a:gd name="T28" fmla="*/ 80 w 123"/>
                  <a:gd name="T29" fmla="*/ 77 h 120"/>
                  <a:gd name="T30" fmla="*/ 45 w 123"/>
                  <a:gd name="T31" fmla="*/ 43 h 120"/>
                  <a:gd name="T32" fmla="*/ 80 w 123"/>
                  <a:gd name="T33" fmla="*/ 8 h 120"/>
                  <a:gd name="T34" fmla="*/ 80 w 123"/>
                  <a:gd name="T35" fmla="*/ 43 h 120"/>
                  <a:gd name="T36" fmla="*/ 114 w 123"/>
                  <a:gd name="T37" fmla="*/ 43 h 120"/>
                  <a:gd name="T38" fmla="*/ 80 w 123"/>
                  <a:gd name="T39" fmla="*/ 7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3" h="120">
                    <a:moveTo>
                      <a:pt x="2" y="103"/>
                    </a:moveTo>
                    <a:cubicBezTo>
                      <a:pt x="0" y="95"/>
                      <a:pt x="0" y="95"/>
                      <a:pt x="0" y="95"/>
                    </a:cubicBezTo>
                    <a:cubicBezTo>
                      <a:pt x="123" y="95"/>
                      <a:pt x="123" y="95"/>
                      <a:pt x="123" y="95"/>
                    </a:cubicBezTo>
                    <a:cubicBezTo>
                      <a:pt x="123" y="103"/>
                      <a:pt x="123" y="103"/>
                      <a:pt x="123" y="103"/>
                    </a:cubicBezTo>
                    <a:lnTo>
                      <a:pt x="2" y="103"/>
                    </a:lnTo>
                    <a:close/>
                    <a:moveTo>
                      <a:pt x="2" y="120"/>
                    </a:moveTo>
                    <a:cubicBezTo>
                      <a:pt x="0" y="112"/>
                      <a:pt x="0" y="112"/>
                      <a:pt x="0" y="112"/>
                    </a:cubicBezTo>
                    <a:cubicBezTo>
                      <a:pt x="123" y="112"/>
                      <a:pt x="123" y="112"/>
                      <a:pt x="123" y="112"/>
                    </a:cubicBezTo>
                    <a:cubicBezTo>
                      <a:pt x="123" y="120"/>
                      <a:pt x="123" y="120"/>
                      <a:pt x="123" y="120"/>
                    </a:cubicBezTo>
                    <a:lnTo>
                      <a:pt x="2" y="120"/>
                    </a:lnTo>
                    <a:close/>
                    <a:moveTo>
                      <a:pt x="89" y="34"/>
                    </a:moveTo>
                    <a:cubicBezTo>
                      <a:pt x="89" y="0"/>
                      <a:pt x="89" y="0"/>
                      <a:pt x="89" y="0"/>
                    </a:cubicBezTo>
                    <a:cubicBezTo>
                      <a:pt x="108" y="0"/>
                      <a:pt x="123" y="15"/>
                      <a:pt x="123" y="34"/>
                    </a:cubicBezTo>
                    <a:lnTo>
                      <a:pt x="89" y="34"/>
                    </a:lnTo>
                    <a:close/>
                    <a:moveTo>
                      <a:pt x="80" y="77"/>
                    </a:moveTo>
                    <a:cubicBezTo>
                      <a:pt x="61" y="77"/>
                      <a:pt x="45" y="62"/>
                      <a:pt x="45" y="43"/>
                    </a:cubicBezTo>
                    <a:cubicBezTo>
                      <a:pt x="45" y="24"/>
                      <a:pt x="61" y="8"/>
                      <a:pt x="80" y="8"/>
                    </a:cubicBezTo>
                    <a:cubicBezTo>
                      <a:pt x="80" y="43"/>
                      <a:pt x="80" y="43"/>
                      <a:pt x="80" y="43"/>
                    </a:cubicBezTo>
                    <a:cubicBezTo>
                      <a:pt x="114" y="43"/>
                      <a:pt x="114" y="43"/>
                      <a:pt x="114" y="43"/>
                    </a:cubicBezTo>
                    <a:cubicBezTo>
                      <a:pt x="114" y="62"/>
                      <a:pt x="99" y="77"/>
                      <a:pt x="80" y="77"/>
                    </a:cubicBez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626" name="Freeform 358"/>
              <p:cNvSpPr>
                <a:spLocks/>
              </p:cNvSpPr>
              <p:nvPr/>
            </p:nvSpPr>
            <p:spPr bwMode="auto">
              <a:xfrm>
                <a:off x="1236663" y="2443163"/>
                <a:ext cx="90488" cy="153988"/>
              </a:xfrm>
              <a:custGeom>
                <a:avLst/>
                <a:gdLst>
                  <a:gd name="T0" fmla="*/ 57 w 57"/>
                  <a:gd name="T1" fmla="*/ 0 h 97"/>
                  <a:gd name="T2" fmla="*/ 0 w 57"/>
                  <a:gd name="T3" fmla="*/ 10 h 97"/>
                  <a:gd name="T4" fmla="*/ 0 w 57"/>
                  <a:gd name="T5" fmla="*/ 87 h 97"/>
                  <a:gd name="T6" fmla="*/ 57 w 57"/>
                  <a:gd name="T7" fmla="*/ 97 h 97"/>
                  <a:gd name="T8" fmla="*/ 57 w 57"/>
                  <a:gd name="T9" fmla="*/ 0 h 97"/>
                </a:gdLst>
                <a:ahLst/>
                <a:cxnLst>
                  <a:cxn ang="0">
                    <a:pos x="T0" y="T1"/>
                  </a:cxn>
                  <a:cxn ang="0">
                    <a:pos x="T2" y="T3"/>
                  </a:cxn>
                  <a:cxn ang="0">
                    <a:pos x="T4" y="T5"/>
                  </a:cxn>
                  <a:cxn ang="0">
                    <a:pos x="T6" y="T7"/>
                  </a:cxn>
                  <a:cxn ang="0">
                    <a:pos x="T8" y="T9"/>
                  </a:cxn>
                </a:cxnLst>
                <a:rect l="0" t="0" r="r" b="b"/>
                <a:pathLst>
                  <a:path w="57" h="97">
                    <a:moveTo>
                      <a:pt x="57" y="0"/>
                    </a:moveTo>
                    <a:lnTo>
                      <a:pt x="0" y="10"/>
                    </a:lnTo>
                    <a:lnTo>
                      <a:pt x="0" y="87"/>
                    </a:lnTo>
                    <a:lnTo>
                      <a:pt x="57" y="97"/>
                    </a:lnTo>
                    <a:lnTo>
                      <a:pt x="5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grpSp>
      </p:grpSp>
      <p:grpSp>
        <p:nvGrpSpPr>
          <p:cNvPr id="707" name="Group 706"/>
          <p:cNvGrpSpPr/>
          <p:nvPr/>
        </p:nvGrpSpPr>
        <p:grpSpPr>
          <a:xfrm>
            <a:off x="4753748" y="1504604"/>
            <a:ext cx="2473206" cy="1831318"/>
            <a:chOff x="4660096" y="1475236"/>
            <a:chExt cx="2424932" cy="1795573"/>
          </a:xfrm>
        </p:grpSpPr>
        <p:sp>
          <p:nvSpPr>
            <p:cNvPr id="155" name="TextBox 154"/>
            <p:cNvSpPr txBox="1"/>
            <p:nvPr/>
          </p:nvSpPr>
          <p:spPr>
            <a:xfrm>
              <a:off x="4660096" y="2347479"/>
              <a:ext cx="2424932" cy="923330"/>
            </a:xfrm>
            <a:prstGeom prst="rect">
              <a:avLst/>
            </a:prstGeom>
            <a:noFill/>
          </p:spPr>
          <p:txBody>
            <a:bodyPr wrap="square" lIns="93260" tIns="93260" rIns="93260" bIns="93260" rtlCol="0">
              <a:noAutofit/>
            </a:bodyPr>
            <a:lstStyle/>
            <a:p>
              <a:pPr algn="ctr" defTabSz="932597">
                <a:defRPr/>
              </a:pPr>
              <a:r>
                <a:rPr lang="en-US" sz="2040" kern="0" dirty="0">
                  <a:solidFill>
                    <a:srgbClr val="505050"/>
                  </a:solidFill>
                  <a:latin typeface="Segoe UI Semibold" panose="020B0702040204020203" pitchFamily="34" charset="0"/>
                </a:rPr>
                <a:t>Debug U-SQL and C# code</a:t>
              </a:r>
            </a:p>
          </p:txBody>
        </p:sp>
        <p:grpSp>
          <p:nvGrpSpPr>
            <p:cNvPr id="701" name="Group 700"/>
            <p:cNvGrpSpPr/>
            <p:nvPr/>
          </p:nvGrpSpPr>
          <p:grpSpPr>
            <a:xfrm>
              <a:off x="5271978" y="1475236"/>
              <a:ext cx="1201168" cy="902550"/>
              <a:chOff x="6862620" y="6913067"/>
              <a:chExt cx="1423988" cy="1069975"/>
            </a:xfrm>
          </p:grpSpPr>
          <p:sp>
            <p:nvSpPr>
              <p:cNvPr id="637" name="Freeform 368"/>
              <p:cNvSpPr>
                <a:spLocks/>
              </p:cNvSpPr>
              <p:nvPr/>
            </p:nvSpPr>
            <p:spPr bwMode="auto">
              <a:xfrm>
                <a:off x="6862620" y="6913067"/>
                <a:ext cx="1423988" cy="1069975"/>
              </a:xfrm>
              <a:custGeom>
                <a:avLst/>
                <a:gdLst>
                  <a:gd name="T0" fmla="*/ 641 w 641"/>
                  <a:gd name="T1" fmla="*/ 13 h 482"/>
                  <a:gd name="T2" fmla="*/ 628 w 641"/>
                  <a:gd name="T3" fmla="*/ 0 h 482"/>
                  <a:gd name="T4" fmla="*/ 13 w 641"/>
                  <a:gd name="T5" fmla="*/ 0 h 482"/>
                  <a:gd name="T6" fmla="*/ 0 w 641"/>
                  <a:gd name="T7" fmla="*/ 13 h 482"/>
                  <a:gd name="T8" fmla="*/ 0 w 641"/>
                  <a:gd name="T9" fmla="*/ 432 h 482"/>
                  <a:gd name="T10" fmla="*/ 13 w 641"/>
                  <a:gd name="T11" fmla="*/ 445 h 482"/>
                  <a:gd name="T12" fmla="*/ 297 w 641"/>
                  <a:gd name="T13" fmla="*/ 445 h 482"/>
                  <a:gd name="T14" fmla="*/ 288 w 641"/>
                  <a:gd name="T15" fmla="*/ 473 h 482"/>
                  <a:gd name="T16" fmla="*/ 231 w 641"/>
                  <a:gd name="T17" fmla="*/ 473 h 482"/>
                  <a:gd name="T18" fmla="*/ 231 w 641"/>
                  <a:gd name="T19" fmla="*/ 482 h 482"/>
                  <a:gd name="T20" fmla="*/ 407 w 641"/>
                  <a:gd name="T21" fmla="*/ 482 h 482"/>
                  <a:gd name="T22" fmla="*/ 407 w 641"/>
                  <a:gd name="T23" fmla="*/ 473 h 482"/>
                  <a:gd name="T24" fmla="*/ 360 w 641"/>
                  <a:gd name="T25" fmla="*/ 473 h 482"/>
                  <a:gd name="T26" fmla="*/ 351 w 641"/>
                  <a:gd name="T27" fmla="*/ 445 h 482"/>
                  <a:gd name="T28" fmla="*/ 628 w 641"/>
                  <a:gd name="T29" fmla="*/ 445 h 482"/>
                  <a:gd name="T30" fmla="*/ 641 w 641"/>
                  <a:gd name="T31" fmla="*/ 432 h 482"/>
                  <a:gd name="T32" fmla="*/ 641 w 641"/>
                  <a:gd name="T33" fmla="*/ 13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1" h="482">
                    <a:moveTo>
                      <a:pt x="641" y="13"/>
                    </a:moveTo>
                    <a:cubicBezTo>
                      <a:pt x="641" y="6"/>
                      <a:pt x="635" y="0"/>
                      <a:pt x="628" y="0"/>
                    </a:cubicBezTo>
                    <a:cubicBezTo>
                      <a:pt x="13" y="0"/>
                      <a:pt x="13" y="0"/>
                      <a:pt x="13" y="0"/>
                    </a:cubicBezTo>
                    <a:cubicBezTo>
                      <a:pt x="6" y="0"/>
                      <a:pt x="0" y="6"/>
                      <a:pt x="0" y="13"/>
                    </a:cubicBezTo>
                    <a:cubicBezTo>
                      <a:pt x="0" y="432"/>
                      <a:pt x="0" y="432"/>
                      <a:pt x="0" y="432"/>
                    </a:cubicBezTo>
                    <a:cubicBezTo>
                      <a:pt x="0" y="439"/>
                      <a:pt x="6" y="445"/>
                      <a:pt x="13" y="445"/>
                    </a:cubicBezTo>
                    <a:cubicBezTo>
                      <a:pt x="297" y="445"/>
                      <a:pt x="297" y="445"/>
                      <a:pt x="297" y="445"/>
                    </a:cubicBezTo>
                    <a:cubicBezTo>
                      <a:pt x="288" y="473"/>
                      <a:pt x="288" y="473"/>
                      <a:pt x="288" y="473"/>
                    </a:cubicBezTo>
                    <a:cubicBezTo>
                      <a:pt x="231" y="473"/>
                      <a:pt x="231" y="473"/>
                      <a:pt x="231" y="473"/>
                    </a:cubicBezTo>
                    <a:cubicBezTo>
                      <a:pt x="231" y="482"/>
                      <a:pt x="231" y="482"/>
                      <a:pt x="231" y="482"/>
                    </a:cubicBezTo>
                    <a:cubicBezTo>
                      <a:pt x="407" y="482"/>
                      <a:pt x="407" y="482"/>
                      <a:pt x="407" y="482"/>
                    </a:cubicBezTo>
                    <a:cubicBezTo>
                      <a:pt x="407" y="473"/>
                      <a:pt x="407" y="473"/>
                      <a:pt x="407" y="473"/>
                    </a:cubicBezTo>
                    <a:cubicBezTo>
                      <a:pt x="360" y="473"/>
                      <a:pt x="360" y="473"/>
                      <a:pt x="360" y="473"/>
                    </a:cubicBezTo>
                    <a:cubicBezTo>
                      <a:pt x="351" y="445"/>
                      <a:pt x="351" y="445"/>
                      <a:pt x="351" y="445"/>
                    </a:cubicBezTo>
                    <a:cubicBezTo>
                      <a:pt x="628" y="445"/>
                      <a:pt x="628" y="445"/>
                      <a:pt x="628" y="445"/>
                    </a:cubicBezTo>
                    <a:cubicBezTo>
                      <a:pt x="635" y="445"/>
                      <a:pt x="641" y="439"/>
                      <a:pt x="641" y="432"/>
                    </a:cubicBezTo>
                    <a:lnTo>
                      <a:pt x="641" y="13"/>
                    </a:lnTo>
                    <a:close/>
                  </a:path>
                </a:pathLst>
              </a:custGeom>
              <a:solidFill>
                <a:srgbClr val="0039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638" name="Rectangle 369"/>
              <p:cNvSpPr>
                <a:spLocks noChangeArrowheads="1"/>
              </p:cNvSpPr>
              <p:nvPr/>
            </p:nvSpPr>
            <p:spPr bwMode="auto">
              <a:xfrm>
                <a:off x="6899135" y="6947992"/>
                <a:ext cx="1352550" cy="762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grpSp>
            <p:nvGrpSpPr>
              <p:cNvPr id="700" name="Group 699"/>
              <p:cNvGrpSpPr/>
              <p:nvPr/>
            </p:nvGrpSpPr>
            <p:grpSpPr>
              <a:xfrm>
                <a:off x="7423212" y="7061718"/>
                <a:ext cx="339602" cy="551760"/>
                <a:chOff x="8558213" y="6783388"/>
                <a:chExt cx="719138" cy="1168401"/>
              </a:xfrm>
            </p:grpSpPr>
            <p:sp>
              <p:nvSpPr>
                <p:cNvPr id="696" name="Freeform 428"/>
                <p:cNvSpPr>
                  <a:spLocks/>
                </p:cNvSpPr>
                <p:nvPr/>
              </p:nvSpPr>
              <p:spPr bwMode="auto">
                <a:xfrm>
                  <a:off x="8696325" y="6783388"/>
                  <a:ext cx="444500" cy="508000"/>
                </a:xfrm>
                <a:custGeom>
                  <a:avLst/>
                  <a:gdLst>
                    <a:gd name="T0" fmla="*/ 200 w 200"/>
                    <a:gd name="T1" fmla="*/ 229 h 229"/>
                    <a:gd name="T2" fmla="*/ 156 w 200"/>
                    <a:gd name="T3" fmla="*/ 229 h 229"/>
                    <a:gd name="T4" fmla="*/ 156 w 200"/>
                    <a:gd name="T5" fmla="*/ 100 h 229"/>
                    <a:gd name="T6" fmla="*/ 100 w 200"/>
                    <a:gd name="T7" fmla="*/ 44 h 229"/>
                    <a:gd name="T8" fmla="*/ 44 w 200"/>
                    <a:gd name="T9" fmla="*/ 100 h 229"/>
                    <a:gd name="T10" fmla="*/ 44 w 200"/>
                    <a:gd name="T11" fmla="*/ 229 h 229"/>
                    <a:gd name="T12" fmla="*/ 0 w 200"/>
                    <a:gd name="T13" fmla="*/ 229 h 229"/>
                    <a:gd name="T14" fmla="*/ 0 w 200"/>
                    <a:gd name="T15" fmla="*/ 100 h 229"/>
                    <a:gd name="T16" fmla="*/ 100 w 200"/>
                    <a:gd name="T17" fmla="*/ 0 h 229"/>
                    <a:gd name="T18" fmla="*/ 200 w 200"/>
                    <a:gd name="T19" fmla="*/ 100 h 229"/>
                    <a:gd name="T20" fmla="*/ 200 w 200"/>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29">
                      <a:moveTo>
                        <a:pt x="200" y="229"/>
                      </a:moveTo>
                      <a:cubicBezTo>
                        <a:pt x="156" y="229"/>
                        <a:pt x="156" y="229"/>
                        <a:pt x="156" y="229"/>
                      </a:cubicBezTo>
                      <a:cubicBezTo>
                        <a:pt x="156" y="100"/>
                        <a:pt x="156" y="100"/>
                        <a:pt x="156" y="100"/>
                      </a:cubicBezTo>
                      <a:cubicBezTo>
                        <a:pt x="156" y="69"/>
                        <a:pt x="131" y="44"/>
                        <a:pt x="100" y="44"/>
                      </a:cubicBezTo>
                      <a:cubicBezTo>
                        <a:pt x="69" y="44"/>
                        <a:pt x="44" y="69"/>
                        <a:pt x="44" y="100"/>
                      </a:cubicBezTo>
                      <a:cubicBezTo>
                        <a:pt x="44" y="229"/>
                        <a:pt x="44" y="229"/>
                        <a:pt x="44" y="229"/>
                      </a:cubicBezTo>
                      <a:cubicBezTo>
                        <a:pt x="0" y="229"/>
                        <a:pt x="0" y="229"/>
                        <a:pt x="0" y="229"/>
                      </a:cubicBezTo>
                      <a:cubicBezTo>
                        <a:pt x="0" y="100"/>
                        <a:pt x="0" y="100"/>
                        <a:pt x="0" y="100"/>
                      </a:cubicBezTo>
                      <a:cubicBezTo>
                        <a:pt x="0" y="45"/>
                        <a:pt x="45" y="0"/>
                        <a:pt x="100" y="0"/>
                      </a:cubicBezTo>
                      <a:cubicBezTo>
                        <a:pt x="155" y="0"/>
                        <a:pt x="200" y="45"/>
                        <a:pt x="200" y="100"/>
                      </a:cubicBezTo>
                      <a:lnTo>
                        <a:pt x="200" y="22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697" name="Rectangle 429"/>
                <p:cNvSpPr>
                  <a:spLocks noChangeArrowheads="1"/>
                </p:cNvSpPr>
                <p:nvPr/>
              </p:nvSpPr>
              <p:spPr bwMode="auto">
                <a:xfrm>
                  <a:off x="8558213" y="7273926"/>
                  <a:ext cx="719138" cy="6778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698" name="Rectangle 430"/>
                <p:cNvSpPr>
                  <a:spLocks noChangeArrowheads="1"/>
                </p:cNvSpPr>
                <p:nvPr/>
              </p:nvSpPr>
              <p:spPr bwMode="auto">
                <a:xfrm>
                  <a:off x="8558213" y="7273926"/>
                  <a:ext cx="185738" cy="67786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sp>
              <p:nvSpPr>
                <p:cNvPr id="699" name="Freeform 431"/>
                <p:cNvSpPr>
                  <a:spLocks/>
                </p:cNvSpPr>
                <p:nvPr/>
              </p:nvSpPr>
              <p:spPr bwMode="auto">
                <a:xfrm>
                  <a:off x="8843963" y="7491413"/>
                  <a:ext cx="147638" cy="258763"/>
                </a:xfrm>
                <a:custGeom>
                  <a:avLst/>
                  <a:gdLst>
                    <a:gd name="T0" fmla="*/ 66 w 66"/>
                    <a:gd name="T1" fmla="*/ 33 h 116"/>
                    <a:gd name="T2" fmla="*/ 33 w 66"/>
                    <a:gd name="T3" fmla="*/ 0 h 116"/>
                    <a:gd name="T4" fmla="*/ 0 w 66"/>
                    <a:gd name="T5" fmla="*/ 33 h 116"/>
                    <a:gd name="T6" fmla="*/ 22 w 66"/>
                    <a:gd name="T7" fmla="*/ 64 h 116"/>
                    <a:gd name="T8" fmla="*/ 22 w 66"/>
                    <a:gd name="T9" fmla="*/ 116 h 116"/>
                    <a:gd name="T10" fmla="*/ 44 w 66"/>
                    <a:gd name="T11" fmla="*/ 116 h 116"/>
                    <a:gd name="T12" fmla="*/ 44 w 66"/>
                    <a:gd name="T13" fmla="*/ 64 h 116"/>
                    <a:gd name="T14" fmla="*/ 66 w 66"/>
                    <a:gd name="T15" fmla="*/ 33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16">
                      <a:moveTo>
                        <a:pt x="66" y="33"/>
                      </a:moveTo>
                      <a:cubicBezTo>
                        <a:pt x="66" y="15"/>
                        <a:pt x="51" y="0"/>
                        <a:pt x="33" y="0"/>
                      </a:cubicBezTo>
                      <a:cubicBezTo>
                        <a:pt x="15" y="0"/>
                        <a:pt x="0" y="15"/>
                        <a:pt x="0" y="33"/>
                      </a:cubicBezTo>
                      <a:cubicBezTo>
                        <a:pt x="0" y="47"/>
                        <a:pt x="9" y="60"/>
                        <a:pt x="22" y="64"/>
                      </a:cubicBezTo>
                      <a:cubicBezTo>
                        <a:pt x="22" y="116"/>
                        <a:pt x="22" y="116"/>
                        <a:pt x="22" y="116"/>
                      </a:cubicBezTo>
                      <a:cubicBezTo>
                        <a:pt x="44" y="116"/>
                        <a:pt x="44" y="116"/>
                        <a:pt x="44" y="116"/>
                      </a:cubicBezTo>
                      <a:cubicBezTo>
                        <a:pt x="44" y="64"/>
                        <a:pt x="44" y="64"/>
                        <a:pt x="44" y="64"/>
                      </a:cubicBezTo>
                      <a:cubicBezTo>
                        <a:pt x="57" y="60"/>
                        <a:pt x="66" y="47"/>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GB" sz="1836" kern="0">
                    <a:solidFill>
                      <a:sysClr val="windowText" lastClr="000000"/>
                    </a:solidFill>
                    <a:latin typeface="Segoe UI"/>
                  </a:endParaRPr>
                </a:p>
              </p:txBody>
            </p:sp>
          </p:grpSp>
        </p:grpSp>
      </p:grpSp>
      <p:sp>
        <p:nvSpPr>
          <p:cNvPr id="4" name="Slide Number Placeholder 3"/>
          <p:cNvSpPr>
            <a:spLocks noGrp="1"/>
          </p:cNvSpPr>
          <p:nvPr>
            <p:ph type="sldNum" sz="quarter" idx="4"/>
          </p:nvPr>
        </p:nvSpPr>
        <p:spPr/>
        <p:txBody>
          <a:bodyPr/>
          <a:lstStyle/>
          <a:p>
            <a:pPr defTabSz="932597">
              <a:defRPr/>
            </a:pPr>
            <a:fld id="{75FAD755-3BD0-2447-A9DF-109DAABEFD99}" type="slidenum">
              <a:rPr lang="en-US" sz="1836" kern="0">
                <a:solidFill>
                  <a:sysClr val="windowText" lastClr="000000"/>
                </a:solidFill>
                <a:latin typeface="Segoe UI"/>
              </a:rPr>
              <a:pPr defTabSz="932597">
                <a:defRPr/>
              </a:pPr>
              <a:t>19</a:t>
            </a:fld>
            <a:endParaRPr lang="en-US" sz="1836" kern="0" dirty="0">
              <a:solidFill>
                <a:sysClr val="windowText" lastClr="000000"/>
              </a:solidFill>
              <a:latin typeface="Segoe UI"/>
            </a:endParaRPr>
          </a:p>
        </p:txBody>
      </p:sp>
    </p:spTree>
    <p:extLst>
      <p:ext uri="{BB962C8B-B14F-4D97-AF65-F5344CB8AC3E}">
        <p14:creationId xmlns:p14="http://schemas.microsoft.com/office/powerpoint/2010/main" val="6656666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702"/>
                                        </p:tgtEl>
                                        <p:attrNameLst>
                                          <p:attrName>style.visibility</p:attrName>
                                        </p:attrNameLst>
                                      </p:cBhvr>
                                      <p:to>
                                        <p:strVal val="visible"/>
                                      </p:to>
                                    </p:set>
                                    <p:animEffect transition="in" filter="wipe(left)">
                                      <p:cBhvr>
                                        <p:cTn id="7" dur="1000"/>
                                        <p:tgtEl>
                                          <p:spTgt spid="70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703"/>
                                        </p:tgtEl>
                                        <p:attrNameLst>
                                          <p:attrName>style.visibility</p:attrName>
                                        </p:attrNameLst>
                                      </p:cBhvr>
                                      <p:to>
                                        <p:strVal val="visible"/>
                                      </p:to>
                                    </p:set>
                                    <p:animEffect transition="in" filter="fade">
                                      <p:cBhvr>
                                        <p:cTn id="11" dur="750"/>
                                        <p:tgtEl>
                                          <p:spTgt spid="703"/>
                                        </p:tgtEl>
                                      </p:cBhvr>
                                    </p:animEffect>
                                  </p:childTnLst>
                                </p:cTn>
                              </p:par>
                            </p:childTnLst>
                          </p:cTn>
                        </p:par>
                        <p:par>
                          <p:cTn id="12" fill="hold">
                            <p:stCondLst>
                              <p:cond delay="1750"/>
                            </p:stCondLst>
                            <p:childTnLst>
                              <p:par>
                                <p:cTn id="13" presetID="10" presetClass="entr" presetSubtype="0" fill="hold" nodeType="afterEffect">
                                  <p:stCondLst>
                                    <p:cond delay="0"/>
                                  </p:stCondLst>
                                  <p:childTnLst>
                                    <p:set>
                                      <p:cBhvr>
                                        <p:cTn id="14" dur="1" fill="hold">
                                          <p:stCondLst>
                                            <p:cond delay="0"/>
                                          </p:stCondLst>
                                        </p:cTn>
                                        <p:tgtEl>
                                          <p:spTgt spid="707"/>
                                        </p:tgtEl>
                                        <p:attrNameLst>
                                          <p:attrName>style.visibility</p:attrName>
                                        </p:attrNameLst>
                                      </p:cBhvr>
                                      <p:to>
                                        <p:strVal val="visible"/>
                                      </p:to>
                                    </p:set>
                                    <p:animEffect transition="in" filter="fade">
                                      <p:cBhvr>
                                        <p:cTn id="15" dur="750"/>
                                        <p:tgtEl>
                                          <p:spTgt spid="707"/>
                                        </p:tgtEl>
                                      </p:cBhvr>
                                    </p:animEffect>
                                  </p:childTnLst>
                                </p:cTn>
                              </p:par>
                            </p:childTnLst>
                          </p:cTn>
                        </p:par>
                        <p:par>
                          <p:cTn id="16" fill="hold">
                            <p:stCondLst>
                              <p:cond delay="2500"/>
                            </p:stCondLst>
                            <p:childTnLst>
                              <p:par>
                                <p:cTn id="17" presetID="10" presetClass="entr" presetSubtype="0" fill="hold" nodeType="afterEffect">
                                  <p:stCondLst>
                                    <p:cond delay="0"/>
                                  </p:stCondLst>
                                  <p:childTnLst>
                                    <p:set>
                                      <p:cBhvr>
                                        <p:cTn id="18" dur="1" fill="hold">
                                          <p:stCondLst>
                                            <p:cond delay="0"/>
                                          </p:stCondLst>
                                        </p:cTn>
                                        <p:tgtEl>
                                          <p:spTgt spid="705"/>
                                        </p:tgtEl>
                                        <p:attrNameLst>
                                          <p:attrName>style.visibility</p:attrName>
                                        </p:attrNameLst>
                                      </p:cBhvr>
                                      <p:to>
                                        <p:strVal val="visible"/>
                                      </p:to>
                                    </p:set>
                                    <p:animEffect transition="in" filter="fade">
                                      <p:cBhvr>
                                        <p:cTn id="19" dur="750"/>
                                        <p:tgtEl>
                                          <p:spTgt spid="705"/>
                                        </p:tgtEl>
                                      </p:cBhvr>
                                    </p:animEffect>
                                  </p:childTnLst>
                                </p:cTn>
                              </p:par>
                            </p:childTnLst>
                          </p:cTn>
                        </p:par>
                        <p:par>
                          <p:cTn id="20" fill="hold">
                            <p:stCondLst>
                              <p:cond delay="3250"/>
                            </p:stCondLst>
                            <p:childTnLst>
                              <p:par>
                                <p:cTn id="21" presetID="10" presetClass="entr" presetSubtype="0" fill="hold" nodeType="afterEffect">
                                  <p:stCondLst>
                                    <p:cond delay="0"/>
                                  </p:stCondLst>
                                  <p:childTnLst>
                                    <p:set>
                                      <p:cBhvr>
                                        <p:cTn id="22" dur="1" fill="hold">
                                          <p:stCondLst>
                                            <p:cond delay="0"/>
                                          </p:stCondLst>
                                        </p:cTn>
                                        <p:tgtEl>
                                          <p:spTgt spid="706"/>
                                        </p:tgtEl>
                                        <p:attrNameLst>
                                          <p:attrName>style.visibility</p:attrName>
                                        </p:attrNameLst>
                                      </p:cBhvr>
                                      <p:to>
                                        <p:strVal val="visible"/>
                                      </p:to>
                                    </p:set>
                                    <p:animEffect transition="in" filter="fade">
                                      <p:cBhvr>
                                        <p:cTn id="23" dur="750"/>
                                        <p:tgtEl>
                                          <p:spTgt spid="706"/>
                                        </p:tgtEl>
                                      </p:cBhvr>
                                    </p:animEffect>
                                  </p:childTnLst>
                                </p:cTn>
                              </p:par>
                            </p:childTnLst>
                          </p:cTn>
                        </p:par>
                        <p:par>
                          <p:cTn id="24" fill="hold">
                            <p:stCondLst>
                              <p:cond delay="4000"/>
                            </p:stCondLst>
                            <p:childTnLst>
                              <p:par>
                                <p:cTn id="25" presetID="10" presetClass="entr" presetSubtype="0" fill="hold" nodeType="afterEffect">
                                  <p:stCondLst>
                                    <p:cond delay="0"/>
                                  </p:stCondLst>
                                  <p:childTnLst>
                                    <p:set>
                                      <p:cBhvr>
                                        <p:cTn id="26" dur="1" fill="hold">
                                          <p:stCondLst>
                                            <p:cond delay="0"/>
                                          </p:stCondLst>
                                        </p:cTn>
                                        <p:tgtEl>
                                          <p:spTgt spid="708"/>
                                        </p:tgtEl>
                                        <p:attrNameLst>
                                          <p:attrName>style.visibility</p:attrName>
                                        </p:attrNameLst>
                                      </p:cBhvr>
                                      <p:to>
                                        <p:strVal val="visible"/>
                                      </p:to>
                                    </p:set>
                                    <p:animEffect transition="in" filter="fade">
                                      <p:cBhvr>
                                        <p:cTn id="27" dur="750"/>
                                        <p:tgtEl>
                                          <p:spTgt spid="708"/>
                                        </p:tgtEl>
                                      </p:cBhvr>
                                    </p:animEffect>
                                  </p:childTnLst>
                                </p:cTn>
                              </p:par>
                            </p:childTnLst>
                          </p:cTn>
                        </p:par>
                        <p:par>
                          <p:cTn id="28" fill="hold">
                            <p:stCondLst>
                              <p:cond delay="4750"/>
                            </p:stCondLst>
                            <p:childTnLst>
                              <p:par>
                                <p:cTn id="29" presetID="10" presetClass="entr" presetSubtype="0" fill="hold" nodeType="afterEffect">
                                  <p:stCondLst>
                                    <p:cond delay="0"/>
                                  </p:stCondLst>
                                  <p:childTnLst>
                                    <p:set>
                                      <p:cBhvr>
                                        <p:cTn id="30" dur="1" fill="hold">
                                          <p:stCondLst>
                                            <p:cond delay="0"/>
                                          </p:stCondLst>
                                        </p:cTn>
                                        <p:tgtEl>
                                          <p:spTgt spid="709"/>
                                        </p:tgtEl>
                                        <p:attrNameLst>
                                          <p:attrName>style.visibility</p:attrName>
                                        </p:attrNameLst>
                                      </p:cBhvr>
                                      <p:to>
                                        <p:strVal val="visible"/>
                                      </p:to>
                                    </p:set>
                                    <p:animEffect transition="in" filter="fade">
                                      <p:cBhvr>
                                        <p:cTn id="31" dur="750"/>
                                        <p:tgtEl>
                                          <p:spTgt spid="709"/>
                                        </p:tgtEl>
                                      </p:cBhvr>
                                    </p:animEffect>
                                  </p:childTnLst>
                                </p:cTn>
                              </p:par>
                            </p:childTnLst>
                          </p:cTn>
                        </p:par>
                        <p:par>
                          <p:cTn id="32" fill="hold">
                            <p:stCondLst>
                              <p:cond delay="5500"/>
                            </p:stCondLst>
                            <p:childTnLst>
                              <p:par>
                                <p:cTn id="33" presetID="10" presetClass="entr" presetSubtype="0" fill="hold" nodeType="afterEffect">
                                  <p:stCondLst>
                                    <p:cond delay="0"/>
                                  </p:stCondLst>
                                  <p:childTnLst>
                                    <p:set>
                                      <p:cBhvr>
                                        <p:cTn id="34" dur="1" fill="hold">
                                          <p:stCondLst>
                                            <p:cond delay="0"/>
                                          </p:stCondLst>
                                        </p:cTn>
                                        <p:tgtEl>
                                          <p:spTgt spid="710"/>
                                        </p:tgtEl>
                                        <p:attrNameLst>
                                          <p:attrName>style.visibility</p:attrName>
                                        </p:attrNameLst>
                                      </p:cBhvr>
                                      <p:to>
                                        <p:strVal val="visible"/>
                                      </p:to>
                                    </p:set>
                                    <p:animEffect transition="in" filter="fade">
                                      <p:cBhvr>
                                        <p:cTn id="35" dur="750"/>
                                        <p:tgtEl>
                                          <p:spTgt spid="710"/>
                                        </p:tgtEl>
                                      </p:cBhvr>
                                    </p:animEffect>
                                  </p:childTnLst>
                                </p:cTn>
                              </p:par>
                            </p:childTnLst>
                          </p:cTn>
                        </p:par>
                        <p:par>
                          <p:cTn id="36" fill="hold">
                            <p:stCondLst>
                              <p:cond delay="6250"/>
                            </p:stCondLst>
                            <p:childTnLst>
                              <p:par>
                                <p:cTn id="37" presetID="10" presetClass="entr" presetSubtype="0" fill="hold" nodeType="afterEffect">
                                  <p:stCondLst>
                                    <p:cond delay="0"/>
                                  </p:stCondLst>
                                  <p:childTnLst>
                                    <p:set>
                                      <p:cBhvr>
                                        <p:cTn id="38" dur="1" fill="hold">
                                          <p:stCondLst>
                                            <p:cond delay="0"/>
                                          </p:stCondLst>
                                        </p:cTn>
                                        <p:tgtEl>
                                          <p:spTgt spid="711"/>
                                        </p:tgtEl>
                                        <p:attrNameLst>
                                          <p:attrName>style.visibility</p:attrName>
                                        </p:attrNameLst>
                                      </p:cBhvr>
                                      <p:to>
                                        <p:strVal val="visible"/>
                                      </p:to>
                                    </p:set>
                                    <p:animEffect transition="in" filter="fade">
                                      <p:cBhvr>
                                        <p:cTn id="39" dur="750"/>
                                        <p:tgtEl>
                                          <p:spTgt spid="7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2">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13782" y="2371540"/>
            <a:ext cx="7944138" cy="882468"/>
          </a:xfrm>
        </p:spPr>
        <p:txBody>
          <a:bodyPr>
            <a:noAutofit/>
          </a:bodyPr>
          <a:lstStyle/>
          <a:p>
            <a:pPr lvl="0">
              <a:defRPr/>
            </a:pPr>
            <a:r>
              <a:rPr lang="en-US" sz="8000" dirty="0">
                <a:solidFill>
                  <a:schemeClr val="bg1"/>
                </a:solidFill>
                <a:latin typeface="Segoe UI Light" panose="020B0502040204020203" pitchFamily="34" charset="0"/>
                <a:cs typeface="Segoe UI Light" panose="020B0502040204020203" pitchFamily="34" charset="0"/>
              </a:rPr>
              <a:t>Azure Data Lake</a:t>
            </a:r>
          </a:p>
        </p:txBody>
      </p:sp>
      <p:sp>
        <p:nvSpPr>
          <p:cNvPr id="3" name="Rectangle 2"/>
          <p:cNvSpPr/>
          <p:nvPr/>
        </p:nvSpPr>
        <p:spPr>
          <a:xfrm>
            <a:off x="3713782" y="3314384"/>
            <a:ext cx="8539429" cy="5486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32742"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Petabytes of Data + Intelligence</a:t>
            </a:r>
          </a:p>
        </p:txBody>
      </p:sp>
      <p:grpSp>
        <p:nvGrpSpPr>
          <p:cNvPr id="19" name="Group 18"/>
          <p:cNvGrpSpPr/>
          <p:nvPr/>
        </p:nvGrpSpPr>
        <p:grpSpPr>
          <a:xfrm>
            <a:off x="1189092" y="1759921"/>
            <a:ext cx="2078369" cy="2758426"/>
            <a:chOff x="2294644" y="680860"/>
            <a:chExt cx="3596824" cy="4773730"/>
          </a:xfrm>
        </p:grpSpPr>
        <p:sp>
          <p:nvSpPr>
            <p:cNvPr id="20" name="Freeform 83"/>
            <p:cNvSpPr/>
            <p:nvPr/>
          </p:nvSpPr>
          <p:spPr>
            <a:xfrm>
              <a:off x="2294644" y="1330208"/>
              <a:ext cx="3596824" cy="4115394"/>
            </a:xfrm>
            <a:custGeom>
              <a:avLst/>
              <a:gdLst>
                <a:gd name="connsiteX0" fmla="*/ 0 w 3596824"/>
                <a:gd name="connsiteY0" fmla="*/ 0 h 4115394"/>
                <a:gd name="connsiteX1" fmla="*/ 3596823 w 3596824"/>
                <a:gd name="connsiteY1" fmla="*/ 0 h 4115394"/>
                <a:gd name="connsiteX2" fmla="*/ 3596823 w 3596824"/>
                <a:gd name="connsiteY2" fmla="*/ 3465793 h 4115394"/>
                <a:gd name="connsiteX3" fmla="*/ 3596824 w 3596824"/>
                <a:gd name="connsiteY3" fmla="*/ 3465800 h 4115394"/>
                <a:gd name="connsiteX4" fmla="*/ 3596823 w 3596824"/>
                <a:gd name="connsiteY4" fmla="*/ 3465808 h 4115394"/>
                <a:gd name="connsiteX5" fmla="*/ 3596823 w 3596824"/>
                <a:gd name="connsiteY5" fmla="*/ 3473042 h 4115394"/>
                <a:gd name="connsiteX6" fmla="*/ 3595812 w 3596824"/>
                <a:gd name="connsiteY6" fmla="*/ 3473042 h 4115394"/>
                <a:gd name="connsiteX7" fmla="*/ 3587539 w 3596824"/>
                <a:gd name="connsiteY7" fmla="*/ 3532217 h 4115394"/>
                <a:gd name="connsiteX8" fmla="*/ 1798412 w 3596824"/>
                <a:gd name="connsiteY8" fmla="*/ 4115394 h 4115394"/>
                <a:gd name="connsiteX9" fmla="*/ 9285 w 3596824"/>
                <a:gd name="connsiteY9" fmla="*/ 3532217 h 4115394"/>
                <a:gd name="connsiteX10" fmla="*/ 1013 w 3596824"/>
                <a:gd name="connsiteY10" fmla="*/ 3473042 h 4115394"/>
                <a:gd name="connsiteX11" fmla="*/ 0 w 3596824"/>
                <a:gd name="connsiteY11" fmla="*/ 3473042 h 4115394"/>
                <a:gd name="connsiteX12" fmla="*/ 0 w 3596824"/>
                <a:gd name="connsiteY12" fmla="*/ 3465800 h 4115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6824" h="4115394">
                  <a:moveTo>
                    <a:pt x="0" y="0"/>
                  </a:moveTo>
                  <a:lnTo>
                    <a:pt x="3596823" y="0"/>
                  </a:lnTo>
                  <a:lnTo>
                    <a:pt x="3596823" y="3465793"/>
                  </a:lnTo>
                  <a:lnTo>
                    <a:pt x="3596824" y="3465800"/>
                  </a:lnTo>
                  <a:lnTo>
                    <a:pt x="3596823" y="3465808"/>
                  </a:lnTo>
                  <a:lnTo>
                    <a:pt x="3596823" y="3473042"/>
                  </a:lnTo>
                  <a:lnTo>
                    <a:pt x="3595812" y="3473042"/>
                  </a:lnTo>
                  <a:lnTo>
                    <a:pt x="3587539" y="3532217"/>
                  </a:lnTo>
                  <a:cubicBezTo>
                    <a:pt x="3495443" y="3859779"/>
                    <a:pt x="2729571" y="4115394"/>
                    <a:pt x="1798412" y="4115394"/>
                  </a:cubicBezTo>
                  <a:cubicBezTo>
                    <a:pt x="867253" y="4115394"/>
                    <a:pt x="101382" y="3859779"/>
                    <a:pt x="9285" y="3532217"/>
                  </a:cubicBezTo>
                  <a:lnTo>
                    <a:pt x="1013" y="3473042"/>
                  </a:lnTo>
                  <a:lnTo>
                    <a:pt x="0" y="3473042"/>
                  </a:lnTo>
                  <a:lnTo>
                    <a:pt x="0" y="3465800"/>
                  </a:lnTo>
                  <a:close/>
                </a:path>
              </a:pathLst>
            </a:custGeom>
            <a:solidFill>
              <a:srgbClr val="A59B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 name="Freeform 84"/>
            <p:cNvSpPr/>
            <p:nvPr/>
          </p:nvSpPr>
          <p:spPr>
            <a:xfrm>
              <a:off x="2294644" y="1319318"/>
              <a:ext cx="1798413" cy="4115394"/>
            </a:xfrm>
            <a:custGeom>
              <a:avLst/>
              <a:gdLst>
                <a:gd name="connsiteX0" fmla="*/ 0 w 1798413"/>
                <a:gd name="connsiteY0" fmla="*/ 0 h 4115394"/>
                <a:gd name="connsiteX1" fmla="*/ 1798413 w 1798413"/>
                <a:gd name="connsiteY1" fmla="*/ 0 h 4115394"/>
                <a:gd name="connsiteX2" fmla="*/ 1798413 w 1798413"/>
                <a:gd name="connsiteY2" fmla="*/ 4115394 h 4115394"/>
                <a:gd name="connsiteX3" fmla="*/ 1798412 w 1798413"/>
                <a:gd name="connsiteY3" fmla="*/ 4115394 h 4115394"/>
                <a:gd name="connsiteX4" fmla="*/ 9285 w 1798413"/>
                <a:gd name="connsiteY4" fmla="*/ 3532217 h 4115394"/>
                <a:gd name="connsiteX5" fmla="*/ 1013 w 1798413"/>
                <a:gd name="connsiteY5" fmla="*/ 3473042 h 4115394"/>
                <a:gd name="connsiteX6" fmla="*/ 0 w 1798413"/>
                <a:gd name="connsiteY6" fmla="*/ 3473042 h 4115394"/>
                <a:gd name="connsiteX7" fmla="*/ 0 w 1798413"/>
                <a:gd name="connsiteY7" fmla="*/ 3465800 h 4115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8413" h="4115394">
                  <a:moveTo>
                    <a:pt x="0" y="0"/>
                  </a:moveTo>
                  <a:lnTo>
                    <a:pt x="1798413" y="0"/>
                  </a:lnTo>
                  <a:lnTo>
                    <a:pt x="1798413" y="4115394"/>
                  </a:lnTo>
                  <a:lnTo>
                    <a:pt x="1798412" y="4115394"/>
                  </a:lnTo>
                  <a:cubicBezTo>
                    <a:pt x="867253" y="4115394"/>
                    <a:pt x="101382" y="3859779"/>
                    <a:pt x="9285" y="3532217"/>
                  </a:cubicBezTo>
                  <a:lnTo>
                    <a:pt x="1013" y="3473042"/>
                  </a:lnTo>
                  <a:lnTo>
                    <a:pt x="0" y="3473042"/>
                  </a:lnTo>
                  <a:lnTo>
                    <a:pt x="0" y="3465800"/>
                  </a:lnTo>
                  <a:close/>
                </a:path>
              </a:pathLst>
            </a:custGeom>
            <a:solidFill>
              <a:srgbClr val="4741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 name="Oval 31"/>
            <p:cNvSpPr/>
            <p:nvPr/>
          </p:nvSpPr>
          <p:spPr>
            <a:xfrm>
              <a:off x="2294645" y="680860"/>
              <a:ext cx="3596823" cy="1299187"/>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3" name="Oval 32"/>
            <p:cNvSpPr/>
            <p:nvPr/>
          </p:nvSpPr>
          <p:spPr>
            <a:xfrm>
              <a:off x="2666927" y="898175"/>
              <a:ext cx="2852258" cy="864066"/>
            </a:xfrm>
            <a:prstGeom prst="ellipse">
              <a:avLst/>
            </a:prstGeom>
            <a:solidFill>
              <a:srgbClr val="B5CD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4" name="Freeform 87"/>
            <p:cNvSpPr/>
            <p:nvPr/>
          </p:nvSpPr>
          <p:spPr>
            <a:xfrm>
              <a:off x="2920902" y="1388931"/>
              <a:ext cx="2344306" cy="373310"/>
            </a:xfrm>
            <a:custGeom>
              <a:avLst/>
              <a:gdLst>
                <a:gd name="connsiteX0" fmla="*/ 1172153 w 2344306"/>
                <a:gd name="connsiteY0" fmla="*/ 0 h 373310"/>
                <a:gd name="connsiteX1" fmla="*/ 2180579 w 2344306"/>
                <a:gd name="connsiteY1" fmla="*/ 126540 h 373310"/>
                <a:gd name="connsiteX2" fmla="*/ 2344306 w 2344306"/>
                <a:gd name="connsiteY2" fmla="*/ 186655 h 373310"/>
                <a:gd name="connsiteX3" fmla="*/ 2180579 w 2344306"/>
                <a:gd name="connsiteY3" fmla="*/ 246770 h 373310"/>
                <a:gd name="connsiteX4" fmla="*/ 1172153 w 2344306"/>
                <a:gd name="connsiteY4" fmla="*/ 373310 h 373310"/>
                <a:gd name="connsiteX5" fmla="*/ 163728 w 2344306"/>
                <a:gd name="connsiteY5" fmla="*/ 246770 h 373310"/>
                <a:gd name="connsiteX6" fmla="*/ 0 w 2344306"/>
                <a:gd name="connsiteY6" fmla="*/ 186655 h 373310"/>
                <a:gd name="connsiteX7" fmla="*/ 163728 w 2344306"/>
                <a:gd name="connsiteY7" fmla="*/ 126540 h 373310"/>
                <a:gd name="connsiteX8" fmla="*/ 1172153 w 2344306"/>
                <a:gd name="connsiteY8" fmla="*/ 0 h 373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4306" h="373310">
                  <a:moveTo>
                    <a:pt x="1172153" y="0"/>
                  </a:moveTo>
                  <a:cubicBezTo>
                    <a:pt x="1565968" y="0"/>
                    <a:pt x="1922500" y="48357"/>
                    <a:pt x="2180579" y="126540"/>
                  </a:cubicBezTo>
                  <a:lnTo>
                    <a:pt x="2344306" y="186655"/>
                  </a:lnTo>
                  <a:lnTo>
                    <a:pt x="2180579" y="246770"/>
                  </a:lnTo>
                  <a:cubicBezTo>
                    <a:pt x="1922500" y="324953"/>
                    <a:pt x="1565968" y="373310"/>
                    <a:pt x="1172153" y="373310"/>
                  </a:cubicBezTo>
                  <a:cubicBezTo>
                    <a:pt x="778339" y="373310"/>
                    <a:pt x="421806" y="324953"/>
                    <a:pt x="163728" y="246770"/>
                  </a:cubicBezTo>
                  <a:lnTo>
                    <a:pt x="0" y="186655"/>
                  </a:lnTo>
                  <a:lnTo>
                    <a:pt x="163728" y="126540"/>
                  </a:lnTo>
                  <a:cubicBezTo>
                    <a:pt x="421806" y="48357"/>
                    <a:pt x="778339" y="0"/>
                    <a:pt x="1172153" y="0"/>
                  </a:cubicBezTo>
                  <a:close/>
                </a:path>
              </a:pathLst>
            </a:custGeom>
            <a:solidFill>
              <a:srgbClr val="7FB2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5" name="Freeform 88"/>
            <p:cNvSpPr/>
            <p:nvPr/>
          </p:nvSpPr>
          <p:spPr>
            <a:xfrm>
              <a:off x="2294644" y="3274582"/>
              <a:ext cx="3596824" cy="2180008"/>
            </a:xfrm>
            <a:custGeom>
              <a:avLst/>
              <a:gdLst>
                <a:gd name="connsiteX0" fmla="*/ 1167538 w 3596824"/>
                <a:gd name="connsiteY0" fmla="*/ 0 h 2180008"/>
                <a:gd name="connsiteX1" fmla="*/ 1213645 w 3596824"/>
                <a:gd name="connsiteY1" fmla="*/ 78247 h 2180008"/>
                <a:gd name="connsiteX2" fmla="*/ 1798412 w 3596824"/>
                <a:gd name="connsiteY2" fmla="*/ 364647 h 2180008"/>
                <a:gd name="connsiteX3" fmla="*/ 2383179 w 3596824"/>
                <a:gd name="connsiteY3" fmla="*/ 78247 h 2180008"/>
                <a:gd name="connsiteX4" fmla="*/ 2429285 w 3596824"/>
                <a:gd name="connsiteY4" fmla="*/ 1 h 2180008"/>
                <a:gd name="connsiteX5" fmla="*/ 2475392 w 3596824"/>
                <a:gd name="connsiteY5" fmla="*/ 78247 h 2180008"/>
                <a:gd name="connsiteX6" fmla="*/ 3060159 w 3596824"/>
                <a:gd name="connsiteY6" fmla="*/ 364647 h 2180008"/>
                <a:gd name="connsiteX7" fmla="*/ 3558814 w 3596824"/>
                <a:gd name="connsiteY7" fmla="*/ 174385 h 2180008"/>
                <a:gd name="connsiteX8" fmla="*/ 3596823 w 3596824"/>
                <a:gd name="connsiteY8" fmla="*/ 131951 h 2180008"/>
                <a:gd name="connsiteX9" fmla="*/ 3596823 w 3596824"/>
                <a:gd name="connsiteY9" fmla="*/ 1530407 h 2180008"/>
                <a:gd name="connsiteX10" fmla="*/ 3596824 w 3596824"/>
                <a:gd name="connsiteY10" fmla="*/ 1530414 h 2180008"/>
                <a:gd name="connsiteX11" fmla="*/ 3596823 w 3596824"/>
                <a:gd name="connsiteY11" fmla="*/ 1530422 h 2180008"/>
                <a:gd name="connsiteX12" fmla="*/ 3596823 w 3596824"/>
                <a:gd name="connsiteY12" fmla="*/ 1537656 h 2180008"/>
                <a:gd name="connsiteX13" fmla="*/ 3595812 w 3596824"/>
                <a:gd name="connsiteY13" fmla="*/ 1537656 h 2180008"/>
                <a:gd name="connsiteX14" fmla="*/ 3587539 w 3596824"/>
                <a:gd name="connsiteY14" fmla="*/ 1596831 h 2180008"/>
                <a:gd name="connsiteX15" fmla="*/ 1798412 w 3596824"/>
                <a:gd name="connsiteY15" fmla="*/ 2180008 h 2180008"/>
                <a:gd name="connsiteX16" fmla="*/ 9285 w 3596824"/>
                <a:gd name="connsiteY16" fmla="*/ 1596831 h 2180008"/>
                <a:gd name="connsiteX17" fmla="*/ 1013 w 3596824"/>
                <a:gd name="connsiteY17" fmla="*/ 1537656 h 2180008"/>
                <a:gd name="connsiteX18" fmla="*/ 0 w 3596824"/>
                <a:gd name="connsiteY18" fmla="*/ 1537656 h 2180008"/>
                <a:gd name="connsiteX19" fmla="*/ 0 w 3596824"/>
                <a:gd name="connsiteY19" fmla="*/ 1530414 h 2180008"/>
                <a:gd name="connsiteX20" fmla="*/ 0 w 3596824"/>
                <a:gd name="connsiteY20" fmla="*/ 131951 h 2180008"/>
                <a:gd name="connsiteX21" fmla="*/ 38009 w 3596824"/>
                <a:gd name="connsiteY21" fmla="*/ 174385 h 2180008"/>
                <a:gd name="connsiteX22" fmla="*/ 536664 w 3596824"/>
                <a:gd name="connsiteY22" fmla="*/ 364647 h 2180008"/>
                <a:gd name="connsiteX23" fmla="*/ 1121431 w 3596824"/>
                <a:gd name="connsiteY23" fmla="*/ 78247 h 2180008"/>
                <a:gd name="connsiteX24" fmla="*/ 1167538 w 3596824"/>
                <a:gd name="connsiteY24" fmla="*/ 0 h 2180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96824" h="2180008">
                  <a:moveTo>
                    <a:pt x="1167538" y="0"/>
                  </a:moveTo>
                  <a:lnTo>
                    <a:pt x="1213645" y="78247"/>
                  </a:lnTo>
                  <a:cubicBezTo>
                    <a:pt x="1340376" y="251040"/>
                    <a:pt x="1554991" y="364647"/>
                    <a:pt x="1798412" y="364647"/>
                  </a:cubicBezTo>
                  <a:cubicBezTo>
                    <a:pt x="2041833" y="364647"/>
                    <a:pt x="2256449" y="251040"/>
                    <a:pt x="2383179" y="78247"/>
                  </a:cubicBezTo>
                  <a:lnTo>
                    <a:pt x="2429285" y="1"/>
                  </a:lnTo>
                  <a:lnTo>
                    <a:pt x="2475392" y="78247"/>
                  </a:lnTo>
                  <a:cubicBezTo>
                    <a:pt x="2602122" y="251040"/>
                    <a:pt x="2816738" y="364647"/>
                    <a:pt x="3060159" y="364647"/>
                  </a:cubicBezTo>
                  <a:cubicBezTo>
                    <a:pt x="3254896" y="364647"/>
                    <a:pt x="3431197" y="291939"/>
                    <a:pt x="3558814" y="174385"/>
                  </a:cubicBezTo>
                  <a:lnTo>
                    <a:pt x="3596823" y="131951"/>
                  </a:lnTo>
                  <a:lnTo>
                    <a:pt x="3596823" y="1530407"/>
                  </a:lnTo>
                  <a:lnTo>
                    <a:pt x="3596824" y="1530414"/>
                  </a:lnTo>
                  <a:lnTo>
                    <a:pt x="3596823" y="1530422"/>
                  </a:lnTo>
                  <a:lnTo>
                    <a:pt x="3596823" y="1537656"/>
                  </a:lnTo>
                  <a:lnTo>
                    <a:pt x="3595812" y="1537656"/>
                  </a:lnTo>
                  <a:lnTo>
                    <a:pt x="3587539" y="1596831"/>
                  </a:lnTo>
                  <a:cubicBezTo>
                    <a:pt x="3495443" y="1924393"/>
                    <a:pt x="2729571" y="2180008"/>
                    <a:pt x="1798412" y="2180008"/>
                  </a:cubicBezTo>
                  <a:cubicBezTo>
                    <a:pt x="867253" y="2180008"/>
                    <a:pt x="101382" y="1924393"/>
                    <a:pt x="9285" y="1596831"/>
                  </a:cubicBezTo>
                  <a:lnTo>
                    <a:pt x="1013" y="1537656"/>
                  </a:lnTo>
                  <a:lnTo>
                    <a:pt x="0" y="1537656"/>
                  </a:lnTo>
                  <a:lnTo>
                    <a:pt x="0" y="1530414"/>
                  </a:lnTo>
                  <a:lnTo>
                    <a:pt x="0" y="131951"/>
                  </a:lnTo>
                  <a:lnTo>
                    <a:pt x="38009" y="174385"/>
                  </a:lnTo>
                  <a:cubicBezTo>
                    <a:pt x="165626" y="291939"/>
                    <a:pt x="341927" y="364647"/>
                    <a:pt x="536664" y="364647"/>
                  </a:cubicBezTo>
                  <a:cubicBezTo>
                    <a:pt x="780086" y="364647"/>
                    <a:pt x="994701" y="251040"/>
                    <a:pt x="1121431" y="78247"/>
                  </a:cubicBezTo>
                  <a:lnTo>
                    <a:pt x="1167538" y="0"/>
                  </a:lnTo>
                  <a:close/>
                </a:path>
              </a:pathLst>
            </a:custGeom>
            <a:solidFill>
              <a:srgbClr val="73AD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6" name="Freeform 89"/>
            <p:cNvSpPr/>
            <p:nvPr/>
          </p:nvSpPr>
          <p:spPr>
            <a:xfrm>
              <a:off x="2294645" y="3274582"/>
              <a:ext cx="1798413" cy="2171020"/>
            </a:xfrm>
            <a:custGeom>
              <a:avLst/>
              <a:gdLst>
                <a:gd name="connsiteX0" fmla="*/ 1167537 w 1798413"/>
                <a:gd name="connsiteY0" fmla="*/ 0 h 2171020"/>
                <a:gd name="connsiteX1" fmla="*/ 1213644 w 1798413"/>
                <a:gd name="connsiteY1" fmla="*/ 78247 h 2171020"/>
                <a:gd name="connsiteX2" fmla="*/ 1798411 w 1798413"/>
                <a:gd name="connsiteY2" fmla="*/ 364647 h 2171020"/>
                <a:gd name="connsiteX3" fmla="*/ 1798413 w 1798413"/>
                <a:gd name="connsiteY3" fmla="*/ 364647 h 2171020"/>
                <a:gd name="connsiteX4" fmla="*/ 1798413 w 1798413"/>
                <a:gd name="connsiteY4" fmla="*/ 2171020 h 2171020"/>
                <a:gd name="connsiteX5" fmla="*/ 1798412 w 1798413"/>
                <a:gd name="connsiteY5" fmla="*/ 2171020 h 2171020"/>
                <a:gd name="connsiteX6" fmla="*/ 9285 w 1798413"/>
                <a:gd name="connsiteY6" fmla="*/ 1587843 h 2171020"/>
                <a:gd name="connsiteX7" fmla="*/ 1013 w 1798413"/>
                <a:gd name="connsiteY7" fmla="*/ 1528668 h 2171020"/>
                <a:gd name="connsiteX8" fmla="*/ 0 w 1798413"/>
                <a:gd name="connsiteY8" fmla="*/ 1528668 h 2171020"/>
                <a:gd name="connsiteX9" fmla="*/ 0 w 1798413"/>
                <a:gd name="connsiteY9" fmla="*/ 1521426 h 2171020"/>
                <a:gd name="connsiteX10" fmla="*/ 0 w 1798413"/>
                <a:gd name="connsiteY10" fmla="*/ 131952 h 2171020"/>
                <a:gd name="connsiteX11" fmla="*/ 38008 w 1798413"/>
                <a:gd name="connsiteY11" fmla="*/ 174385 h 2171020"/>
                <a:gd name="connsiteX12" fmla="*/ 536663 w 1798413"/>
                <a:gd name="connsiteY12" fmla="*/ 364647 h 2171020"/>
                <a:gd name="connsiteX13" fmla="*/ 1121430 w 1798413"/>
                <a:gd name="connsiteY13" fmla="*/ 78247 h 2171020"/>
                <a:gd name="connsiteX14" fmla="*/ 1167537 w 1798413"/>
                <a:gd name="connsiteY14" fmla="*/ 0 h 2171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98413" h="2171020">
                  <a:moveTo>
                    <a:pt x="1167537" y="0"/>
                  </a:moveTo>
                  <a:lnTo>
                    <a:pt x="1213644" y="78247"/>
                  </a:lnTo>
                  <a:cubicBezTo>
                    <a:pt x="1340375" y="251040"/>
                    <a:pt x="1554990" y="364647"/>
                    <a:pt x="1798411" y="364647"/>
                  </a:cubicBezTo>
                  <a:lnTo>
                    <a:pt x="1798413" y="364647"/>
                  </a:lnTo>
                  <a:lnTo>
                    <a:pt x="1798413" y="2171020"/>
                  </a:lnTo>
                  <a:lnTo>
                    <a:pt x="1798412" y="2171020"/>
                  </a:lnTo>
                  <a:cubicBezTo>
                    <a:pt x="867253" y="2171020"/>
                    <a:pt x="101382" y="1915405"/>
                    <a:pt x="9285" y="1587843"/>
                  </a:cubicBezTo>
                  <a:lnTo>
                    <a:pt x="1013" y="1528668"/>
                  </a:lnTo>
                  <a:lnTo>
                    <a:pt x="0" y="1528668"/>
                  </a:lnTo>
                  <a:lnTo>
                    <a:pt x="0" y="1521426"/>
                  </a:lnTo>
                  <a:lnTo>
                    <a:pt x="0" y="131952"/>
                  </a:lnTo>
                  <a:lnTo>
                    <a:pt x="38008" y="174385"/>
                  </a:lnTo>
                  <a:cubicBezTo>
                    <a:pt x="165625" y="291939"/>
                    <a:pt x="341926" y="364647"/>
                    <a:pt x="536663" y="364647"/>
                  </a:cubicBezTo>
                  <a:cubicBezTo>
                    <a:pt x="780085" y="364647"/>
                    <a:pt x="994700" y="251040"/>
                    <a:pt x="1121430" y="78247"/>
                  </a:cubicBezTo>
                  <a:lnTo>
                    <a:pt x="1167537" y="0"/>
                  </a:lnTo>
                  <a:close/>
                </a:path>
              </a:pathLst>
            </a:custGeom>
            <a:solidFill>
              <a:srgbClr val="5A91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40" name="Rectangle 39"/>
          <p:cNvSpPr/>
          <p:nvPr/>
        </p:nvSpPr>
        <p:spPr>
          <a:xfrm>
            <a:off x="1335511" y="4960286"/>
            <a:ext cx="10332607" cy="5486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aka.ms/AzureDataLake</a:t>
            </a:r>
          </a:p>
        </p:txBody>
      </p:sp>
    </p:spTree>
    <p:extLst>
      <p:ext uri="{BB962C8B-B14F-4D97-AF65-F5344CB8AC3E}">
        <p14:creationId xmlns:p14="http://schemas.microsoft.com/office/powerpoint/2010/main" val="2719674030"/>
      </p:ext>
    </p:extLst>
  </p:cSld>
  <p:clrMapOvr>
    <a:masterClrMapping/>
  </p:clrMapOvr>
  <mc:AlternateContent xmlns:mc="http://schemas.openxmlformats.org/markup-compatibility/2006" xmlns:p14="http://schemas.microsoft.com/office/powerpoint/2010/main">
    <mc:Choice Requires="p14">
      <p:transition p14:dur="0" advTm="5000"/>
    </mc:Choice>
    <mc:Fallback xmlns="">
      <p:transition advTm="500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475860" y="1430713"/>
            <a:ext cx="9627186" cy="3992708"/>
          </a:xfrm>
          <a:prstGeom prst="rect">
            <a:avLst/>
          </a:prstGeom>
        </p:spPr>
      </p:pic>
      <p:sp>
        <p:nvSpPr>
          <p:cNvPr id="2" name="Title 1"/>
          <p:cNvSpPr>
            <a:spLocks noGrp="1"/>
          </p:cNvSpPr>
          <p:nvPr>
            <p:ph type="title"/>
          </p:nvPr>
        </p:nvSpPr>
        <p:spPr>
          <a:xfrm>
            <a:off x="275163" y="292082"/>
            <a:ext cx="12160430" cy="946413"/>
          </a:xfrm>
        </p:spPr>
        <p:txBody>
          <a:bodyPr/>
          <a:lstStyle/>
          <a:p>
            <a:r>
              <a:rPr lang="en-US" sz="4488" dirty="0"/>
              <a:t>How to get going with ADL Tools for Visual Studio</a:t>
            </a:r>
          </a:p>
        </p:txBody>
      </p:sp>
      <p:pic>
        <p:nvPicPr>
          <p:cNvPr id="15" name="Picture 14"/>
          <p:cNvPicPr>
            <a:picLocks noChangeAspect="1"/>
          </p:cNvPicPr>
          <p:nvPr/>
        </p:nvPicPr>
        <p:blipFill>
          <a:blip r:embed="rId4"/>
          <a:stretch>
            <a:fillRect/>
          </a:stretch>
        </p:blipFill>
        <p:spPr>
          <a:xfrm>
            <a:off x="2579974" y="2170394"/>
            <a:ext cx="7616261" cy="4760163"/>
          </a:xfrm>
          <a:prstGeom prst="rect">
            <a:avLst/>
          </a:prstGeom>
        </p:spPr>
      </p:pic>
      <p:pic>
        <p:nvPicPr>
          <p:cNvPr id="19" name="Picture 18"/>
          <p:cNvPicPr>
            <a:picLocks noChangeAspect="1"/>
          </p:cNvPicPr>
          <p:nvPr/>
        </p:nvPicPr>
        <p:blipFill>
          <a:blip r:embed="rId5"/>
          <a:stretch>
            <a:fillRect/>
          </a:stretch>
        </p:blipFill>
        <p:spPr>
          <a:xfrm>
            <a:off x="3733411" y="3284137"/>
            <a:ext cx="7674548" cy="3565265"/>
          </a:xfrm>
          <a:prstGeom prst="rect">
            <a:avLst/>
          </a:prstGeom>
        </p:spPr>
      </p:pic>
      <p:sp>
        <p:nvSpPr>
          <p:cNvPr id="8" name="Rectangle 7"/>
          <p:cNvSpPr/>
          <p:nvPr/>
        </p:nvSpPr>
        <p:spPr bwMode="auto">
          <a:xfrm>
            <a:off x="5026753" y="4520728"/>
            <a:ext cx="2285277" cy="245912"/>
          </a:xfrm>
          <a:prstGeom prst="rect">
            <a:avLst/>
          </a:prstGeom>
          <a:ln w="57150">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kern="0" dirty="0">
              <a:solidFill>
                <a:srgbClr val="000000"/>
              </a:solidFill>
              <a:latin typeface="Segoe UI"/>
            </a:endParaRPr>
          </a:p>
        </p:txBody>
      </p:sp>
      <p:grpSp>
        <p:nvGrpSpPr>
          <p:cNvPr id="17" name="Group 16"/>
          <p:cNvGrpSpPr/>
          <p:nvPr/>
        </p:nvGrpSpPr>
        <p:grpSpPr>
          <a:xfrm>
            <a:off x="2641762" y="1028432"/>
            <a:ext cx="1572088" cy="892321"/>
            <a:chOff x="2589333" y="863216"/>
            <a:chExt cx="1541403" cy="874904"/>
          </a:xfrm>
        </p:grpSpPr>
        <p:sp>
          <p:nvSpPr>
            <p:cNvPr id="10" name="Rectangle 9"/>
            <p:cNvSpPr/>
            <p:nvPr/>
          </p:nvSpPr>
          <p:spPr bwMode="auto">
            <a:xfrm>
              <a:off x="2589333" y="1473788"/>
              <a:ext cx="695734" cy="264332"/>
            </a:xfrm>
            <a:prstGeom prst="rect">
              <a:avLst/>
            </a:prstGeom>
            <a:ln w="57150">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kern="0" dirty="0">
                <a:solidFill>
                  <a:srgbClr val="000000"/>
                </a:solidFill>
                <a:latin typeface="Segoe UI"/>
              </a:endParaRPr>
            </a:p>
          </p:txBody>
        </p:sp>
        <p:sp>
          <p:nvSpPr>
            <p:cNvPr id="14" name="TextBox 13"/>
            <p:cNvSpPr txBox="1"/>
            <p:nvPr/>
          </p:nvSpPr>
          <p:spPr>
            <a:xfrm>
              <a:off x="3179514" y="863216"/>
              <a:ext cx="951222" cy="515206"/>
            </a:xfrm>
            <a:prstGeom prst="rect">
              <a:avLst/>
            </a:prstGeom>
            <a:noFill/>
          </p:spPr>
          <p:txBody>
            <a:bodyPr wrap="none" lIns="186521" tIns="149217" rIns="186521" bIns="149217" rtlCol="0">
              <a:spAutoFit/>
            </a:bodyPr>
            <a:lstStyle/>
            <a:p>
              <a:pPr defTabSz="932597">
                <a:spcAft>
                  <a:spcPts val="612"/>
                </a:spcAft>
                <a:defRPr/>
              </a:pPr>
              <a:r>
                <a:rPr lang="en-US" sz="1428" kern="0" dirty="0">
                  <a:solidFill>
                    <a:srgbClr val="505050"/>
                  </a:solidFill>
                  <a:latin typeface="Segoe UI"/>
                </a:rPr>
                <a:t>Plug-in</a:t>
              </a:r>
            </a:p>
          </p:txBody>
        </p:sp>
        <p:cxnSp>
          <p:nvCxnSpPr>
            <p:cNvPr id="16" name="Straight Arrow Connector 15"/>
            <p:cNvCxnSpPr/>
            <p:nvPr/>
          </p:nvCxnSpPr>
          <p:spPr>
            <a:xfrm flipH="1">
              <a:off x="3179514" y="1218765"/>
              <a:ext cx="423229" cy="186897"/>
            </a:xfrm>
            <a:prstGeom prst="straightConnector1">
              <a:avLst/>
            </a:prstGeom>
            <a:ln w="57150">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sp>
        <p:nvSpPr>
          <p:cNvPr id="3" name="Slide Number Placeholder 2"/>
          <p:cNvSpPr>
            <a:spLocks noGrp="1"/>
          </p:cNvSpPr>
          <p:nvPr>
            <p:ph type="sldNum" sz="quarter" idx="4"/>
          </p:nvPr>
        </p:nvSpPr>
        <p:spPr/>
        <p:txBody>
          <a:bodyPr/>
          <a:lstStyle/>
          <a:p>
            <a:pPr defTabSz="932597">
              <a:defRPr/>
            </a:pPr>
            <a:fld id="{75FAD755-3BD0-2447-A9DF-109DAABEFD99}" type="slidenum">
              <a:rPr lang="en-US" sz="1836" kern="0">
                <a:solidFill>
                  <a:sysClr val="windowText" lastClr="000000"/>
                </a:solidFill>
                <a:latin typeface="Segoe UI"/>
              </a:rPr>
              <a:pPr defTabSz="932597">
                <a:defRPr/>
              </a:pPr>
              <a:t>20</a:t>
            </a:fld>
            <a:endParaRPr lang="en-US" sz="1836" kern="0" dirty="0">
              <a:solidFill>
                <a:sysClr val="windowText" lastClr="000000"/>
              </a:solidFill>
              <a:latin typeface="Segoe UI"/>
            </a:endParaRPr>
          </a:p>
        </p:txBody>
      </p:sp>
    </p:spTree>
    <p:extLst>
      <p:ext uri="{BB962C8B-B14F-4D97-AF65-F5344CB8AC3E}">
        <p14:creationId xmlns:p14="http://schemas.microsoft.com/office/powerpoint/2010/main" val="100621230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500"/>
                                        <p:tgtEl>
                                          <p:spTgt spid="1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4550862" y="1427825"/>
            <a:ext cx="7609815" cy="4619576"/>
          </a:xfrm>
          <a:prstGeom prst="rect">
            <a:avLst/>
          </a:prstGeom>
        </p:spPr>
      </p:pic>
      <p:sp>
        <p:nvSpPr>
          <p:cNvPr id="2" name="Title 1"/>
          <p:cNvSpPr>
            <a:spLocks noGrp="1"/>
          </p:cNvSpPr>
          <p:nvPr>
            <p:ph type="title"/>
          </p:nvPr>
        </p:nvSpPr>
        <p:spPr>
          <a:xfrm>
            <a:off x="275163" y="292082"/>
            <a:ext cx="11885514" cy="946413"/>
          </a:xfrm>
        </p:spPr>
        <p:txBody>
          <a:bodyPr/>
          <a:lstStyle/>
          <a:p>
            <a:r>
              <a:rPr lang="en-US" dirty="0"/>
              <a:t>Authoring U-SQL queries</a:t>
            </a:r>
          </a:p>
        </p:txBody>
      </p:sp>
      <p:sp>
        <p:nvSpPr>
          <p:cNvPr id="6" name="TextBox 5"/>
          <p:cNvSpPr txBox="1"/>
          <p:nvPr/>
        </p:nvSpPr>
        <p:spPr>
          <a:xfrm>
            <a:off x="275162" y="1291818"/>
            <a:ext cx="4290662" cy="3374464"/>
          </a:xfrm>
          <a:prstGeom prst="rect">
            <a:avLst/>
          </a:prstGeom>
          <a:noFill/>
        </p:spPr>
        <p:txBody>
          <a:bodyPr wrap="square" lIns="186521" tIns="93260" rIns="186521" bIns="93260" rtlCol="0">
            <a:spAutoFit/>
          </a:bodyPr>
          <a:lstStyle/>
          <a:p>
            <a:pPr defTabSz="932597">
              <a:spcBef>
                <a:spcPts val="1224"/>
              </a:spcBef>
              <a:defRPr/>
            </a:pPr>
            <a:r>
              <a:rPr lang="en-US" sz="2652" kern="0" dirty="0">
                <a:solidFill>
                  <a:srgbClr val="50B347"/>
                </a:solidFill>
                <a:latin typeface="Segoe UI Light"/>
              </a:rPr>
              <a:t>Visual Studio fully supports authoring U-SQL scripts</a:t>
            </a:r>
          </a:p>
          <a:p>
            <a:pPr defTabSz="932597">
              <a:spcBef>
                <a:spcPts val="1224"/>
              </a:spcBef>
              <a:defRPr/>
            </a:pPr>
            <a:r>
              <a:rPr lang="en-US" sz="2652" kern="0" dirty="0">
                <a:solidFill>
                  <a:srgbClr val="000000">
                    <a:lumMod val="65000"/>
                    <a:lumOff val="35000"/>
                  </a:srgbClr>
                </a:solidFill>
                <a:latin typeface="Segoe UI Light"/>
              </a:rPr>
              <a:t>While editing, it provides:</a:t>
            </a:r>
          </a:p>
          <a:p>
            <a:pPr marL="403154" indent="-288198" defTabSz="932597">
              <a:spcBef>
                <a:spcPts val="612"/>
              </a:spcBef>
              <a:spcAft>
                <a:spcPts val="612"/>
              </a:spcAft>
              <a:buClr>
                <a:srgbClr val="50B347"/>
              </a:buClr>
              <a:buSzPct val="100000"/>
              <a:buBlip>
                <a:blip r:embed="rId4"/>
              </a:buBlip>
              <a:defRPr/>
            </a:pPr>
            <a:r>
              <a:rPr lang="en-US" sz="1938" kern="0" dirty="0">
                <a:solidFill>
                  <a:srgbClr val="505050"/>
                </a:solidFill>
                <a:latin typeface="Segoe UI Light"/>
              </a:rPr>
              <a:t>IntelliSense</a:t>
            </a:r>
          </a:p>
          <a:p>
            <a:pPr marL="403154" indent="-288198" defTabSz="932597">
              <a:spcBef>
                <a:spcPts val="612"/>
              </a:spcBef>
              <a:spcAft>
                <a:spcPts val="612"/>
              </a:spcAft>
              <a:buClr>
                <a:srgbClr val="50B347"/>
              </a:buClr>
              <a:buSzPct val="100000"/>
              <a:buBlip>
                <a:blip r:embed="rId4"/>
              </a:buBlip>
              <a:defRPr/>
            </a:pPr>
            <a:r>
              <a:rPr lang="en-US" sz="1938" kern="0" dirty="0">
                <a:solidFill>
                  <a:srgbClr val="505050"/>
                </a:solidFill>
                <a:latin typeface="Segoe UI Light"/>
              </a:rPr>
              <a:t>Syntax color coding</a:t>
            </a:r>
          </a:p>
          <a:p>
            <a:pPr marL="403154" indent="-288198" defTabSz="932597">
              <a:spcBef>
                <a:spcPts val="612"/>
              </a:spcBef>
              <a:spcAft>
                <a:spcPts val="612"/>
              </a:spcAft>
              <a:buClr>
                <a:srgbClr val="50B347"/>
              </a:buClr>
              <a:buSzPct val="100000"/>
              <a:buBlip>
                <a:blip r:embed="rId4"/>
              </a:buBlip>
              <a:defRPr/>
            </a:pPr>
            <a:r>
              <a:rPr lang="en-US" sz="1938" kern="0" dirty="0">
                <a:solidFill>
                  <a:srgbClr val="505050"/>
                </a:solidFill>
                <a:latin typeface="Segoe UI Light"/>
              </a:rPr>
              <a:t>Syntax checking</a:t>
            </a:r>
          </a:p>
          <a:p>
            <a:pPr marL="403154" indent="-288198" defTabSz="932597">
              <a:spcBef>
                <a:spcPts val="612"/>
              </a:spcBef>
              <a:spcAft>
                <a:spcPts val="612"/>
              </a:spcAft>
              <a:buClr>
                <a:srgbClr val="50B347"/>
              </a:buClr>
              <a:buSzPct val="100000"/>
              <a:buBlip>
                <a:blip r:embed="rId4"/>
              </a:buBlip>
              <a:defRPr/>
            </a:pPr>
            <a:r>
              <a:rPr lang="en-US" sz="1938" kern="0" dirty="0">
                <a:solidFill>
                  <a:srgbClr val="505050"/>
                </a:solidFill>
                <a:latin typeface="Segoe UI Light"/>
              </a:rPr>
              <a:t>…</a:t>
            </a:r>
          </a:p>
        </p:txBody>
      </p:sp>
      <p:sp>
        <p:nvSpPr>
          <p:cNvPr id="3" name="Slide Number Placeholder 2"/>
          <p:cNvSpPr>
            <a:spLocks noGrp="1"/>
          </p:cNvSpPr>
          <p:nvPr>
            <p:ph type="sldNum" sz="quarter" idx="4"/>
          </p:nvPr>
        </p:nvSpPr>
        <p:spPr/>
        <p:txBody>
          <a:bodyPr/>
          <a:lstStyle/>
          <a:p>
            <a:pPr defTabSz="932597">
              <a:defRPr/>
            </a:pPr>
            <a:fld id="{75FAD755-3BD0-2447-A9DF-109DAABEFD99}" type="slidenum">
              <a:rPr lang="en-US" sz="1836" kern="0">
                <a:solidFill>
                  <a:sysClr val="windowText" lastClr="000000"/>
                </a:solidFill>
                <a:latin typeface="Segoe UI"/>
              </a:rPr>
              <a:pPr defTabSz="932597">
                <a:defRPr/>
              </a:pPr>
              <a:t>21</a:t>
            </a:fld>
            <a:endParaRPr lang="en-US" sz="1836" kern="0" dirty="0">
              <a:solidFill>
                <a:sysClr val="windowText" lastClr="000000"/>
              </a:solidFill>
              <a:latin typeface="Segoe UI"/>
            </a:endParaRPr>
          </a:p>
        </p:txBody>
      </p:sp>
      <p:sp>
        <p:nvSpPr>
          <p:cNvPr id="9" name="Rectangular Callout 8"/>
          <p:cNvSpPr/>
          <p:nvPr/>
        </p:nvSpPr>
        <p:spPr>
          <a:xfrm>
            <a:off x="9290842" y="2655715"/>
            <a:ext cx="1302942" cy="323349"/>
          </a:xfrm>
          <a:prstGeom prst="borderCallout2">
            <a:avLst>
              <a:gd name="adj1" fmla="val 18750"/>
              <a:gd name="adj2" fmla="val -8333"/>
              <a:gd name="adj3" fmla="val 18750"/>
              <a:gd name="adj4" fmla="val -16667"/>
              <a:gd name="adj5" fmla="val -138859"/>
              <a:gd name="adj6" fmla="val -53825"/>
            </a:avLst>
          </a:prstGeom>
          <a:solidFill>
            <a:srgbClr val="FFE9D5"/>
          </a:solidFill>
          <a:ln w="317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wrap="square" lIns="93260" tIns="74608" bIns="74608" rtlCol="0" anchor="ctr">
            <a:spAutoFit/>
          </a:bodyPr>
          <a:lstStyle/>
          <a:p>
            <a:pPr defTabSz="777000">
              <a:defRPr/>
            </a:pPr>
            <a:r>
              <a:rPr lang="en-US" sz="1122" b="1" kern="0" dirty="0">
                <a:solidFill>
                  <a:srgbClr val="505050"/>
                </a:solidFill>
                <a:latin typeface="Segoe UI Semibold" charset="0"/>
                <a:ea typeface="Segoe UI Semibold" charset="0"/>
                <a:cs typeface="Segoe UI Semibold" charset="0"/>
              </a:rPr>
              <a:t>Contextual menu</a:t>
            </a:r>
          </a:p>
        </p:txBody>
      </p:sp>
    </p:spTree>
    <p:extLst>
      <p:ext uri="{BB962C8B-B14F-4D97-AF65-F5344CB8AC3E}">
        <p14:creationId xmlns:p14="http://schemas.microsoft.com/office/powerpoint/2010/main" val="36097229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par>
                          <p:cTn id="16" fill="hold">
                            <p:stCondLst>
                              <p:cond delay="500"/>
                            </p:stCondLst>
                            <p:childTnLst>
                              <p:par>
                                <p:cTn id="17" presetID="10" presetClass="entr" presetSubtype="0" fill="hold" nodeType="afterEffect">
                                  <p:stCondLst>
                                    <p:cond delay="0"/>
                                  </p:stCondLst>
                                  <p:childTnLst>
                                    <p:set>
                                      <p:cBhvr>
                                        <p:cTn id="18" dur="1" fill="hold">
                                          <p:stCondLst>
                                            <p:cond delay="0"/>
                                          </p:stCondLst>
                                        </p:cTn>
                                        <p:tgtEl>
                                          <p:spTgt spid="6">
                                            <p:txEl>
                                              <p:pRg st="1" end="1"/>
                                            </p:txEl>
                                          </p:spTgt>
                                        </p:tgtEl>
                                        <p:attrNameLst>
                                          <p:attrName>style.visibility</p:attrName>
                                        </p:attrNameLst>
                                      </p:cBhvr>
                                      <p:to>
                                        <p:strVal val="visible"/>
                                      </p:to>
                                    </p:set>
                                    <p:animEffect transition="in" filter="fade">
                                      <p:cBhvr>
                                        <p:cTn id="19" dur="500"/>
                                        <p:tgtEl>
                                          <p:spTgt spid="6">
                                            <p:txEl>
                                              <p:pRg st="1" end="1"/>
                                            </p:txEl>
                                          </p:spTgt>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6">
                                            <p:txEl>
                                              <p:pRg st="2" end="2"/>
                                            </p:txEl>
                                          </p:spTgt>
                                        </p:tgtEl>
                                        <p:attrNameLst>
                                          <p:attrName>style.visibility</p:attrName>
                                        </p:attrNameLst>
                                      </p:cBhvr>
                                      <p:to>
                                        <p:strVal val="visible"/>
                                      </p:to>
                                    </p:set>
                                    <p:animEffect transition="in" filter="fade">
                                      <p:cBhvr>
                                        <p:cTn id="23" dur="500"/>
                                        <p:tgtEl>
                                          <p:spTgt spid="6">
                                            <p:txEl>
                                              <p:pRg st="2" end="2"/>
                                            </p:txEl>
                                          </p:spTgt>
                                        </p:tgtEl>
                                      </p:cBhvr>
                                    </p:animEffect>
                                  </p:childTnLst>
                                </p:cTn>
                              </p:par>
                            </p:childTnLst>
                          </p:cTn>
                        </p:par>
                        <p:par>
                          <p:cTn id="24" fill="hold">
                            <p:stCondLst>
                              <p:cond delay="1500"/>
                            </p:stCondLst>
                            <p:childTnLst>
                              <p:par>
                                <p:cTn id="25" presetID="10" presetClass="entr" presetSubtype="0" fill="hold" nodeType="afterEffect">
                                  <p:stCondLst>
                                    <p:cond delay="0"/>
                                  </p:stCondLst>
                                  <p:childTnLst>
                                    <p:set>
                                      <p:cBhvr>
                                        <p:cTn id="26" dur="1" fill="hold">
                                          <p:stCondLst>
                                            <p:cond delay="0"/>
                                          </p:stCondLst>
                                        </p:cTn>
                                        <p:tgtEl>
                                          <p:spTgt spid="6">
                                            <p:txEl>
                                              <p:pRg st="3" end="3"/>
                                            </p:txEl>
                                          </p:spTgt>
                                        </p:tgtEl>
                                        <p:attrNameLst>
                                          <p:attrName>style.visibility</p:attrName>
                                        </p:attrNameLst>
                                      </p:cBhvr>
                                      <p:to>
                                        <p:strVal val="visible"/>
                                      </p:to>
                                    </p:set>
                                    <p:animEffect transition="in" filter="fade">
                                      <p:cBhvr>
                                        <p:cTn id="27" dur="500"/>
                                        <p:tgtEl>
                                          <p:spTgt spid="6">
                                            <p:txEl>
                                              <p:pRg st="3" end="3"/>
                                            </p:txEl>
                                          </p:spTgt>
                                        </p:tgtEl>
                                      </p:cBhvr>
                                    </p:animEffect>
                                  </p:childTnLst>
                                </p:cTn>
                              </p:par>
                            </p:childTnLst>
                          </p:cTn>
                        </p:par>
                        <p:par>
                          <p:cTn id="28" fill="hold">
                            <p:stCondLst>
                              <p:cond delay="2000"/>
                            </p:stCondLst>
                            <p:childTnLst>
                              <p:par>
                                <p:cTn id="29" presetID="10" presetClass="entr" presetSubtype="0" fill="hold" nodeType="afterEffect">
                                  <p:stCondLst>
                                    <p:cond delay="0"/>
                                  </p:stCondLst>
                                  <p:childTnLst>
                                    <p:set>
                                      <p:cBhvr>
                                        <p:cTn id="30" dur="1" fill="hold">
                                          <p:stCondLst>
                                            <p:cond delay="0"/>
                                          </p:stCondLst>
                                        </p:cTn>
                                        <p:tgtEl>
                                          <p:spTgt spid="6">
                                            <p:txEl>
                                              <p:pRg st="4" end="4"/>
                                            </p:txEl>
                                          </p:spTgt>
                                        </p:tgtEl>
                                        <p:attrNameLst>
                                          <p:attrName>style.visibility</p:attrName>
                                        </p:attrNameLst>
                                      </p:cBhvr>
                                      <p:to>
                                        <p:strVal val="visible"/>
                                      </p:to>
                                    </p:set>
                                    <p:animEffect transition="in" filter="fade">
                                      <p:cBhvr>
                                        <p:cTn id="31" dur="500"/>
                                        <p:tgtEl>
                                          <p:spTgt spid="6">
                                            <p:txEl>
                                              <p:pRg st="4" end="4"/>
                                            </p:txEl>
                                          </p:spTgt>
                                        </p:tgtEl>
                                      </p:cBhvr>
                                    </p:animEffect>
                                  </p:childTnLst>
                                </p:cTn>
                              </p:par>
                            </p:childTnLst>
                          </p:cTn>
                        </p:par>
                        <p:par>
                          <p:cTn id="32" fill="hold">
                            <p:stCondLst>
                              <p:cond delay="2500"/>
                            </p:stCondLst>
                            <p:childTnLst>
                              <p:par>
                                <p:cTn id="33" presetID="10" presetClass="entr" presetSubtype="0" fill="hold" nodeType="afterEffect">
                                  <p:stCondLst>
                                    <p:cond delay="0"/>
                                  </p:stCondLst>
                                  <p:childTnLst>
                                    <p:set>
                                      <p:cBhvr>
                                        <p:cTn id="34" dur="1" fill="hold">
                                          <p:stCondLst>
                                            <p:cond delay="0"/>
                                          </p:stCondLst>
                                        </p:cTn>
                                        <p:tgtEl>
                                          <p:spTgt spid="6">
                                            <p:txEl>
                                              <p:pRg st="5" end="5"/>
                                            </p:txEl>
                                          </p:spTgt>
                                        </p:tgtEl>
                                        <p:attrNameLst>
                                          <p:attrName>style.visibility</p:attrName>
                                        </p:attrNameLst>
                                      </p:cBhvr>
                                      <p:to>
                                        <p:strVal val="visible"/>
                                      </p:to>
                                    </p:set>
                                    <p:animEffect transition="in" filter="fade">
                                      <p:cBhvr>
                                        <p:cTn id="35" dur="500"/>
                                        <p:tgtEl>
                                          <p:spTgt spid="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163" y="292082"/>
            <a:ext cx="11885514" cy="946413"/>
          </a:xfrm>
        </p:spPr>
        <p:txBody>
          <a:bodyPr/>
          <a:lstStyle/>
          <a:p>
            <a:r>
              <a:rPr lang="en-US" dirty="0"/>
              <a:t>Submitting a U-SQL job</a:t>
            </a:r>
          </a:p>
        </p:txBody>
      </p:sp>
      <p:pic>
        <p:nvPicPr>
          <p:cNvPr id="6" name="Picture 5"/>
          <p:cNvPicPr>
            <a:picLocks noChangeAspect="1"/>
          </p:cNvPicPr>
          <p:nvPr/>
        </p:nvPicPr>
        <p:blipFill>
          <a:blip r:embed="rId3"/>
          <a:stretch>
            <a:fillRect/>
          </a:stretch>
        </p:blipFill>
        <p:spPr>
          <a:xfrm>
            <a:off x="1728855" y="2233437"/>
            <a:ext cx="6969856" cy="4348540"/>
          </a:xfrm>
          <a:prstGeom prst="rect">
            <a:avLst/>
          </a:prstGeom>
          <a:ln>
            <a:solidFill>
              <a:schemeClr val="accent1">
                <a:lumMod val="75000"/>
              </a:schemeClr>
            </a:solidFill>
          </a:ln>
        </p:spPr>
      </p:pic>
      <p:pic>
        <p:nvPicPr>
          <p:cNvPr id="7" name="Picture 6"/>
          <p:cNvPicPr>
            <a:picLocks noChangeAspect="1"/>
          </p:cNvPicPr>
          <p:nvPr/>
        </p:nvPicPr>
        <p:blipFill>
          <a:blip r:embed="rId4"/>
          <a:stretch>
            <a:fillRect/>
          </a:stretch>
        </p:blipFill>
        <p:spPr>
          <a:xfrm>
            <a:off x="5007538" y="2899374"/>
            <a:ext cx="2098358" cy="942318"/>
          </a:xfrm>
          <a:prstGeom prst="rect">
            <a:avLst/>
          </a:prstGeom>
        </p:spPr>
      </p:pic>
      <p:sp>
        <p:nvSpPr>
          <p:cNvPr id="8" name="Rectangle 7"/>
          <p:cNvSpPr/>
          <p:nvPr/>
        </p:nvSpPr>
        <p:spPr bwMode="auto">
          <a:xfrm>
            <a:off x="2222268" y="3333121"/>
            <a:ext cx="886434" cy="295478"/>
          </a:xfrm>
          <a:prstGeom prst="rect">
            <a:avLst/>
          </a:prstGeom>
          <a:ln w="57150">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kern="0" dirty="0">
              <a:solidFill>
                <a:srgbClr val="000000"/>
              </a:solidFill>
              <a:latin typeface="Segoe UI"/>
            </a:endParaRPr>
          </a:p>
        </p:txBody>
      </p:sp>
      <p:sp>
        <p:nvSpPr>
          <p:cNvPr id="9" name="Rectangle 8"/>
          <p:cNvSpPr/>
          <p:nvPr/>
        </p:nvSpPr>
        <p:spPr bwMode="auto">
          <a:xfrm>
            <a:off x="5059428" y="2507714"/>
            <a:ext cx="406282" cy="243628"/>
          </a:xfrm>
          <a:prstGeom prst="rect">
            <a:avLst/>
          </a:prstGeom>
          <a:ln w="57150">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kern="0" dirty="0">
              <a:solidFill>
                <a:srgbClr val="000000"/>
              </a:solidFill>
              <a:latin typeface="Segoe UI"/>
            </a:endParaRPr>
          </a:p>
        </p:txBody>
      </p:sp>
      <p:sp>
        <p:nvSpPr>
          <p:cNvPr id="10" name="Rectangle 9"/>
          <p:cNvSpPr/>
          <p:nvPr/>
        </p:nvSpPr>
        <p:spPr bwMode="auto">
          <a:xfrm>
            <a:off x="5024074" y="2920116"/>
            <a:ext cx="1043746" cy="243628"/>
          </a:xfrm>
          <a:prstGeom prst="rect">
            <a:avLst/>
          </a:prstGeom>
          <a:ln w="57150">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kern="0" dirty="0">
              <a:solidFill>
                <a:srgbClr val="000000"/>
              </a:solidFill>
              <a:latin typeface="Segoe UI"/>
            </a:endParaRPr>
          </a:p>
        </p:txBody>
      </p:sp>
      <p:grpSp>
        <p:nvGrpSpPr>
          <p:cNvPr id="13" name="Group 12"/>
          <p:cNvGrpSpPr/>
          <p:nvPr/>
        </p:nvGrpSpPr>
        <p:grpSpPr>
          <a:xfrm>
            <a:off x="5976189" y="3948077"/>
            <a:ext cx="4922495" cy="2630107"/>
            <a:chOff x="6797971" y="3078480"/>
            <a:chExt cx="4581525" cy="2447925"/>
          </a:xfrm>
        </p:grpSpPr>
        <p:pic>
          <p:nvPicPr>
            <p:cNvPr id="5" name="Picture 4"/>
            <p:cNvPicPr>
              <a:picLocks noChangeAspect="1"/>
            </p:cNvPicPr>
            <p:nvPr/>
          </p:nvPicPr>
          <p:blipFill>
            <a:blip r:embed="rId5"/>
            <a:stretch>
              <a:fillRect/>
            </a:stretch>
          </p:blipFill>
          <p:spPr>
            <a:xfrm>
              <a:off x="6797971" y="3078480"/>
              <a:ext cx="4581525" cy="2447925"/>
            </a:xfrm>
            <a:prstGeom prst="rect">
              <a:avLst/>
            </a:prstGeom>
            <a:ln>
              <a:solidFill>
                <a:schemeClr val="accent1">
                  <a:lumMod val="75000"/>
                </a:schemeClr>
              </a:solidFill>
            </a:ln>
          </p:spPr>
        </p:pic>
        <p:sp>
          <p:nvSpPr>
            <p:cNvPr id="12" name="Rectangle 11"/>
            <p:cNvSpPr/>
            <p:nvPr/>
          </p:nvSpPr>
          <p:spPr bwMode="auto">
            <a:xfrm>
              <a:off x="8419723" y="3548958"/>
              <a:ext cx="606582" cy="11769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ts val="612"/>
                </a:spcBef>
                <a:defRPr/>
              </a:pPr>
              <a:endParaRPr lang="en-US" sz="2040" b="1" kern="0" dirty="0">
                <a:solidFill>
                  <a:srgbClr val="FFFFFF"/>
                </a:solidFill>
                <a:latin typeface="Segoe UI Light"/>
                <a:ea typeface="Segoe UI" pitchFamily="34" charset="0"/>
                <a:cs typeface="Segoe UI" pitchFamily="34" charset="0"/>
              </a:endParaRPr>
            </a:p>
          </p:txBody>
        </p:sp>
      </p:grpSp>
      <p:sp>
        <p:nvSpPr>
          <p:cNvPr id="11" name="Rectangle 10"/>
          <p:cNvSpPr/>
          <p:nvPr/>
        </p:nvSpPr>
        <p:spPr bwMode="auto">
          <a:xfrm>
            <a:off x="9924631" y="6160617"/>
            <a:ext cx="877918" cy="323178"/>
          </a:xfrm>
          <a:prstGeom prst="rect">
            <a:avLst/>
          </a:prstGeom>
          <a:ln w="57150">
            <a:solidFill>
              <a:srgbClr val="50B347"/>
            </a:solidFill>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kern="0" dirty="0">
              <a:solidFill>
                <a:srgbClr val="000000"/>
              </a:solidFill>
              <a:latin typeface="Segoe UI"/>
            </a:endParaRPr>
          </a:p>
        </p:txBody>
      </p:sp>
      <p:sp>
        <p:nvSpPr>
          <p:cNvPr id="16" name="TextBox 15"/>
          <p:cNvSpPr txBox="1"/>
          <p:nvPr/>
        </p:nvSpPr>
        <p:spPr>
          <a:xfrm>
            <a:off x="444197" y="999380"/>
            <a:ext cx="11547444" cy="786851"/>
          </a:xfrm>
          <a:prstGeom prst="rect">
            <a:avLst/>
          </a:prstGeom>
          <a:noFill/>
        </p:spPr>
        <p:txBody>
          <a:bodyPr wrap="square" lIns="0" tIns="46630" rIns="0" bIns="46630" rtlCol="0">
            <a:spAutoFit/>
          </a:bodyPr>
          <a:lstStyle/>
          <a:p>
            <a:pPr defTabSz="932597">
              <a:spcBef>
                <a:spcPts val="204"/>
              </a:spcBef>
              <a:spcAft>
                <a:spcPts val="204"/>
              </a:spcAft>
              <a:defRPr/>
            </a:pPr>
            <a:r>
              <a:rPr lang="en-US" sz="2040" kern="0" dirty="0">
                <a:solidFill>
                  <a:srgbClr val="50B347"/>
                </a:solidFill>
                <a:latin typeface="Segoe UI Light"/>
              </a:rPr>
              <a:t>Jobs can be submitted directly from Visual Studio in two ways</a:t>
            </a:r>
          </a:p>
          <a:p>
            <a:pPr defTabSz="932597">
              <a:spcBef>
                <a:spcPts val="204"/>
              </a:spcBef>
              <a:spcAft>
                <a:spcPts val="204"/>
              </a:spcAft>
              <a:defRPr/>
            </a:pPr>
            <a:r>
              <a:rPr lang="en-US" sz="2040" kern="0" dirty="0">
                <a:solidFill>
                  <a:srgbClr val="50B347"/>
                </a:solidFill>
                <a:latin typeface="Segoe UI Light"/>
              </a:rPr>
              <a:t>You have to be logged into Azure and have to specify the target Azure Data Lake account.</a:t>
            </a:r>
          </a:p>
        </p:txBody>
      </p:sp>
      <p:sp>
        <p:nvSpPr>
          <p:cNvPr id="3" name="Slide Number Placeholder 2"/>
          <p:cNvSpPr>
            <a:spLocks noGrp="1"/>
          </p:cNvSpPr>
          <p:nvPr>
            <p:ph type="sldNum" sz="quarter" idx="4"/>
          </p:nvPr>
        </p:nvSpPr>
        <p:spPr/>
        <p:txBody>
          <a:bodyPr/>
          <a:lstStyle/>
          <a:p>
            <a:pPr defTabSz="932597">
              <a:defRPr/>
            </a:pPr>
            <a:fld id="{75FAD755-3BD0-2447-A9DF-109DAABEFD99}" type="slidenum">
              <a:rPr lang="en-US" sz="1836" kern="0">
                <a:solidFill>
                  <a:sysClr val="windowText" lastClr="000000"/>
                </a:solidFill>
                <a:latin typeface="Segoe UI"/>
              </a:rPr>
              <a:pPr defTabSz="932597">
                <a:defRPr/>
              </a:pPr>
              <a:t>22</a:t>
            </a:fld>
            <a:endParaRPr lang="en-US" sz="1836" kern="0" dirty="0">
              <a:solidFill>
                <a:sysClr val="windowText" lastClr="000000"/>
              </a:solidFill>
              <a:latin typeface="Segoe UI"/>
            </a:endParaRPr>
          </a:p>
        </p:txBody>
      </p:sp>
    </p:spTree>
    <p:extLst>
      <p:ext uri="{BB962C8B-B14F-4D97-AF65-F5344CB8AC3E}">
        <p14:creationId xmlns:p14="http://schemas.microsoft.com/office/powerpoint/2010/main" val="161040696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left)">
                                      <p:cBhvr>
                                        <p:cTn id="11" dur="500"/>
                                        <p:tgtEl>
                                          <p:spTgt spid="8"/>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wipe(left)">
                                      <p:cBhvr>
                                        <p:cTn id="15" dur="500"/>
                                        <p:tgtEl>
                                          <p:spTgt spid="9"/>
                                        </p:tgtEl>
                                      </p:cBhvr>
                                    </p:animEffect>
                                  </p:childTnLst>
                                </p:cTn>
                              </p:par>
                            </p:childTnLst>
                          </p:cTn>
                        </p:par>
                        <p:par>
                          <p:cTn id="16" fill="hold">
                            <p:stCondLst>
                              <p:cond delay="1500"/>
                            </p:stCondLst>
                            <p:childTnLst>
                              <p:par>
                                <p:cTn id="17" presetID="22" presetClass="entr" presetSubtype="1"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wipe(up)">
                                      <p:cBhvr>
                                        <p:cTn id="19" dur="500"/>
                                        <p:tgtEl>
                                          <p:spTgt spid="7"/>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wipe(left)">
                                      <p:cBhvr>
                                        <p:cTn id="23" dur="500"/>
                                        <p:tgtEl>
                                          <p:spTgt spid="10"/>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par>
                          <p:cTn id="28" fill="hold">
                            <p:stCondLst>
                              <p:cond delay="3000"/>
                            </p:stCondLst>
                            <p:childTnLst>
                              <p:par>
                                <p:cTn id="29" presetID="22" presetClass="entr" presetSubtype="1" fill="hold" grpId="0" nodeType="after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wipe(up)">
                                      <p:cBhvr>
                                        <p:cTn id="3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6"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ry design</a:t>
            </a:r>
          </a:p>
        </p:txBody>
      </p:sp>
      <p:pic>
        <p:nvPicPr>
          <p:cNvPr id="4" name="Picture 3"/>
          <p:cNvPicPr>
            <a:picLocks noChangeAspect="1"/>
          </p:cNvPicPr>
          <p:nvPr/>
        </p:nvPicPr>
        <p:blipFill>
          <a:blip r:embed="rId3"/>
          <a:stretch>
            <a:fillRect/>
          </a:stretch>
        </p:blipFill>
        <p:spPr>
          <a:xfrm>
            <a:off x="3240680" y="1233099"/>
            <a:ext cx="8224396" cy="4974489"/>
          </a:xfrm>
          <a:prstGeom prst="rect">
            <a:avLst/>
          </a:prstGeom>
          <a:ln>
            <a:solidFill>
              <a:schemeClr val="accent1"/>
            </a:solidFill>
          </a:ln>
        </p:spPr>
      </p:pic>
      <p:sp>
        <p:nvSpPr>
          <p:cNvPr id="5" name="TextBox 4"/>
          <p:cNvSpPr txBox="1"/>
          <p:nvPr/>
        </p:nvSpPr>
        <p:spPr>
          <a:xfrm>
            <a:off x="275163" y="1728395"/>
            <a:ext cx="2742135" cy="1808171"/>
          </a:xfrm>
          <a:prstGeom prst="rect">
            <a:avLst/>
          </a:prstGeom>
          <a:noFill/>
        </p:spPr>
        <p:txBody>
          <a:bodyPr wrap="square" lIns="0" tIns="149217" rIns="0" bIns="149217" rtlCol="0">
            <a:spAutoFit/>
          </a:bodyPr>
          <a:lstStyle/>
          <a:p>
            <a:pPr marL="403154" indent="-288198" defTabSz="932597" fontAlgn="base">
              <a:spcBef>
                <a:spcPts val="612"/>
              </a:spcBef>
              <a:spcAft>
                <a:spcPts val="612"/>
              </a:spcAft>
              <a:buClr>
                <a:srgbClr val="50B347"/>
              </a:buClr>
              <a:buSzPct val="100000"/>
              <a:buBlip>
                <a:blip r:embed="rId4"/>
              </a:buBlip>
              <a:defRPr/>
            </a:pPr>
            <a:r>
              <a:rPr lang="en-US" sz="2448" kern="0" dirty="0">
                <a:solidFill>
                  <a:srgbClr val="505050"/>
                </a:solidFill>
                <a:latin typeface="Segoe UI"/>
              </a:rPr>
              <a:t>U-SQL Studio lets you see the logical query design including:</a:t>
            </a:r>
          </a:p>
        </p:txBody>
      </p:sp>
      <p:sp>
        <p:nvSpPr>
          <p:cNvPr id="6" name="TextBox 5"/>
          <p:cNvSpPr txBox="1"/>
          <p:nvPr/>
        </p:nvSpPr>
        <p:spPr>
          <a:xfrm>
            <a:off x="685453" y="3645284"/>
            <a:ext cx="2158183" cy="288137"/>
          </a:xfrm>
          <a:prstGeom prst="rect">
            <a:avLst/>
          </a:prstGeom>
          <a:noFill/>
        </p:spPr>
        <p:txBody>
          <a:bodyPr wrap="square" lIns="0" tIns="0" rIns="0" bIns="0" rtlCol="0">
            <a:spAutoFit/>
          </a:bodyPr>
          <a:lstStyle/>
          <a:p>
            <a:pPr defTabSz="931684" fontAlgn="base">
              <a:lnSpc>
                <a:spcPct val="90000"/>
              </a:lnSpc>
              <a:buSzPct val="90000"/>
              <a:defRPr/>
            </a:pPr>
            <a:r>
              <a:rPr lang="en-US" sz="2040" kern="0" dirty="0">
                <a:solidFill>
                  <a:srgbClr val="0D163D"/>
                </a:solidFill>
                <a:latin typeface="Segoe UI Black" panose="020B0A02040204020203" pitchFamily="34" charset="0"/>
                <a:ea typeface="Segoe UI Black" panose="020B0A02040204020203" pitchFamily="34" charset="0"/>
                <a:cs typeface="Segoe UI Black" panose="020B0A02040204020203" pitchFamily="34" charset="0"/>
              </a:rPr>
              <a:t>Schema</a:t>
            </a:r>
          </a:p>
        </p:txBody>
      </p:sp>
      <p:sp>
        <p:nvSpPr>
          <p:cNvPr id="7" name="TextBox 6"/>
          <p:cNvSpPr txBox="1"/>
          <p:nvPr/>
        </p:nvSpPr>
        <p:spPr>
          <a:xfrm>
            <a:off x="685453" y="4303008"/>
            <a:ext cx="2158183" cy="288137"/>
          </a:xfrm>
          <a:prstGeom prst="rect">
            <a:avLst/>
          </a:prstGeom>
          <a:noFill/>
        </p:spPr>
        <p:txBody>
          <a:bodyPr wrap="square" lIns="0" tIns="0" rIns="0" bIns="0" rtlCol="0">
            <a:spAutoFit/>
          </a:bodyPr>
          <a:lstStyle/>
          <a:p>
            <a:pPr defTabSz="931684" fontAlgn="base">
              <a:lnSpc>
                <a:spcPct val="90000"/>
              </a:lnSpc>
              <a:buSzPct val="90000"/>
              <a:defRPr/>
            </a:pPr>
            <a:r>
              <a:rPr lang="en-US" sz="2040" kern="0" dirty="0">
                <a:solidFill>
                  <a:srgbClr val="0D163D"/>
                </a:solidFill>
                <a:latin typeface="Segoe UI Black" panose="020B0A02040204020203" pitchFamily="34" charset="0"/>
                <a:ea typeface="Segoe UI Black" panose="020B0A02040204020203" pitchFamily="34" charset="0"/>
                <a:cs typeface="Segoe UI Black" panose="020B0A02040204020203" pitchFamily="34" charset="0"/>
              </a:rPr>
              <a:t>Join conditions</a:t>
            </a:r>
          </a:p>
        </p:txBody>
      </p:sp>
      <p:sp>
        <p:nvSpPr>
          <p:cNvPr id="8" name="TextBox 7"/>
          <p:cNvSpPr txBox="1"/>
          <p:nvPr/>
        </p:nvSpPr>
        <p:spPr>
          <a:xfrm>
            <a:off x="685453" y="4960732"/>
            <a:ext cx="2158183" cy="288137"/>
          </a:xfrm>
          <a:prstGeom prst="rect">
            <a:avLst/>
          </a:prstGeom>
          <a:noFill/>
        </p:spPr>
        <p:txBody>
          <a:bodyPr wrap="square" lIns="0" tIns="0" rIns="0" bIns="0" rtlCol="0">
            <a:spAutoFit/>
          </a:bodyPr>
          <a:lstStyle/>
          <a:p>
            <a:pPr defTabSz="931684" fontAlgn="base">
              <a:lnSpc>
                <a:spcPct val="90000"/>
              </a:lnSpc>
              <a:buSzPct val="90000"/>
              <a:defRPr/>
            </a:pPr>
            <a:r>
              <a:rPr lang="en-US" sz="2040" kern="0" dirty="0">
                <a:solidFill>
                  <a:srgbClr val="0D163D"/>
                </a:solidFill>
                <a:latin typeface="Segoe UI Black" panose="020B0A02040204020203" pitchFamily="34" charset="0"/>
                <a:ea typeface="Segoe UI Black" panose="020B0A02040204020203" pitchFamily="34" charset="0"/>
                <a:cs typeface="Segoe UI Black" panose="020B0A02040204020203" pitchFamily="34" charset="0"/>
              </a:rPr>
              <a:t>Filter plan</a:t>
            </a:r>
          </a:p>
        </p:txBody>
      </p:sp>
      <p:sp>
        <p:nvSpPr>
          <p:cNvPr id="9" name="TextBox 8"/>
          <p:cNvSpPr txBox="1"/>
          <p:nvPr/>
        </p:nvSpPr>
        <p:spPr>
          <a:xfrm>
            <a:off x="685453" y="5618456"/>
            <a:ext cx="2158183" cy="288137"/>
          </a:xfrm>
          <a:prstGeom prst="rect">
            <a:avLst/>
          </a:prstGeom>
          <a:noFill/>
        </p:spPr>
        <p:txBody>
          <a:bodyPr wrap="square" lIns="0" tIns="0" rIns="0" bIns="0" rtlCol="0">
            <a:spAutoFit/>
          </a:bodyPr>
          <a:lstStyle/>
          <a:p>
            <a:pPr defTabSz="931684" fontAlgn="base">
              <a:lnSpc>
                <a:spcPct val="90000"/>
              </a:lnSpc>
              <a:buSzPct val="90000"/>
              <a:defRPr/>
            </a:pPr>
            <a:r>
              <a:rPr lang="en-US" sz="2040" kern="0" dirty="0">
                <a:solidFill>
                  <a:srgbClr val="0D163D"/>
                </a:solidFill>
                <a:latin typeface="Segoe UI Black" panose="020B0A02040204020203" pitchFamily="34" charset="0"/>
                <a:ea typeface="Segoe UI Black" panose="020B0A02040204020203" pitchFamily="34" charset="0"/>
                <a:cs typeface="Segoe UI Black" panose="020B0A02040204020203" pitchFamily="34" charset="0"/>
              </a:rPr>
              <a:t>Sort plan</a:t>
            </a:r>
          </a:p>
        </p:txBody>
      </p:sp>
      <p:pic>
        <p:nvPicPr>
          <p:cNvPr id="10" name="Picture 9"/>
          <p:cNvPicPr>
            <a:picLocks noChangeAspect="1"/>
          </p:cNvPicPr>
          <p:nvPr/>
        </p:nvPicPr>
        <p:blipFill>
          <a:blip r:embed="rId5"/>
          <a:stretch>
            <a:fillRect/>
          </a:stretch>
        </p:blipFill>
        <p:spPr>
          <a:xfrm>
            <a:off x="3329757" y="1267897"/>
            <a:ext cx="8222617" cy="5028367"/>
          </a:xfrm>
          <a:prstGeom prst="rect">
            <a:avLst/>
          </a:prstGeom>
          <a:ln>
            <a:solidFill>
              <a:schemeClr val="accent1"/>
            </a:solidFill>
          </a:ln>
        </p:spPr>
      </p:pic>
      <p:pic>
        <p:nvPicPr>
          <p:cNvPr id="11" name="Picture 10"/>
          <p:cNvPicPr>
            <a:picLocks noChangeAspect="1"/>
          </p:cNvPicPr>
          <p:nvPr/>
        </p:nvPicPr>
        <p:blipFill>
          <a:blip r:embed="rId6"/>
          <a:stretch>
            <a:fillRect/>
          </a:stretch>
        </p:blipFill>
        <p:spPr>
          <a:xfrm>
            <a:off x="3417055" y="1356572"/>
            <a:ext cx="8283644" cy="5028366"/>
          </a:xfrm>
          <a:prstGeom prst="rect">
            <a:avLst/>
          </a:prstGeom>
          <a:ln>
            <a:solidFill>
              <a:schemeClr val="accent1"/>
            </a:solidFill>
          </a:ln>
        </p:spPr>
      </p:pic>
      <p:pic>
        <p:nvPicPr>
          <p:cNvPr id="12" name="Picture 11"/>
          <p:cNvPicPr>
            <a:picLocks noChangeAspect="1"/>
          </p:cNvPicPr>
          <p:nvPr/>
        </p:nvPicPr>
        <p:blipFill>
          <a:blip r:embed="rId7"/>
          <a:stretch>
            <a:fillRect/>
          </a:stretch>
        </p:blipFill>
        <p:spPr>
          <a:xfrm>
            <a:off x="3539474" y="1445247"/>
            <a:ext cx="8280950" cy="5042086"/>
          </a:xfrm>
          <a:prstGeom prst="rect">
            <a:avLst/>
          </a:prstGeom>
          <a:ln>
            <a:solidFill>
              <a:schemeClr val="accent1"/>
            </a:solidFill>
          </a:ln>
        </p:spPr>
      </p:pic>
      <p:pic>
        <p:nvPicPr>
          <p:cNvPr id="13" name="Picture 12"/>
          <p:cNvPicPr>
            <a:picLocks noChangeAspect="1"/>
          </p:cNvPicPr>
          <p:nvPr/>
        </p:nvPicPr>
        <p:blipFill>
          <a:blip r:embed="rId8"/>
          <a:stretch>
            <a:fillRect/>
          </a:stretch>
        </p:blipFill>
        <p:spPr>
          <a:xfrm>
            <a:off x="3665673" y="1547642"/>
            <a:ext cx="8280950" cy="5050203"/>
          </a:xfrm>
          <a:prstGeom prst="rect">
            <a:avLst/>
          </a:prstGeom>
          <a:ln>
            <a:solidFill>
              <a:schemeClr val="accent1"/>
            </a:solidFill>
          </a:ln>
        </p:spPr>
      </p:pic>
      <p:sp>
        <p:nvSpPr>
          <p:cNvPr id="3" name="Slide Number Placeholder 2"/>
          <p:cNvSpPr>
            <a:spLocks noGrp="1"/>
          </p:cNvSpPr>
          <p:nvPr>
            <p:ph type="sldNum" sz="quarter" idx="4"/>
          </p:nvPr>
        </p:nvSpPr>
        <p:spPr/>
        <p:txBody>
          <a:bodyPr/>
          <a:lstStyle/>
          <a:p>
            <a:pPr defTabSz="932597">
              <a:defRPr/>
            </a:pPr>
            <a:fld id="{75FAD755-3BD0-2447-A9DF-109DAABEFD99}" type="slidenum">
              <a:rPr lang="en-US" sz="1836" kern="0">
                <a:solidFill>
                  <a:sysClr val="windowText" lastClr="000000"/>
                </a:solidFill>
                <a:latin typeface="Segoe UI"/>
              </a:rPr>
              <a:pPr defTabSz="932597">
                <a:defRPr/>
              </a:pPr>
              <a:t>23</a:t>
            </a:fld>
            <a:endParaRPr lang="en-US" sz="1836" kern="0" dirty="0">
              <a:solidFill>
                <a:sysClr val="windowText" lastClr="000000"/>
              </a:solidFill>
              <a:latin typeface="Segoe UI"/>
            </a:endParaRPr>
          </a:p>
        </p:txBody>
      </p:sp>
    </p:spTree>
    <p:extLst>
      <p:ext uri="{BB962C8B-B14F-4D97-AF65-F5344CB8AC3E}">
        <p14:creationId xmlns:p14="http://schemas.microsoft.com/office/powerpoint/2010/main" val="207837661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ry design -</a:t>
            </a:r>
            <a:r>
              <a:rPr lang="en-US" dirty="0" err="1"/>
              <a:t>RowSet</a:t>
            </a:r>
            <a:endParaRPr lang="en-US" dirty="0"/>
          </a:p>
        </p:txBody>
      </p:sp>
      <p:pic>
        <p:nvPicPr>
          <p:cNvPr id="4" name="Picture 3"/>
          <p:cNvPicPr>
            <a:picLocks noChangeAspect="1"/>
          </p:cNvPicPr>
          <p:nvPr/>
        </p:nvPicPr>
        <p:blipFill>
          <a:blip r:embed="rId3"/>
          <a:stretch>
            <a:fillRect/>
          </a:stretch>
        </p:blipFill>
        <p:spPr>
          <a:xfrm>
            <a:off x="3979993" y="1238495"/>
            <a:ext cx="7779493" cy="5359350"/>
          </a:xfrm>
          <a:prstGeom prst="rect">
            <a:avLst/>
          </a:prstGeom>
          <a:ln>
            <a:solidFill>
              <a:schemeClr val="accent1"/>
            </a:solidFill>
          </a:ln>
        </p:spPr>
      </p:pic>
      <p:sp>
        <p:nvSpPr>
          <p:cNvPr id="5" name="TextBox 4"/>
          <p:cNvSpPr txBox="1"/>
          <p:nvPr/>
        </p:nvSpPr>
        <p:spPr>
          <a:xfrm>
            <a:off x="275162" y="1438446"/>
            <a:ext cx="3555346" cy="2606577"/>
          </a:xfrm>
          <a:prstGeom prst="rect">
            <a:avLst/>
          </a:prstGeom>
          <a:noFill/>
        </p:spPr>
        <p:txBody>
          <a:bodyPr wrap="square" lIns="0" tIns="149217" rIns="0" bIns="149217" rtlCol="0">
            <a:spAutoFit/>
          </a:bodyPr>
          <a:lstStyle/>
          <a:p>
            <a:pPr marL="403154" indent="-288198" defTabSz="932597" fontAlgn="base">
              <a:spcBef>
                <a:spcPts val="612"/>
              </a:spcBef>
              <a:spcAft>
                <a:spcPts val="612"/>
              </a:spcAft>
              <a:buClr>
                <a:srgbClr val="50B347"/>
              </a:buClr>
              <a:buSzPct val="100000"/>
              <a:buBlip>
                <a:blip r:embed="rId4"/>
              </a:buBlip>
              <a:defRPr/>
            </a:pPr>
            <a:r>
              <a:rPr lang="en-US" sz="2448" kern="0" dirty="0">
                <a:solidFill>
                  <a:srgbClr val="505050"/>
                </a:solidFill>
                <a:latin typeface="Segoe UI"/>
              </a:rPr>
              <a:t>The query design can also be visualized in terms of the </a:t>
            </a:r>
            <a:r>
              <a:rPr lang="en-US" sz="2448" kern="0" dirty="0" err="1">
                <a:solidFill>
                  <a:srgbClr val="505050"/>
                </a:solidFill>
                <a:latin typeface="Segoe UI"/>
              </a:rPr>
              <a:t>RowSets</a:t>
            </a:r>
            <a:r>
              <a:rPr lang="en-US" sz="2448" kern="0" dirty="0">
                <a:solidFill>
                  <a:srgbClr val="505050"/>
                </a:solidFill>
                <a:latin typeface="Segoe UI"/>
              </a:rPr>
              <a:t> and the transformation applied to them.</a:t>
            </a:r>
          </a:p>
        </p:txBody>
      </p:sp>
      <p:sp>
        <p:nvSpPr>
          <p:cNvPr id="6" name="Rectangle 5"/>
          <p:cNvSpPr/>
          <p:nvPr/>
        </p:nvSpPr>
        <p:spPr bwMode="auto">
          <a:xfrm>
            <a:off x="6353342" y="1904065"/>
            <a:ext cx="505160" cy="174863"/>
          </a:xfrm>
          <a:prstGeom prst="rect">
            <a:avLst/>
          </a:prstGeom>
          <a:noFill/>
          <a:ln w="28575">
            <a:solidFill>
              <a:srgbClr val="DC3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rgbClr val="FFFFFF"/>
              </a:solidFill>
              <a:latin typeface="Segoe UI Light"/>
              <a:ea typeface="Segoe UI" pitchFamily="34" charset="0"/>
              <a:cs typeface="Segoe UI" pitchFamily="34" charset="0"/>
            </a:endParaRPr>
          </a:p>
        </p:txBody>
      </p:sp>
      <p:sp>
        <p:nvSpPr>
          <p:cNvPr id="3" name="Slide Number Placeholder 2"/>
          <p:cNvSpPr>
            <a:spLocks noGrp="1"/>
          </p:cNvSpPr>
          <p:nvPr>
            <p:ph type="sldNum" sz="quarter" idx="4"/>
          </p:nvPr>
        </p:nvSpPr>
        <p:spPr/>
        <p:txBody>
          <a:bodyPr/>
          <a:lstStyle/>
          <a:p>
            <a:pPr defTabSz="932597">
              <a:defRPr/>
            </a:pPr>
            <a:fld id="{75FAD755-3BD0-2447-A9DF-109DAABEFD99}" type="slidenum">
              <a:rPr lang="en-US" sz="1836" kern="0">
                <a:solidFill>
                  <a:sysClr val="windowText" lastClr="000000"/>
                </a:solidFill>
                <a:latin typeface="Segoe UI"/>
              </a:rPr>
              <a:pPr defTabSz="932597">
                <a:defRPr/>
              </a:pPr>
              <a:t>24</a:t>
            </a:fld>
            <a:endParaRPr lang="en-US" sz="1836" kern="0" dirty="0">
              <a:solidFill>
                <a:sysClr val="windowText" lastClr="000000"/>
              </a:solidFill>
              <a:latin typeface="Segoe UI"/>
            </a:endParaRPr>
          </a:p>
        </p:txBody>
      </p:sp>
    </p:spTree>
    <p:extLst>
      <p:ext uri="{BB962C8B-B14F-4D97-AF65-F5344CB8AC3E}">
        <p14:creationId xmlns:p14="http://schemas.microsoft.com/office/powerpoint/2010/main" val="1136280043"/>
      </p:ext>
    </p:extLst>
  </p:cSld>
  <p:clrMapOvr>
    <a:masterClrMapping/>
  </p:clrMapOvr>
  <p:transition spd="med">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tadata objects</a:t>
            </a:r>
          </a:p>
        </p:txBody>
      </p:sp>
      <p:sp>
        <p:nvSpPr>
          <p:cNvPr id="12" name="TextBox 11"/>
          <p:cNvSpPr txBox="1"/>
          <p:nvPr/>
        </p:nvSpPr>
        <p:spPr>
          <a:xfrm>
            <a:off x="444197" y="1130525"/>
            <a:ext cx="11547444" cy="2234929"/>
          </a:xfrm>
          <a:prstGeom prst="rect">
            <a:avLst/>
          </a:prstGeom>
          <a:noFill/>
        </p:spPr>
        <p:txBody>
          <a:bodyPr wrap="square" lIns="0" tIns="0" rIns="0" bIns="0" rtlCol="0">
            <a:spAutoFit/>
          </a:bodyPr>
          <a:lstStyle/>
          <a:p>
            <a:pPr marL="403154" indent="-288198" defTabSz="932597" fontAlgn="base">
              <a:spcBef>
                <a:spcPts val="612"/>
              </a:spcBef>
              <a:spcAft>
                <a:spcPts val="612"/>
              </a:spcAft>
              <a:buClr>
                <a:srgbClr val="50B347"/>
              </a:buClr>
              <a:buSzPct val="100000"/>
              <a:buBlip>
                <a:blip r:embed="rId3"/>
              </a:buBlip>
              <a:tabLst>
                <a:tab pos="297913" algn="l"/>
              </a:tabLst>
              <a:defRPr/>
            </a:pPr>
            <a:r>
              <a:rPr lang="en-US" sz="2448" kern="0" dirty="0">
                <a:solidFill>
                  <a:srgbClr val="505050"/>
                </a:solidFill>
                <a:latin typeface="Segoe UI"/>
              </a:rPr>
              <a:t>ADL Analytics creates and stores a set of metadata objects in a catalog maintained by a metadata service</a:t>
            </a:r>
          </a:p>
          <a:p>
            <a:pPr marL="403154" indent="-288198" defTabSz="932597" fontAlgn="base">
              <a:spcBef>
                <a:spcPts val="612"/>
              </a:spcBef>
              <a:spcAft>
                <a:spcPts val="612"/>
              </a:spcAft>
              <a:buClr>
                <a:srgbClr val="50B347"/>
              </a:buClr>
              <a:buSzPct val="100000"/>
              <a:buBlip>
                <a:blip r:embed="rId3"/>
              </a:buBlip>
              <a:tabLst>
                <a:tab pos="297913" algn="l"/>
              </a:tabLst>
              <a:defRPr/>
            </a:pPr>
            <a:r>
              <a:rPr lang="en-US" sz="2448" kern="0" dirty="0">
                <a:solidFill>
                  <a:srgbClr val="505050"/>
                </a:solidFill>
                <a:latin typeface="Segoe UI"/>
              </a:rPr>
              <a:t>Tables and TVFs are created by DDL statements</a:t>
            </a:r>
            <a:br>
              <a:rPr lang="en-US" sz="2448" kern="0" dirty="0">
                <a:solidFill>
                  <a:srgbClr val="505050"/>
                </a:solidFill>
                <a:latin typeface="Segoe UI"/>
              </a:rPr>
            </a:br>
            <a:r>
              <a:rPr lang="en-US" sz="2448" kern="0" dirty="0">
                <a:solidFill>
                  <a:srgbClr val="505050"/>
                </a:solidFill>
                <a:latin typeface="Segoe UI"/>
              </a:rPr>
              <a:t>(CREATE TABLE …)</a:t>
            </a:r>
          </a:p>
          <a:p>
            <a:pPr marL="403154" indent="-288198" defTabSz="932597" fontAlgn="base">
              <a:spcBef>
                <a:spcPts val="612"/>
              </a:spcBef>
              <a:spcAft>
                <a:spcPts val="612"/>
              </a:spcAft>
              <a:buClr>
                <a:srgbClr val="50B347"/>
              </a:buClr>
              <a:buSzPct val="100000"/>
              <a:buBlip>
                <a:blip r:embed="rId3"/>
              </a:buBlip>
              <a:tabLst>
                <a:tab pos="297913" algn="l"/>
              </a:tabLst>
              <a:defRPr/>
            </a:pPr>
            <a:r>
              <a:rPr lang="en-US" sz="2448" kern="0" dirty="0">
                <a:solidFill>
                  <a:srgbClr val="505050"/>
                </a:solidFill>
                <a:latin typeface="Segoe UI"/>
              </a:rPr>
              <a:t>Metadata objects can be created directly through the Server Explorer</a:t>
            </a:r>
          </a:p>
        </p:txBody>
      </p:sp>
      <p:sp>
        <p:nvSpPr>
          <p:cNvPr id="13" name="Rectangle 12"/>
          <p:cNvSpPr/>
          <p:nvPr/>
        </p:nvSpPr>
        <p:spPr bwMode="auto">
          <a:xfrm>
            <a:off x="4512575" y="3409582"/>
            <a:ext cx="7479383" cy="3188262"/>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ctr" anchorCtr="0" forceAA="0" compatLnSpc="1">
            <a:prstTxWarp prst="textNoShape">
              <a:avLst/>
            </a:prstTxWarp>
            <a:noAutofit/>
          </a:bodyPr>
          <a:lstStyle/>
          <a:p>
            <a:pPr defTabSz="932597">
              <a:spcAft>
                <a:spcPts val="612"/>
              </a:spcAft>
              <a:defRPr/>
            </a:pPr>
            <a:r>
              <a:rPr lang="en-IN" sz="2856" kern="0" dirty="0">
                <a:solidFill>
                  <a:srgbClr val="50B347"/>
                </a:solidFill>
                <a:latin typeface="Segoe UI Light"/>
              </a:rPr>
              <a:t>Azure Data Lake Analytics account</a:t>
            </a:r>
          </a:p>
          <a:p>
            <a:pPr marL="403154" indent="-288198" defTabSz="932597" fontAlgn="base">
              <a:spcBef>
                <a:spcPts val="612"/>
              </a:spcBef>
              <a:spcAft>
                <a:spcPts val="612"/>
              </a:spcAft>
              <a:buClr>
                <a:srgbClr val="50B347"/>
              </a:buClr>
              <a:buSzPct val="100000"/>
              <a:buBlip>
                <a:blip r:embed="rId3"/>
              </a:buBlip>
              <a:tabLst>
                <a:tab pos="297913" algn="l"/>
              </a:tabLst>
              <a:defRPr/>
            </a:pPr>
            <a:r>
              <a:rPr lang="en-IN" sz="2448" kern="0" dirty="0">
                <a:solidFill>
                  <a:srgbClr val="505050"/>
                </a:solidFill>
                <a:latin typeface="Segoe UI"/>
              </a:rPr>
              <a:t>Databases</a:t>
            </a:r>
          </a:p>
          <a:p>
            <a:pPr marL="699447" indent="-310866" defTabSz="932597">
              <a:buClr>
                <a:srgbClr val="50B347"/>
              </a:buClr>
              <a:buFont typeface="Calibri" panose="020F0502020204030204" pitchFamily="34" charset="0"/>
              <a:buChar char="–"/>
              <a:defRPr/>
            </a:pPr>
            <a:r>
              <a:rPr lang="en-IN" sz="2040" kern="0" dirty="0">
                <a:solidFill>
                  <a:srgbClr val="505050"/>
                </a:solidFill>
                <a:latin typeface="Segoe UI"/>
              </a:rPr>
              <a:t>Tables</a:t>
            </a:r>
          </a:p>
          <a:p>
            <a:pPr marL="699447" indent="-310866" defTabSz="932597">
              <a:buClr>
                <a:srgbClr val="50B347"/>
              </a:buClr>
              <a:buFont typeface="Calibri" panose="020F0502020204030204" pitchFamily="34" charset="0"/>
              <a:buChar char="–"/>
              <a:defRPr/>
            </a:pPr>
            <a:r>
              <a:rPr lang="en-IN" sz="2040" kern="0" dirty="0">
                <a:solidFill>
                  <a:srgbClr val="505050"/>
                </a:solidFill>
                <a:latin typeface="Segoe UI"/>
              </a:rPr>
              <a:t>Table valued functions</a:t>
            </a:r>
          </a:p>
          <a:p>
            <a:pPr marL="699447" indent="-310866" defTabSz="932597">
              <a:buClr>
                <a:srgbClr val="50B347"/>
              </a:buClr>
              <a:buFont typeface="Calibri" panose="020F0502020204030204" pitchFamily="34" charset="0"/>
              <a:buChar char="–"/>
              <a:defRPr/>
            </a:pPr>
            <a:r>
              <a:rPr lang="en-IN" sz="2040" kern="0" dirty="0">
                <a:solidFill>
                  <a:srgbClr val="505050"/>
                </a:solidFill>
                <a:latin typeface="Segoe UI"/>
              </a:rPr>
              <a:t>Jobs</a:t>
            </a:r>
          </a:p>
          <a:p>
            <a:pPr marL="699447" indent="-310866" defTabSz="932597">
              <a:buClr>
                <a:srgbClr val="50B347"/>
              </a:buClr>
              <a:buFont typeface="Calibri" panose="020F0502020204030204" pitchFamily="34" charset="0"/>
              <a:buChar char="–"/>
              <a:defRPr/>
            </a:pPr>
            <a:r>
              <a:rPr lang="en-IN" sz="2040" kern="0" dirty="0">
                <a:solidFill>
                  <a:srgbClr val="505050"/>
                </a:solidFill>
                <a:latin typeface="Segoe UI"/>
              </a:rPr>
              <a:t>Schemas</a:t>
            </a:r>
          </a:p>
          <a:p>
            <a:pPr marL="403154" indent="-288198" defTabSz="932597" fontAlgn="base">
              <a:spcBef>
                <a:spcPts val="612"/>
              </a:spcBef>
              <a:spcAft>
                <a:spcPts val="612"/>
              </a:spcAft>
              <a:buClr>
                <a:srgbClr val="50B347"/>
              </a:buClr>
              <a:buSzPct val="100000"/>
              <a:buBlip>
                <a:blip r:embed="rId3"/>
              </a:buBlip>
              <a:tabLst>
                <a:tab pos="297913" algn="l"/>
              </a:tabLst>
              <a:defRPr/>
            </a:pPr>
            <a:r>
              <a:rPr lang="en-IN" sz="2448" kern="0" dirty="0">
                <a:solidFill>
                  <a:srgbClr val="505050"/>
                </a:solidFill>
                <a:latin typeface="Segoe UI"/>
              </a:rPr>
              <a:t>Linked storage</a:t>
            </a:r>
          </a:p>
        </p:txBody>
      </p:sp>
      <p:sp>
        <p:nvSpPr>
          <p:cNvPr id="14" name="Rectangle 13"/>
          <p:cNvSpPr/>
          <p:nvPr/>
        </p:nvSpPr>
        <p:spPr bwMode="auto">
          <a:xfrm>
            <a:off x="852203" y="3700569"/>
            <a:ext cx="3468451" cy="2606287"/>
          </a:xfrm>
          <a:prstGeom prst="rect">
            <a:avLst/>
          </a:prstGeom>
          <a:solidFill>
            <a:srgbClr val="002050"/>
          </a:solidFill>
          <a:ln w="3175">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652822" rIns="139891" bIns="93260"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3264" kern="0" dirty="0">
              <a:solidFill>
                <a:srgbClr val="FFFFFF"/>
              </a:solidFill>
              <a:latin typeface="Segoe UI Light"/>
              <a:ea typeface="Segoe UI" pitchFamily="34" charset="0"/>
              <a:cs typeface="Segoe UI" pitchFamily="34" charset="0"/>
            </a:endParaRPr>
          </a:p>
        </p:txBody>
      </p:sp>
      <p:sp>
        <p:nvSpPr>
          <p:cNvPr id="15" name="Rectangle 50"/>
          <p:cNvSpPr/>
          <p:nvPr/>
        </p:nvSpPr>
        <p:spPr>
          <a:xfrm rot="2084829">
            <a:off x="1225390" y="4018856"/>
            <a:ext cx="2553997" cy="2108614"/>
          </a:xfrm>
          <a:custGeom>
            <a:avLst/>
            <a:gdLst/>
            <a:ahLst/>
            <a:cxnLst/>
            <a:rect l="l" t="t" r="r" b="b"/>
            <a:pathLst>
              <a:path w="5132879" h="4237776">
                <a:moveTo>
                  <a:pt x="170699" y="1441288"/>
                </a:moveTo>
                <a:cubicBezTo>
                  <a:pt x="350790" y="1316368"/>
                  <a:pt x="598051" y="1361092"/>
                  <a:pt x="722971" y="1541183"/>
                </a:cubicBezTo>
                <a:cubicBezTo>
                  <a:pt x="760292" y="1594987"/>
                  <a:pt x="782471" y="1654786"/>
                  <a:pt x="788662" y="1715758"/>
                </a:cubicBezTo>
                <a:lnTo>
                  <a:pt x="1544341" y="1760309"/>
                </a:lnTo>
                <a:cubicBezTo>
                  <a:pt x="1555966" y="1535887"/>
                  <a:pt x="1669195" y="1320361"/>
                  <a:pt x="1868177" y="1182337"/>
                </a:cubicBezTo>
                <a:cubicBezTo>
                  <a:pt x="2167556" y="974672"/>
                  <a:pt x="2563258" y="1010283"/>
                  <a:pt x="2819940" y="1247757"/>
                </a:cubicBezTo>
                <a:lnTo>
                  <a:pt x="3337714" y="705728"/>
                </a:lnTo>
                <a:cubicBezTo>
                  <a:pt x="3220087" y="495123"/>
                  <a:pt x="3280513" y="225942"/>
                  <a:pt x="3483209" y="85342"/>
                </a:cubicBezTo>
                <a:cubicBezTo>
                  <a:pt x="3700277" y="-65228"/>
                  <a:pt x="3998304" y="-11320"/>
                  <a:pt x="4148874" y="205748"/>
                </a:cubicBezTo>
                <a:cubicBezTo>
                  <a:pt x="4299443" y="422815"/>
                  <a:pt x="4245536" y="720843"/>
                  <a:pt x="4028468" y="871412"/>
                </a:cubicBezTo>
                <a:cubicBezTo>
                  <a:pt x="3849201" y="995761"/>
                  <a:pt x="3614716" y="980648"/>
                  <a:pt x="3455085" y="847617"/>
                </a:cubicBezTo>
                <a:lnTo>
                  <a:pt x="2939940" y="1386894"/>
                </a:lnTo>
                <a:cubicBezTo>
                  <a:pt x="3028033" y="1517900"/>
                  <a:pt x="3069688" y="1666889"/>
                  <a:pt x="3067703" y="1814220"/>
                </a:cubicBezTo>
                <a:lnTo>
                  <a:pt x="3823204" y="1814220"/>
                </a:lnTo>
                <a:cubicBezTo>
                  <a:pt x="3860497" y="1668152"/>
                  <a:pt x="3949845" y="1535603"/>
                  <a:pt x="4083371" y="1442982"/>
                </a:cubicBezTo>
                <a:cubicBezTo>
                  <a:pt x="4386716" y="1232567"/>
                  <a:pt x="4803201" y="1307901"/>
                  <a:pt x="5013617" y="1611246"/>
                </a:cubicBezTo>
                <a:cubicBezTo>
                  <a:pt x="5224033" y="1914591"/>
                  <a:pt x="5148699" y="2331076"/>
                  <a:pt x="4845353" y="2541492"/>
                </a:cubicBezTo>
                <a:cubicBezTo>
                  <a:pt x="4542008" y="2751907"/>
                  <a:pt x="4125523" y="2676573"/>
                  <a:pt x="3915108" y="2373228"/>
                </a:cubicBezTo>
                <a:cubicBezTo>
                  <a:pt x="3853310" y="2284137"/>
                  <a:pt x="3816159" y="2185287"/>
                  <a:pt x="3805026" y="2084371"/>
                </a:cubicBezTo>
                <a:lnTo>
                  <a:pt x="3017890" y="2084371"/>
                </a:lnTo>
                <a:cubicBezTo>
                  <a:pt x="2965175" y="2223262"/>
                  <a:pt x="2871223" y="2348058"/>
                  <a:pt x="2739945" y="2439119"/>
                </a:cubicBezTo>
                <a:cubicBezTo>
                  <a:pt x="2553259" y="2568614"/>
                  <a:pt x="2329119" y="2603511"/>
                  <a:pt x="2125063" y="2551210"/>
                </a:cubicBezTo>
                <a:lnTo>
                  <a:pt x="1817988" y="3326906"/>
                </a:lnTo>
                <a:cubicBezTo>
                  <a:pt x="1870081" y="3360208"/>
                  <a:pt x="1916246" y="3404425"/>
                  <a:pt x="1953645" y="3458341"/>
                </a:cubicBezTo>
                <a:cubicBezTo>
                  <a:pt x="2109913" y="3683625"/>
                  <a:pt x="2053965" y="3992935"/>
                  <a:pt x="1828681" y="4149204"/>
                </a:cubicBezTo>
                <a:cubicBezTo>
                  <a:pt x="1603396" y="4305473"/>
                  <a:pt x="1294087" y="4249524"/>
                  <a:pt x="1137818" y="4024240"/>
                </a:cubicBezTo>
                <a:cubicBezTo>
                  <a:pt x="981549" y="3798955"/>
                  <a:pt x="1037497" y="3489646"/>
                  <a:pt x="1262782" y="3333377"/>
                </a:cubicBezTo>
                <a:cubicBezTo>
                  <a:pt x="1379987" y="3252077"/>
                  <a:pt x="1519935" y="3228218"/>
                  <a:pt x="1648985" y="3256970"/>
                </a:cubicBezTo>
                <a:lnTo>
                  <a:pt x="1953877" y="2486789"/>
                </a:lnTo>
                <a:cubicBezTo>
                  <a:pt x="1844968" y="2434491"/>
                  <a:pt x="1749293" y="2352751"/>
                  <a:pt x="1675670" y="2246612"/>
                </a:cubicBezTo>
                <a:cubicBezTo>
                  <a:pt x="1598426" y="2135253"/>
                  <a:pt x="1554841" y="2010567"/>
                  <a:pt x="1546237" y="1884283"/>
                </a:cubicBezTo>
                <a:lnTo>
                  <a:pt x="786976" y="1839520"/>
                </a:lnTo>
                <a:cubicBezTo>
                  <a:pt x="768746" y="1938904"/>
                  <a:pt x="712658" y="2031315"/>
                  <a:pt x="623075" y="2093455"/>
                </a:cubicBezTo>
                <a:cubicBezTo>
                  <a:pt x="442985" y="2218375"/>
                  <a:pt x="195724" y="2173650"/>
                  <a:pt x="70804" y="1993559"/>
                </a:cubicBezTo>
                <a:cubicBezTo>
                  <a:pt x="-54116" y="1813469"/>
                  <a:pt x="-9392" y="1566208"/>
                  <a:pt x="170699" y="144128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kern="0">
              <a:solidFill>
                <a:srgbClr val="000000"/>
              </a:solidFill>
              <a:latin typeface="Segoe UI"/>
            </a:endParaRPr>
          </a:p>
        </p:txBody>
      </p:sp>
      <p:sp>
        <p:nvSpPr>
          <p:cNvPr id="3" name="Slide Number Placeholder 2"/>
          <p:cNvSpPr>
            <a:spLocks noGrp="1"/>
          </p:cNvSpPr>
          <p:nvPr>
            <p:ph type="sldNum" sz="quarter" idx="4"/>
          </p:nvPr>
        </p:nvSpPr>
        <p:spPr/>
        <p:txBody>
          <a:bodyPr/>
          <a:lstStyle/>
          <a:p>
            <a:pPr defTabSz="932597">
              <a:defRPr/>
            </a:pPr>
            <a:fld id="{75FAD755-3BD0-2447-A9DF-109DAABEFD99}" type="slidenum">
              <a:rPr lang="en-US" sz="1836" kern="0">
                <a:solidFill>
                  <a:sysClr val="windowText" lastClr="000000"/>
                </a:solidFill>
                <a:latin typeface="Segoe UI"/>
              </a:rPr>
              <a:pPr defTabSz="932597">
                <a:defRPr/>
              </a:pPr>
              <a:t>25</a:t>
            </a:fld>
            <a:endParaRPr lang="en-US" sz="1836" kern="0" dirty="0">
              <a:solidFill>
                <a:sysClr val="windowText" lastClr="000000"/>
              </a:solidFill>
              <a:latin typeface="Segoe UI"/>
            </a:endParaRPr>
          </a:p>
        </p:txBody>
      </p:sp>
    </p:spTree>
    <p:extLst>
      <p:ext uri="{BB962C8B-B14F-4D97-AF65-F5344CB8AC3E}">
        <p14:creationId xmlns:p14="http://schemas.microsoft.com/office/powerpoint/2010/main" val="2208851105"/>
      </p:ext>
    </p:extLst>
  </p:cSld>
  <p:clrMapOvr>
    <a:masterClrMapping/>
  </p:clrMapOvr>
  <p:transition spd="med">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tadata catalog</a:t>
            </a:r>
          </a:p>
        </p:txBody>
      </p:sp>
      <p:sp>
        <p:nvSpPr>
          <p:cNvPr id="4" name="TextBox 3"/>
          <p:cNvSpPr txBox="1"/>
          <p:nvPr/>
        </p:nvSpPr>
        <p:spPr>
          <a:xfrm>
            <a:off x="444516" y="1169043"/>
            <a:ext cx="3714222" cy="1152616"/>
          </a:xfrm>
          <a:prstGeom prst="rect">
            <a:avLst/>
          </a:prstGeom>
          <a:noFill/>
        </p:spPr>
        <p:txBody>
          <a:bodyPr wrap="square" lIns="0" tIns="0" rIns="0" bIns="0" rtlCol="0">
            <a:spAutoFit/>
          </a:bodyPr>
          <a:lstStyle/>
          <a:p>
            <a:pPr defTabSz="931684" fontAlgn="base">
              <a:buSzPct val="90000"/>
              <a:defRPr/>
            </a:pPr>
            <a:r>
              <a:rPr lang="en-US" sz="2448" kern="0" dirty="0">
                <a:solidFill>
                  <a:srgbClr val="50B347"/>
                </a:solidFill>
                <a:latin typeface="Segoe UI Light"/>
                <a:ea typeface="ＭＳ Ｐゴシック" charset="0"/>
                <a:cs typeface="ＭＳ Ｐゴシック" charset="0"/>
              </a:rPr>
              <a:t>The metadata catalog can be browsed with the Visual Studio Server Explorer</a:t>
            </a:r>
          </a:p>
        </p:txBody>
      </p:sp>
      <p:pic>
        <p:nvPicPr>
          <p:cNvPr id="5" name="Picture 4"/>
          <p:cNvPicPr>
            <a:picLocks noChangeAspect="1"/>
          </p:cNvPicPr>
          <p:nvPr/>
        </p:nvPicPr>
        <p:blipFill>
          <a:blip r:embed="rId3"/>
          <a:stretch>
            <a:fillRect/>
          </a:stretch>
        </p:blipFill>
        <p:spPr>
          <a:xfrm>
            <a:off x="4413018" y="1287187"/>
            <a:ext cx="3959177" cy="4742390"/>
          </a:xfrm>
          <a:prstGeom prst="rect">
            <a:avLst/>
          </a:prstGeom>
        </p:spPr>
      </p:pic>
      <p:pic>
        <p:nvPicPr>
          <p:cNvPr id="7" name="Picture 6"/>
          <p:cNvPicPr>
            <a:picLocks noChangeAspect="1"/>
          </p:cNvPicPr>
          <p:nvPr/>
        </p:nvPicPr>
        <p:blipFill>
          <a:blip r:embed="rId4"/>
          <a:stretch>
            <a:fillRect/>
          </a:stretch>
        </p:blipFill>
        <p:spPr>
          <a:xfrm>
            <a:off x="6172678" y="1656636"/>
            <a:ext cx="3935828" cy="4708681"/>
          </a:xfrm>
          <a:prstGeom prst="rect">
            <a:avLst/>
          </a:prstGeom>
          <a:ln>
            <a:solidFill>
              <a:schemeClr val="accent1">
                <a:lumMod val="50000"/>
              </a:schemeClr>
            </a:solidFill>
          </a:ln>
        </p:spPr>
      </p:pic>
      <p:pic>
        <p:nvPicPr>
          <p:cNvPr id="8" name="Picture 7"/>
          <p:cNvPicPr>
            <a:picLocks noChangeAspect="1"/>
          </p:cNvPicPr>
          <p:nvPr/>
        </p:nvPicPr>
        <p:blipFill>
          <a:blip r:embed="rId5"/>
          <a:stretch>
            <a:fillRect/>
          </a:stretch>
        </p:blipFill>
        <p:spPr>
          <a:xfrm>
            <a:off x="7908987" y="1992374"/>
            <a:ext cx="4082971" cy="4605471"/>
          </a:xfrm>
          <a:prstGeom prst="rect">
            <a:avLst/>
          </a:prstGeom>
          <a:ln>
            <a:solidFill>
              <a:schemeClr val="accent1">
                <a:lumMod val="50000"/>
              </a:schemeClr>
            </a:solidFill>
          </a:ln>
        </p:spPr>
      </p:pic>
      <p:sp>
        <p:nvSpPr>
          <p:cNvPr id="9" name="Rectangle 8"/>
          <p:cNvSpPr/>
          <p:nvPr/>
        </p:nvSpPr>
        <p:spPr>
          <a:xfrm>
            <a:off x="444515" y="3044668"/>
            <a:ext cx="3714222" cy="1410147"/>
          </a:xfrm>
          <a:prstGeom prst="rect">
            <a:avLst/>
          </a:prstGeom>
          <a:noFill/>
        </p:spPr>
        <p:txBody>
          <a:bodyPr wrap="square" lIns="0" tIns="0" rIns="0" bIns="0" rtlCol="0">
            <a:spAutoFit/>
          </a:bodyPr>
          <a:lstStyle/>
          <a:p>
            <a:pPr defTabSz="931684" fontAlgn="base">
              <a:spcBef>
                <a:spcPts val="612"/>
              </a:spcBef>
              <a:buSzPct val="90000"/>
              <a:defRPr/>
            </a:pPr>
            <a:r>
              <a:rPr lang="en-US" sz="2448" kern="0" dirty="0">
                <a:solidFill>
                  <a:srgbClr val="0D163D"/>
                </a:solidFill>
                <a:latin typeface="Segoe UI Black" panose="020B0A02040204020203" pitchFamily="34" charset="0"/>
                <a:ea typeface="Segoe UI Black" panose="020B0A02040204020203" pitchFamily="34" charset="0"/>
                <a:cs typeface="Segoe UI Black" panose="020B0A02040204020203" pitchFamily="34" charset="0"/>
              </a:rPr>
              <a:t>Server Explorer </a:t>
            </a:r>
            <a:r>
              <a:rPr lang="en-US" sz="2448" kern="0" dirty="0">
                <a:solidFill>
                  <a:srgbClr val="000000">
                    <a:lumMod val="65000"/>
                    <a:lumOff val="35000"/>
                  </a:srgbClr>
                </a:solidFill>
                <a:latin typeface="Segoe UI Light"/>
                <a:ea typeface="ＭＳ Ｐゴシック" charset="0"/>
                <a:cs typeface="ＭＳ Ｐゴシック" charset="0"/>
              </a:rPr>
              <a:t>lets you:</a:t>
            </a:r>
          </a:p>
          <a:p>
            <a:pPr marL="349724" indent="-294675" defTabSz="931684" fontAlgn="base">
              <a:spcBef>
                <a:spcPts val="102"/>
              </a:spcBef>
              <a:spcAft>
                <a:spcPts val="306"/>
              </a:spcAft>
              <a:buClr>
                <a:srgbClr val="50B347"/>
              </a:buClr>
              <a:buSzPct val="100000"/>
              <a:buFont typeface="+mj-lt"/>
              <a:buAutoNum type="arabicPeriod"/>
              <a:defRPr/>
            </a:pPr>
            <a:r>
              <a:rPr lang="en-US" sz="2040" kern="0" dirty="0">
                <a:solidFill>
                  <a:srgbClr val="000000">
                    <a:lumMod val="65000"/>
                    <a:lumOff val="35000"/>
                  </a:srgbClr>
                </a:solidFill>
                <a:latin typeface="Segoe UI Light"/>
                <a:ea typeface="ＭＳ Ｐゴシック" charset="0"/>
                <a:cs typeface="ＭＳ Ｐゴシック" charset="0"/>
              </a:rPr>
              <a:t>Create new tables, schemas and databases</a:t>
            </a:r>
          </a:p>
          <a:p>
            <a:pPr marL="349724" indent="-294675" defTabSz="931684" fontAlgn="base">
              <a:spcBef>
                <a:spcPts val="102"/>
              </a:spcBef>
              <a:spcAft>
                <a:spcPts val="306"/>
              </a:spcAft>
              <a:buClr>
                <a:srgbClr val="50B347"/>
              </a:buClr>
              <a:buSzPct val="100000"/>
              <a:buFont typeface="+mj-lt"/>
              <a:buAutoNum type="arabicPeriod"/>
              <a:defRPr/>
            </a:pPr>
            <a:r>
              <a:rPr lang="en-US" sz="2040" kern="0" dirty="0">
                <a:solidFill>
                  <a:srgbClr val="000000">
                    <a:lumMod val="65000"/>
                    <a:lumOff val="35000"/>
                  </a:srgbClr>
                </a:solidFill>
                <a:latin typeface="Segoe UI Light"/>
                <a:ea typeface="ＭＳ Ｐゴシック" charset="0"/>
                <a:cs typeface="ＭＳ Ｐゴシック" charset="0"/>
              </a:rPr>
              <a:t>Register assemblies</a:t>
            </a:r>
          </a:p>
        </p:txBody>
      </p:sp>
      <p:sp>
        <p:nvSpPr>
          <p:cNvPr id="6" name="Slide Number Placeholder 5"/>
          <p:cNvSpPr>
            <a:spLocks noGrp="1"/>
          </p:cNvSpPr>
          <p:nvPr>
            <p:ph type="sldNum" sz="quarter" idx="4"/>
          </p:nvPr>
        </p:nvSpPr>
        <p:spPr/>
        <p:txBody>
          <a:bodyPr/>
          <a:lstStyle/>
          <a:p>
            <a:pPr defTabSz="932597">
              <a:defRPr/>
            </a:pPr>
            <a:fld id="{75FAD755-3BD0-2447-A9DF-109DAABEFD99}" type="slidenum">
              <a:rPr lang="en-US" sz="1836" kern="0">
                <a:solidFill>
                  <a:sysClr val="windowText" lastClr="000000"/>
                </a:solidFill>
                <a:latin typeface="Segoe UI"/>
              </a:rPr>
              <a:pPr defTabSz="932597">
                <a:defRPr/>
              </a:pPr>
              <a:t>26</a:t>
            </a:fld>
            <a:endParaRPr lang="en-US" sz="1836" kern="0" dirty="0">
              <a:solidFill>
                <a:sysClr val="windowText" lastClr="000000"/>
              </a:solidFill>
              <a:latin typeface="Segoe UI"/>
            </a:endParaRPr>
          </a:p>
        </p:txBody>
      </p:sp>
    </p:spTree>
    <p:extLst>
      <p:ext uri="{BB962C8B-B14F-4D97-AF65-F5344CB8AC3E}">
        <p14:creationId xmlns:p14="http://schemas.microsoft.com/office/powerpoint/2010/main" val="90825198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500"/>
                                  </p:stCondLst>
                                  <p:childTnLst>
                                    <p:set>
                                      <p:cBhvr>
                                        <p:cTn id="6" dur="1" fill="hold">
                                          <p:stCondLst>
                                            <p:cond delay="0"/>
                                          </p:stCondLst>
                                        </p:cTn>
                                        <p:tgtEl>
                                          <p:spTgt spid="9"/>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nodeType="afterEffect">
                                  <p:stCondLst>
                                    <p:cond delay="500"/>
                                  </p:stCondLst>
                                  <p:childTnLst>
                                    <p:set>
                                      <p:cBhvr>
                                        <p:cTn id="9" dur="1" fill="hold">
                                          <p:stCondLst>
                                            <p:cond delay="0"/>
                                          </p:stCondLst>
                                        </p:cTn>
                                        <p:tgtEl>
                                          <p:spTgt spid="7"/>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1"/>
          <p:cNvSpPr txBox="1">
            <a:spLocks/>
          </p:cNvSpPr>
          <p:nvPr/>
        </p:nvSpPr>
        <p:spPr>
          <a:xfrm>
            <a:off x="195174" y="194292"/>
            <a:ext cx="12046126" cy="6605940"/>
          </a:xfrm>
          <a:prstGeom prst="rect">
            <a:avLst/>
          </a:prstGeom>
          <a:noFill/>
          <a:ln>
            <a:noFill/>
          </a:ln>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777149"/>
            <a:r>
              <a:rPr lang="en-US" sz="5609" dirty="0">
                <a:solidFill>
                  <a:schemeClr val="bg1"/>
                </a:solidFill>
              </a:rPr>
              <a:t>DEMO</a:t>
            </a:r>
          </a:p>
          <a:p>
            <a:pPr algn="ctr" defTabSz="777149"/>
            <a:r>
              <a:rPr lang="en-US" sz="4800" dirty="0">
                <a:solidFill>
                  <a:schemeClr val="bg1"/>
                </a:solidFill>
              </a:rPr>
              <a:t>Start in seconds, Scale instantly, Pay per job</a:t>
            </a:r>
          </a:p>
        </p:txBody>
      </p:sp>
    </p:spTree>
    <p:extLst>
      <p:ext uri="{BB962C8B-B14F-4D97-AF65-F5344CB8AC3E}">
        <p14:creationId xmlns:p14="http://schemas.microsoft.com/office/powerpoint/2010/main" val="10530128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0070C0">
            <a:alpha val="99000"/>
          </a:srgbClr>
        </a:solidFill>
        <a:effectLst/>
      </p:bgPr>
    </p:bg>
    <p:spTree>
      <p:nvGrpSpPr>
        <p:cNvPr id="1" name=""/>
        <p:cNvGrpSpPr/>
        <p:nvPr/>
      </p:nvGrpSpPr>
      <p:grpSpPr>
        <a:xfrm>
          <a:off x="0" y="0"/>
          <a:ext cx="0" cy="0"/>
          <a:chOff x="0" y="0"/>
          <a:chExt cx="0" cy="0"/>
        </a:xfrm>
      </p:grpSpPr>
      <p:sp>
        <p:nvSpPr>
          <p:cNvPr id="3" name="Title 1"/>
          <p:cNvSpPr txBox="1">
            <a:spLocks/>
          </p:cNvSpPr>
          <p:nvPr/>
        </p:nvSpPr>
        <p:spPr>
          <a:xfrm>
            <a:off x="195174" y="194292"/>
            <a:ext cx="12046126" cy="6605940"/>
          </a:xfrm>
          <a:prstGeom prst="rect">
            <a:avLst/>
          </a:prstGeom>
          <a:noFill/>
          <a:ln>
            <a:noFill/>
          </a:ln>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777149" rtl="0" eaLnBrk="1" fontAlgn="auto" latinLnBrk="0" hangingPunct="1">
              <a:lnSpc>
                <a:spcPct val="90000"/>
              </a:lnSpc>
              <a:spcBef>
                <a:spcPct val="0"/>
              </a:spcBef>
              <a:spcAft>
                <a:spcPts val="0"/>
              </a:spcAft>
              <a:buClrTx/>
              <a:buSzTx/>
              <a:buFontTx/>
              <a:buNone/>
              <a:tabLst/>
              <a:defRPr/>
            </a:pPr>
            <a:r>
              <a:rPr kumimoji="0" lang="en-US" sz="5609" b="0" i="0" u="none" strike="noStrike" kern="1200" cap="none" spc="0" normalizeH="0" baseline="0" noProof="0" dirty="0">
                <a:ln>
                  <a:noFill/>
                </a:ln>
                <a:solidFill>
                  <a:prstClr val="white"/>
                </a:solidFill>
                <a:effectLst/>
                <a:uLnTx/>
                <a:uFillTx/>
                <a:latin typeface="Segoe UI Light"/>
                <a:ea typeface="+mj-ea"/>
                <a:cs typeface="+mj-cs"/>
              </a:rPr>
              <a:t>Platform Overview</a:t>
            </a:r>
          </a:p>
        </p:txBody>
      </p:sp>
    </p:spTree>
    <p:extLst>
      <p:ext uri="{BB962C8B-B14F-4D97-AF65-F5344CB8AC3E}">
        <p14:creationId xmlns:p14="http://schemas.microsoft.com/office/powerpoint/2010/main" val="10597454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858D3C33-0FA7-4AB0-816D-DDBCEB3299B6}"/>
              </a:ext>
            </a:extLst>
          </p:cNvPr>
          <p:cNvSpPr/>
          <p:nvPr/>
        </p:nvSpPr>
        <p:spPr>
          <a:xfrm>
            <a:off x="3035554" y="208651"/>
            <a:ext cx="6365367" cy="5926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Azure Data Lake Platform Overview</a:t>
            </a:r>
          </a:p>
        </p:txBody>
      </p:sp>
      <p:sp>
        <p:nvSpPr>
          <p:cNvPr id="8" name="Rectangle 7">
            <a:extLst>
              <a:ext uri="{FF2B5EF4-FFF2-40B4-BE49-F238E27FC236}">
                <a16:creationId xmlns:a16="http://schemas.microsoft.com/office/drawing/2014/main" id="{4A5C30D1-C02F-45A9-90C1-CAFC6DE1F257}"/>
              </a:ext>
            </a:extLst>
          </p:cNvPr>
          <p:cNvSpPr/>
          <p:nvPr/>
        </p:nvSpPr>
        <p:spPr>
          <a:xfrm>
            <a:off x="630665" y="1577043"/>
            <a:ext cx="1925849" cy="3368897"/>
          </a:xfrm>
          <a:prstGeom prst="rect">
            <a:avLst/>
          </a:prstGeom>
          <a:solidFill>
            <a:srgbClr val="0078D7"/>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Batch</a:t>
            </a:r>
          </a:p>
        </p:txBody>
      </p:sp>
      <p:sp>
        <p:nvSpPr>
          <p:cNvPr id="32" name="Rectangle 31">
            <a:extLst>
              <a:ext uri="{FF2B5EF4-FFF2-40B4-BE49-F238E27FC236}">
                <a16:creationId xmlns:a16="http://schemas.microsoft.com/office/drawing/2014/main" id="{C3197B95-B649-4AA0-BD1D-A4E20C090941}"/>
              </a:ext>
            </a:extLst>
          </p:cNvPr>
          <p:cNvSpPr/>
          <p:nvPr/>
        </p:nvSpPr>
        <p:spPr>
          <a:xfrm>
            <a:off x="2935605" y="1577043"/>
            <a:ext cx="1925849" cy="3368897"/>
          </a:xfrm>
          <a:prstGeom prst="rect">
            <a:avLst/>
          </a:prstGeom>
          <a:solidFill>
            <a:srgbClr val="0078D7">
              <a:alpha val="23922"/>
            </a:srgbClr>
          </a:solidFill>
          <a:ln w="3810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Interactive</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in progress)</a:t>
            </a:r>
          </a:p>
        </p:txBody>
      </p:sp>
      <p:sp>
        <p:nvSpPr>
          <p:cNvPr id="34" name="Rectangle 33">
            <a:extLst>
              <a:ext uri="{FF2B5EF4-FFF2-40B4-BE49-F238E27FC236}">
                <a16:creationId xmlns:a16="http://schemas.microsoft.com/office/drawing/2014/main" id="{094F98B5-0D9A-4D64-9D2B-03844982543A}"/>
              </a:ext>
            </a:extLst>
          </p:cNvPr>
          <p:cNvSpPr/>
          <p:nvPr/>
        </p:nvSpPr>
        <p:spPr>
          <a:xfrm>
            <a:off x="7558647" y="1577043"/>
            <a:ext cx="1925849" cy="3368897"/>
          </a:xfrm>
          <a:prstGeom prst="rect">
            <a:avLst/>
          </a:prstGeom>
          <a:solidFill>
            <a:schemeClr val="bg1">
              <a:lumMod val="85000"/>
            </a:schemeClr>
          </a:solidFill>
          <a:ln w="3810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treaming</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future)</a:t>
            </a:r>
          </a:p>
        </p:txBody>
      </p:sp>
      <p:sp>
        <p:nvSpPr>
          <p:cNvPr id="35" name="Rectangle 34">
            <a:extLst>
              <a:ext uri="{FF2B5EF4-FFF2-40B4-BE49-F238E27FC236}">
                <a16:creationId xmlns:a16="http://schemas.microsoft.com/office/drawing/2014/main" id="{1C2AD20E-2E03-499E-B134-18345D88B6BE}"/>
              </a:ext>
            </a:extLst>
          </p:cNvPr>
          <p:cNvSpPr/>
          <p:nvPr/>
        </p:nvSpPr>
        <p:spPr>
          <a:xfrm>
            <a:off x="5247126" y="1577043"/>
            <a:ext cx="1925849" cy="3368897"/>
          </a:xfrm>
          <a:prstGeom prst="rect">
            <a:avLst/>
          </a:prstGeom>
          <a:solidFill>
            <a:srgbClr val="0078D7">
              <a:alpha val="23922"/>
            </a:srgbClr>
          </a:solidFill>
          <a:ln w="3810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achine Learning</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in progress)</a:t>
            </a:r>
          </a:p>
        </p:txBody>
      </p:sp>
      <p:sp>
        <p:nvSpPr>
          <p:cNvPr id="36" name="Rectangle 35">
            <a:extLst>
              <a:ext uri="{FF2B5EF4-FFF2-40B4-BE49-F238E27FC236}">
                <a16:creationId xmlns:a16="http://schemas.microsoft.com/office/drawing/2014/main" id="{02061FF5-3D4A-4841-A086-9575D7EE380A}"/>
              </a:ext>
            </a:extLst>
          </p:cNvPr>
          <p:cNvSpPr/>
          <p:nvPr/>
        </p:nvSpPr>
        <p:spPr>
          <a:xfrm>
            <a:off x="9870167" y="1577043"/>
            <a:ext cx="1925849" cy="3368897"/>
          </a:xfrm>
          <a:prstGeom prst="rect">
            <a:avLst/>
          </a:prstGeom>
          <a:solidFill>
            <a:schemeClr val="bg1">
              <a:lumMod val="85000"/>
            </a:schemeClr>
          </a:solidFill>
          <a:ln w="3810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prstClr val="black"/>
                </a:solidFill>
                <a:effectLst/>
                <a:uLnTx/>
                <a:uFillTx/>
                <a:latin typeface="Segoe UI" panose="020B0502040204020203" pitchFamily="34" charset="0"/>
                <a:ea typeface="+mn-ea"/>
                <a:cs typeface="Segoe UI" panose="020B0502040204020203" pitchFamily="34" charset="0"/>
              </a:rPr>
              <a:t>Serverless</a:t>
            </a:r>
            <a:r>
              <a:rPr kumimoji="0" lang="en-US" sz="2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 OS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future)</a:t>
            </a:r>
          </a:p>
        </p:txBody>
      </p:sp>
      <p:sp>
        <p:nvSpPr>
          <p:cNvPr id="9" name="Rectangle 8">
            <a:extLst>
              <a:ext uri="{FF2B5EF4-FFF2-40B4-BE49-F238E27FC236}">
                <a16:creationId xmlns:a16="http://schemas.microsoft.com/office/drawing/2014/main" id="{1573F462-CB9A-4468-A3D7-2442A6643228}"/>
              </a:ext>
            </a:extLst>
          </p:cNvPr>
          <p:cNvSpPr/>
          <p:nvPr/>
        </p:nvSpPr>
        <p:spPr>
          <a:xfrm>
            <a:off x="624083" y="5194469"/>
            <a:ext cx="11171933" cy="1228841"/>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ata Lake Platform</a:t>
            </a:r>
          </a:p>
        </p:txBody>
      </p:sp>
      <p:grpSp>
        <p:nvGrpSpPr>
          <p:cNvPr id="10" name="Group 9">
            <a:extLst>
              <a:ext uri="{FF2B5EF4-FFF2-40B4-BE49-F238E27FC236}">
                <a16:creationId xmlns:a16="http://schemas.microsoft.com/office/drawing/2014/main" id="{7FFFDD43-AC07-4FF0-8EF5-CB6C2F6BDA63}"/>
              </a:ext>
            </a:extLst>
          </p:cNvPr>
          <p:cNvGrpSpPr/>
          <p:nvPr/>
        </p:nvGrpSpPr>
        <p:grpSpPr>
          <a:xfrm>
            <a:off x="3004686" y="5431847"/>
            <a:ext cx="6427103" cy="617702"/>
            <a:chOff x="2853322" y="5431847"/>
            <a:chExt cx="7069813" cy="617702"/>
          </a:xfrm>
        </p:grpSpPr>
        <p:sp>
          <p:nvSpPr>
            <p:cNvPr id="11" name="Rectangle 10">
              <a:extLst>
                <a:ext uri="{FF2B5EF4-FFF2-40B4-BE49-F238E27FC236}">
                  <a16:creationId xmlns:a16="http://schemas.microsoft.com/office/drawing/2014/main" id="{C0DEC585-E3F9-45C0-88DE-4C533000B053}"/>
                </a:ext>
              </a:extLst>
            </p:cNvPr>
            <p:cNvSpPr/>
            <p:nvPr/>
          </p:nvSpPr>
          <p:spPr>
            <a:xfrm>
              <a:off x="2853322" y="5431847"/>
              <a:ext cx="3280355" cy="61770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Resource Management</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YARN++)</a:t>
              </a:r>
            </a:p>
          </p:txBody>
        </p:sp>
        <p:sp>
          <p:nvSpPr>
            <p:cNvPr id="12" name="Rectangle 11">
              <a:extLst>
                <a:ext uri="{FF2B5EF4-FFF2-40B4-BE49-F238E27FC236}">
                  <a16:creationId xmlns:a16="http://schemas.microsoft.com/office/drawing/2014/main" id="{A4588467-C039-459B-BB33-CB74A5C0A660}"/>
                </a:ext>
              </a:extLst>
            </p:cNvPr>
            <p:cNvSpPr/>
            <p:nvPr/>
          </p:nvSpPr>
          <p:spPr>
            <a:xfrm>
              <a:off x="6642780" y="5431847"/>
              <a:ext cx="3280355" cy="61770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High-bandwidth Storage</a:t>
              </a:r>
            </a:p>
          </p:txBody>
        </p:sp>
      </p:grpSp>
    </p:spTree>
    <p:extLst>
      <p:ext uri="{BB962C8B-B14F-4D97-AF65-F5344CB8AC3E}">
        <p14:creationId xmlns:p14="http://schemas.microsoft.com/office/powerpoint/2010/main" val="4952865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3" name="Arrow: Chevron 12"/>
          <p:cNvSpPr/>
          <p:nvPr/>
        </p:nvSpPr>
        <p:spPr>
          <a:xfrm>
            <a:off x="4055707" y="2684160"/>
            <a:ext cx="5460186" cy="1331551"/>
          </a:xfrm>
          <a:prstGeom prst="chevr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 name="Arrow: Pentagon 11"/>
          <p:cNvSpPr/>
          <p:nvPr/>
        </p:nvSpPr>
        <p:spPr>
          <a:xfrm>
            <a:off x="882" y="2678010"/>
            <a:ext cx="4422721" cy="1352319"/>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3" name="Group 2">
            <a:extLst>
              <a:ext uri="{FF2B5EF4-FFF2-40B4-BE49-F238E27FC236}">
                <a16:creationId xmlns:a16="http://schemas.microsoft.com/office/drawing/2014/main" id="{CACDE6CF-5D1D-4BFC-AC8B-86761D59718A}"/>
              </a:ext>
            </a:extLst>
          </p:cNvPr>
          <p:cNvGrpSpPr/>
          <p:nvPr/>
        </p:nvGrpSpPr>
        <p:grpSpPr>
          <a:xfrm>
            <a:off x="231337" y="571214"/>
            <a:ext cx="4185806" cy="5574333"/>
            <a:chOff x="231338" y="1302726"/>
            <a:chExt cx="3089900" cy="4114890"/>
          </a:xfrm>
        </p:grpSpPr>
        <p:grpSp>
          <p:nvGrpSpPr>
            <p:cNvPr id="56" name="Group 55">
              <a:extLst/>
            </p:cNvPr>
            <p:cNvGrpSpPr/>
            <p:nvPr/>
          </p:nvGrpSpPr>
          <p:grpSpPr>
            <a:xfrm>
              <a:off x="1326198" y="4691760"/>
              <a:ext cx="520636" cy="725856"/>
              <a:chOff x="1609084" y="5766861"/>
              <a:chExt cx="383351" cy="534457"/>
            </a:xfrm>
          </p:grpSpPr>
          <p:grpSp>
            <p:nvGrpSpPr>
              <p:cNvPr id="57" name="Group 56">
                <a:extLst/>
              </p:cNvPr>
              <p:cNvGrpSpPr/>
              <p:nvPr/>
            </p:nvGrpSpPr>
            <p:grpSpPr>
              <a:xfrm>
                <a:off x="1609084" y="5766861"/>
                <a:ext cx="383351" cy="534457"/>
                <a:chOff x="6117910" y="5312532"/>
                <a:chExt cx="212972" cy="282005"/>
              </a:xfrm>
            </p:grpSpPr>
            <p:sp>
              <p:nvSpPr>
                <p:cNvPr id="59" name="Freeform 6">
                  <a:extLst/>
                </p:cNvPr>
                <p:cNvSpPr>
                  <a:spLocks/>
                </p:cNvSpPr>
                <p:nvPr/>
              </p:nvSpPr>
              <p:spPr bwMode="auto">
                <a:xfrm>
                  <a:off x="6117910" y="5350720"/>
                  <a:ext cx="212971" cy="243817"/>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rgbClr val="0072C6"/>
                </a:solidFill>
                <a:ln w="0">
                  <a:solidFill>
                    <a:srgbClr val="3999C6"/>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4896" b="0"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60" name="Freeform 7">
                  <a:extLst/>
                </p:cNvPr>
                <p:cNvSpPr>
                  <a:spLocks/>
                </p:cNvSpPr>
                <p:nvPr/>
              </p:nvSpPr>
              <p:spPr bwMode="auto">
                <a:xfrm>
                  <a:off x="6222928" y="5350720"/>
                  <a:ext cx="107954" cy="243817"/>
                </a:xfrm>
                <a:custGeom>
                  <a:avLst/>
                  <a:gdLst>
                    <a:gd name="T0" fmla="*/ 0 w 1321"/>
                    <a:gd name="T1" fmla="*/ 0 h 2984"/>
                    <a:gd name="T2" fmla="*/ 1321 w 1321"/>
                    <a:gd name="T3" fmla="*/ 0 h 2984"/>
                    <a:gd name="T4" fmla="*/ 1321 w 1321"/>
                    <a:gd name="T5" fmla="*/ 2512 h 2984"/>
                    <a:gd name="T6" fmla="*/ 1318 w 1321"/>
                    <a:gd name="T7" fmla="*/ 2547 h 2984"/>
                    <a:gd name="T8" fmla="*/ 1308 w 1321"/>
                    <a:gd name="T9" fmla="*/ 2582 h 2984"/>
                    <a:gd name="T10" fmla="*/ 1290 w 1321"/>
                    <a:gd name="T11" fmla="*/ 2615 h 2984"/>
                    <a:gd name="T12" fmla="*/ 1266 w 1321"/>
                    <a:gd name="T13" fmla="*/ 2648 h 2984"/>
                    <a:gd name="T14" fmla="*/ 1236 w 1321"/>
                    <a:gd name="T15" fmla="*/ 2680 h 2984"/>
                    <a:gd name="T16" fmla="*/ 1200 w 1321"/>
                    <a:gd name="T17" fmla="*/ 2711 h 2984"/>
                    <a:gd name="T18" fmla="*/ 1159 w 1321"/>
                    <a:gd name="T19" fmla="*/ 2740 h 2984"/>
                    <a:gd name="T20" fmla="*/ 1112 w 1321"/>
                    <a:gd name="T21" fmla="*/ 2769 h 2984"/>
                    <a:gd name="T22" fmla="*/ 1058 w 1321"/>
                    <a:gd name="T23" fmla="*/ 2795 h 2984"/>
                    <a:gd name="T24" fmla="*/ 1002 w 1321"/>
                    <a:gd name="T25" fmla="*/ 2822 h 2984"/>
                    <a:gd name="T26" fmla="*/ 939 w 1321"/>
                    <a:gd name="T27" fmla="*/ 2846 h 2984"/>
                    <a:gd name="T28" fmla="*/ 873 w 1321"/>
                    <a:gd name="T29" fmla="*/ 2868 h 2984"/>
                    <a:gd name="T30" fmla="*/ 802 w 1321"/>
                    <a:gd name="T31" fmla="*/ 2889 h 2984"/>
                    <a:gd name="T32" fmla="*/ 727 w 1321"/>
                    <a:gd name="T33" fmla="*/ 2908 h 2984"/>
                    <a:gd name="T34" fmla="*/ 649 w 1321"/>
                    <a:gd name="T35" fmla="*/ 2925 h 2984"/>
                    <a:gd name="T36" fmla="*/ 567 w 1321"/>
                    <a:gd name="T37" fmla="*/ 2940 h 2984"/>
                    <a:gd name="T38" fmla="*/ 482 w 1321"/>
                    <a:gd name="T39" fmla="*/ 2953 h 2984"/>
                    <a:gd name="T40" fmla="*/ 394 w 1321"/>
                    <a:gd name="T41" fmla="*/ 2964 h 2984"/>
                    <a:gd name="T42" fmla="*/ 303 w 1321"/>
                    <a:gd name="T43" fmla="*/ 2972 h 2984"/>
                    <a:gd name="T44" fmla="*/ 210 w 1321"/>
                    <a:gd name="T45" fmla="*/ 2979 h 2984"/>
                    <a:gd name="T46" fmla="*/ 115 w 1321"/>
                    <a:gd name="T47" fmla="*/ 2983 h 2984"/>
                    <a:gd name="T48" fmla="*/ 17 w 1321"/>
                    <a:gd name="T49" fmla="*/ 2984 h 2984"/>
                    <a:gd name="T50" fmla="*/ 0 w 1321"/>
                    <a:gd name="T51" fmla="*/ 2984 h 2984"/>
                    <a:gd name="T52" fmla="*/ 0 w 1321"/>
                    <a:gd name="T5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21" h="2984">
                      <a:moveTo>
                        <a:pt x="0" y="0"/>
                      </a:moveTo>
                      <a:lnTo>
                        <a:pt x="1321" y="0"/>
                      </a:lnTo>
                      <a:lnTo>
                        <a:pt x="1321" y="2512"/>
                      </a:lnTo>
                      <a:lnTo>
                        <a:pt x="1318" y="2547"/>
                      </a:lnTo>
                      <a:lnTo>
                        <a:pt x="1308" y="2582"/>
                      </a:lnTo>
                      <a:lnTo>
                        <a:pt x="1290" y="2615"/>
                      </a:lnTo>
                      <a:lnTo>
                        <a:pt x="1266" y="2648"/>
                      </a:lnTo>
                      <a:lnTo>
                        <a:pt x="1236" y="2680"/>
                      </a:lnTo>
                      <a:lnTo>
                        <a:pt x="1200" y="2711"/>
                      </a:lnTo>
                      <a:lnTo>
                        <a:pt x="1159" y="2740"/>
                      </a:lnTo>
                      <a:lnTo>
                        <a:pt x="1112" y="2769"/>
                      </a:lnTo>
                      <a:lnTo>
                        <a:pt x="1058" y="2795"/>
                      </a:lnTo>
                      <a:lnTo>
                        <a:pt x="1002" y="2822"/>
                      </a:lnTo>
                      <a:lnTo>
                        <a:pt x="939" y="2846"/>
                      </a:lnTo>
                      <a:lnTo>
                        <a:pt x="873" y="2868"/>
                      </a:lnTo>
                      <a:lnTo>
                        <a:pt x="802" y="2889"/>
                      </a:lnTo>
                      <a:lnTo>
                        <a:pt x="727" y="2908"/>
                      </a:lnTo>
                      <a:lnTo>
                        <a:pt x="649" y="2925"/>
                      </a:lnTo>
                      <a:lnTo>
                        <a:pt x="567" y="2940"/>
                      </a:lnTo>
                      <a:lnTo>
                        <a:pt x="482" y="2953"/>
                      </a:lnTo>
                      <a:lnTo>
                        <a:pt x="394" y="2964"/>
                      </a:lnTo>
                      <a:lnTo>
                        <a:pt x="303" y="2972"/>
                      </a:lnTo>
                      <a:lnTo>
                        <a:pt x="210" y="2979"/>
                      </a:lnTo>
                      <a:lnTo>
                        <a:pt x="115" y="2983"/>
                      </a:lnTo>
                      <a:lnTo>
                        <a:pt x="17" y="2984"/>
                      </a:lnTo>
                      <a:lnTo>
                        <a:pt x="0" y="2984"/>
                      </a:lnTo>
                      <a:lnTo>
                        <a:pt x="0" y="0"/>
                      </a:lnTo>
                      <a:close/>
                    </a:path>
                  </a:pathLst>
                </a:custGeom>
                <a:solidFill>
                  <a:srgbClr val="2687CE"/>
                </a:solidFill>
                <a:ln w="0">
                  <a:solidFill>
                    <a:srgbClr val="3999C6"/>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4896" b="0"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61" name="Freeform 8">
                  <a:extLst/>
                </p:cNvPr>
                <p:cNvSpPr>
                  <a:spLocks/>
                </p:cNvSpPr>
                <p:nvPr/>
              </p:nvSpPr>
              <p:spPr bwMode="auto">
                <a:xfrm>
                  <a:off x="6117911" y="5312532"/>
                  <a:ext cx="212971" cy="77111"/>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rgbClr val="FFFFFF"/>
                </a:solidFill>
                <a:ln w="0">
                  <a:solidFill>
                    <a:srgbClr val="FFFFFF"/>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4896" b="0"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62" name="Freeform 9">
                  <a:extLst/>
                </p:cNvPr>
                <p:cNvSpPr>
                  <a:spLocks/>
                </p:cNvSpPr>
                <p:nvPr/>
              </p:nvSpPr>
              <p:spPr bwMode="auto">
                <a:xfrm>
                  <a:off x="6139942" y="5323548"/>
                  <a:ext cx="168908" cy="50673"/>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8BBF0B"/>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4896" b="0"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63" name="Freeform 10">
                  <a:extLst/>
                </p:cNvPr>
                <p:cNvSpPr>
                  <a:spLocks/>
                </p:cNvSpPr>
                <p:nvPr/>
              </p:nvSpPr>
              <p:spPr bwMode="auto">
                <a:xfrm>
                  <a:off x="6139942" y="5323548"/>
                  <a:ext cx="168908" cy="41126"/>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B2D123"/>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4896" b="0"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sp>
            <p:nvSpPr>
              <p:cNvPr id="58" name="Rectangle 57">
                <a:extLst/>
              </p:cNvPr>
              <p:cNvSpPr/>
              <p:nvPr/>
            </p:nvSpPr>
            <p:spPr>
              <a:xfrm>
                <a:off x="1687156" y="6020609"/>
                <a:ext cx="254649" cy="167261"/>
              </a:xfrm>
              <a:prstGeom prst="rect">
                <a:avLst/>
              </a:prstGeom>
            </p:spPr>
            <p:txBody>
              <a:bodyPr wrap="none" lIns="0" tIns="0" rIns="0" bIns="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SQL</a:t>
                </a:r>
              </a:p>
            </p:txBody>
          </p:sp>
        </p:grpSp>
        <p:grpSp>
          <p:nvGrpSpPr>
            <p:cNvPr id="74" name="Group 73">
              <a:extLst/>
            </p:cNvPr>
            <p:cNvGrpSpPr/>
            <p:nvPr/>
          </p:nvGrpSpPr>
          <p:grpSpPr>
            <a:xfrm>
              <a:off x="1054706" y="3862700"/>
              <a:ext cx="286733" cy="385757"/>
              <a:chOff x="9349008" y="5506805"/>
              <a:chExt cx="474670" cy="638595"/>
            </a:xfrm>
          </p:grpSpPr>
          <p:sp>
            <p:nvSpPr>
              <p:cNvPr id="75" name="Freeform 1298">
                <a:extLst/>
              </p:cNvPr>
              <p:cNvSpPr/>
              <p:nvPr/>
            </p:nvSpPr>
            <p:spPr bwMode="auto">
              <a:xfrm>
                <a:off x="9349008" y="5506805"/>
                <a:ext cx="474670" cy="638595"/>
              </a:xfrm>
              <a:custGeom>
                <a:avLst/>
                <a:gdLst>
                  <a:gd name="connsiteX0" fmla="*/ 0 w 474670"/>
                  <a:gd name="connsiteY0" fmla="*/ 301803 h 638595"/>
                  <a:gd name="connsiteX1" fmla="*/ 119021 w 474670"/>
                  <a:gd name="connsiteY1" fmla="*/ 301803 h 638595"/>
                  <a:gd name="connsiteX2" fmla="*/ 234760 w 474670"/>
                  <a:gd name="connsiteY2" fmla="*/ 438536 h 638595"/>
                  <a:gd name="connsiteX3" fmla="*/ 350500 w 474670"/>
                  <a:gd name="connsiteY3" fmla="*/ 301803 h 638595"/>
                  <a:gd name="connsiteX4" fmla="*/ 474670 w 474670"/>
                  <a:gd name="connsiteY4" fmla="*/ 301803 h 638595"/>
                  <a:gd name="connsiteX5" fmla="*/ 474670 w 474670"/>
                  <a:gd name="connsiteY5" fmla="*/ 638595 h 638595"/>
                  <a:gd name="connsiteX6" fmla="*/ 0 w 474670"/>
                  <a:gd name="connsiteY6" fmla="*/ 638595 h 638595"/>
                  <a:gd name="connsiteX7" fmla="*/ 237335 w 474670"/>
                  <a:gd name="connsiteY7" fmla="*/ 0 h 638595"/>
                  <a:gd name="connsiteX8" fmla="*/ 371477 w 474670"/>
                  <a:gd name="connsiteY8" fmla="*/ 134142 h 638595"/>
                  <a:gd name="connsiteX9" fmla="*/ 237335 w 474670"/>
                  <a:gd name="connsiteY9" fmla="*/ 268284 h 638595"/>
                  <a:gd name="connsiteX10" fmla="*/ 103193 w 474670"/>
                  <a:gd name="connsiteY10" fmla="*/ 134142 h 638595"/>
                  <a:gd name="connsiteX11" fmla="*/ 237335 w 474670"/>
                  <a:gd name="connsiteY11" fmla="*/ 0 h 638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4670" h="638595">
                    <a:moveTo>
                      <a:pt x="0" y="301803"/>
                    </a:moveTo>
                    <a:lnTo>
                      <a:pt x="119021" y="301803"/>
                    </a:lnTo>
                    <a:lnTo>
                      <a:pt x="234760" y="438536"/>
                    </a:lnTo>
                    <a:lnTo>
                      <a:pt x="350500" y="301803"/>
                    </a:lnTo>
                    <a:lnTo>
                      <a:pt x="474670" y="301803"/>
                    </a:lnTo>
                    <a:lnTo>
                      <a:pt x="474670" y="638595"/>
                    </a:lnTo>
                    <a:lnTo>
                      <a:pt x="0" y="638595"/>
                    </a:lnTo>
                    <a:close/>
                    <a:moveTo>
                      <a:pt x="237335" y="0"/>
                    </a:moveTo>
                    <a:cubicBezTo>
                      <a:pt x="311420" y="0"/>
                      <a:pt x="371477" y="60057"/>
                      <a:pt x="371477" y="134142"/>
                    </a:cubicBezTo>
                    <a:cubicBezTo>
                      <a:pt x="371477" y="208227"/>
                      <a:pt x="311420" y="268284"/>
                      <a:pt x="237335" y="268284"/>
                    </a:cubicBezTo>
                    <a:cubicBezTo>
                      <a:pt x="163250" y="268284"/>
                      <a:pt x="103193" y="208227"/>
                      <a:pt x="103193" y="134142"/>
                    </a:cubicBezTo>
                    <a:cubicBezTo>
                      <a:pt x="103193" y="60057"/>
                      <a:pt x="163250" y="0"/>
                      <a:pt x="237335" y="0"/>
                    </a:cubicBezTo>
                    <a:close/>
                  </a:path>
                </a:pathLst>
              </a:custGeom>
              <a:solidFill>
                <a:srgbClr val="7AC3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 name="Freeform 1299">
                <a:extLst/>
              </p:cNvPr>
              <p:cNvSpPr/>
              <p:nvPr/>
            </p:nvSpPr>
            <p:spPr bwMode="auto">
              <a:xfrm>
                <a:off x="9522505" y="5514586"/>
                <a:ext cx="301173" cy="630814"/>
              </a:xfrm>
              <a:custGeom>
                <a:avLst/>
                <a:gdLst>
                  <a:gd name="connsiteX0" fmla="*/ 177003 w 301173"/>
                  <a:gd name="connsiteY0" fmla="*/ 294022 h 630814"/>
                  <a:gd name="connsiteX1" fmla="*/ 301173 w 301173"/>
                  <a:gd name="connsiteY1" fmla="*/ 294022 h 630814"/>
                  <a:gd name="connsiteX2" fmla="*/ 301173 w 301173"/>
                  <a:gd name="connsiteY2" fmla="*/ 630814 h 630814"/>
                  <a:gd name="connsiteX3" fmla="*/ 0 w 301173"/>
                  <a:gd name="connsiteY3" fmla="*/ 630814 h 630814"/>
                  <a:gd name="connsiteX4" fmla="*/ 37101 w 301173"/>
                  <a:gd name="connsiteY4" fmla="*/ 402211 h 630814"/>
                  <a:gd name="connsiteX5" fmla="*/ 61263 w 301173"/>
                  <a:gd name="connsiteY5" fmla="*/ 430755 h 630814"/>
                  <a:gd name="connsiteX6" fmla="*/ 102378 w 301173"/>
                  <a:gd name="connsiteY6" fmla="*/ 0 h 630814"/>
                  <a:gd name="connsiteX7" fmla="*/ 116052 w 301173"/>
                  <a:gd name="connsiteY7" fmla="*/ 2761 h 630814"/>
                  <a:gd name="connsiteX8" fmla="*/ 197980 w 301173"/>
                  <a:gd name="connsiteY8" fmla="*/ 126361 h 630814"/>
                  <a:gd name="connsiteX9" fmla="*/ 63838 w 301173"/>
                  <a:gd name="connsiteY9" fmla="*/ 260503 h 630814"/>
                  <a:gd name="connsiteX10" fmla="*/ 60218 w 301173"/>
                  <a:gd name="connsiteY10" fmla="*/ 259772 h 63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1173" h="630814">
                    <a:moveTo>
                      <a:pt x="177003" y="294022"/>
                    </a:moveTo>
                    <a:lnTo>
                      <a:pt x="301173" y="294022"/>
                    </a:lnTo>
                    <a:lnTo>
                      <a:pt x="301173" y="630814"/>
                    </a:lnTo>
                    <a:lnTo>
                      <a:pt x="0" y="630814"/>
                    </a:lnTo>
                    <a:lnTo>
                      <a:pt x="37101" y="402211"/>
                    </a:lnTo>
                    <a:lnTo>
                      <a:pt x="61263" y="430755"/>
                    </a:lnTo>
                    <a:close/>
                    <a:moveTo>
                      <a:pt x="102378" y="0"/>
                    </a:moveTo>
                    <a:lnTo>
                      <a:pt x="116052" y="2761"/>
                    </a:lnTo>
                    <a:cubicBezTo>
                      <a:pt x="164198" y="23125"/>
                      <a:pt x="197980" y="70798"/>
                      <a:pt x="197980" y="126361"/>
                    </a:cubicBezTo>
                    <a:cubicBezTo>
                      <a:pt x="197980" y="200446"/>
                      <a:pt x="137923" y="260503"/>
                      <a:pt x="63838" y="260503"/>
                    </a:cubicBezTo>
                    <a:lnTo>
                      <a:pt x="60218" y="259772"/>
                    </a:lnTo>
                    <a:close/>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77" name="Group 76">
              <a:extLst/>
            </p:cNvPr>
            <p:cNvGrpSpPr/>
            <p:nvPr/>
          </p:nvGrpSpPr>
          <p:grpSpPr>
            <a:xfrm>
              <a:off x="231338" y="4228657"/>
              <a:ext cx="581513" cy="949925"/>
              <a:chOff x="635147" y="4722637"/>
              <a:chExt cx="675282" cy="1103101"/>
            </a:xfrm>
          </p:grpSpPr>
          <p:sp>
            <p:nvSpPr>
              <p:cNvPr id="78" name="Freeform 507">
                <a:extLst/>
              </p:cNvPr>
              <p:cNvSpPr/>
              <p:nvPr/>
            </p:nvSpPr>
            <p:spPr>
              <a:xfrm>
                <a:off x="635147" y="4824058"/>
                <a:ext cx="365077" cy="997495"/>
              </a:xfrm>
              <a:custGeom>
                <a:avLst/>
                <a:gdLst>
                  <a:gd name="connsiteX0" fmla="*/ 106957 w 839281"/>
                  <a:gd name="connsiteY0" fmla="*/ 1365980 h 1817299"/>
                  <a:gd name="connsiteX1" fmla="*/ 106957 w 839281"/>
                  <a:gd name="connsiteY1" fmla="*/ 1620623 h 1817299"/>
                  <a:gd name="connsiteX2" fmla="*/ 369854 w 839281"/>
                  <a:gd name="connsiteY2" fmla="*/ 1620623 h 1817299"/>
                  <a:gd name="connsiteX3" fmla="*/ 369854 w 839281"/>
                  <a:gd name="connsiteY3" fmla="*/ 1365980 h 1817299"/>
                  <a:gd name="connsiteX4" fmla="*/ 469427 w 839281"/>
                  <a:gd name="connsiteY4" fmla="*/ 1079344 h 1817299"/>
                  <a:gd name="connsiteX5" fmla="*/ 469427 w 839281"/>
                  <a:gd name="connsiteY5" fmla="*/ 1333987 h 1817299"/>
                  <a:gd name="connsiteX6" fmla="*/ 732324 w 839281"/>
                  <a:gd name="connsiteY6" fmla="*/ 1333987 h 1817299"/>
                  <a:gd name="connsiteX7" fmla="*/ 732324 w 839281"/>
                  <a:gd name="connsiteY7" fmla="*/ 1079344 h 1817299"/>
                  <a:gd name="connsiteX8" fmla="*/ 106957 w 839281"/>
                  <a:gd name="connsiteY8" fmla="*/ 774587 h 1817299"/>
                  <a:gd name="connsiteX9" fmla="*/ 106957 w 839281"/>
                  <a:gd name="connsiteY9" fmla="*/ 1029230 h 1817299"/>
                  <a:gd name="connsiteX10" fmla="*/ 369854 w 839281"/>
                  <a:gd name="connsiteY10" fmla="*/ 1029230 h 1817299"/>
                  <a:gd name="connsiteX11" fmla="*/ 369854 w 839281"/>
                  <a:gd name="connsiteY11" fmla="*/ 774587 h 1817299"/>
                  <a:gd name="connsiteX12" fmla="*/ 469427 w 839281"/>
                  <a:gd name="connsiteY12" fmla="*/ 469830 h 1817299"/>
                  <a:gd name="connsiteX13" fmla="*/ 469427 w 839281"/>
                  <a:gd name="connsiteY13" fmla="*/ 724473 h 1817299"/>
                  <a:gd name="connsiteX14" fmla="*/ 732324 w 839281"/>
                  <a:gd name="connsiteY14" fmla="*/ 724473 h 1817299"/>
                  <a:gd name="connsiteX15" fmla="*/ 732324 w 839281"/>
                  <a:gd name="connsiteY15" fmla="*/ 469830 h 1817299"/>
                  <a:gd name="connsiteX16" fmla="*/ 469427 w 839281"/>
                  <a:gd name="connsiteY16" fmla="*/ 165073 h 1817299"/>
                  <a:gd name="connsiteX17" fmla="*/ 469427 w 839281"/>
                  <a:gd name="connsiteY17" fmla="*/ 419716 h 1817299"/>
                  <a:gd name="connsiteX18" fmla="*/ 732324 w 839281"/>
                  <a:gd name="connsiteY18" fmla="*/ 419716 h 1817299"/>
                  <a:gd name="connsiteX19" fmla="*/ 732324 w 839281"/>
                  <a:gd name="connsiteY19" fmla="*/ 165073 h 1817299"/>
                  <a:gd name="connsiteX20" fmla="*/ 106957 w 839281"/>
                  <a:gd name="connsiteY20" fmla="*/ 165073 h 1817299"/>
                  <a:gd name="connsiteX21" fmla="*/ 106957 w 839281"/>
                  <a:gd name="connsiteY21" fmla="*/ 419716 h 1817299"/>
                  <a:gd name="connsiteX22" fmla="*/ 369854 w 839281"/>
                  <a:gd name="connsiteY22" fmla="*/ 419716 h 1817299"/>
                  <a:gd name="connsiteX23" fmla="*/ 369854 w 839281"/>
                  <a:gd name="connsiteY23" fmla="*/ 165073 h 1817299"/>
                  <a:gd name="connsiteX24" fmla="*/ 0 w 839281"/>
                  <a:gd name="connsiteY24" fmla="*/ 0 h 1817299"/>
                  <a:gd name="connsiteX25" fmla="*/ 839281 w 839281"/>
                  <a:gd name="connsiteY25" fmla="*/ 0 h 1817299"/>
                  <a:gd name="connsiteX26" fmla="*/ 839281 w 839281"/>
                  <a:gd name="connsiteY26" fmla="*/ 1817299 h 1817299"/>
                  <a:gd name="connsiteX27" fmla="*/ 0 w 839281"/>
                  <a:gd name="connsiteY27" fmla="*/ 1817299 h 1817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39281" h="1817299">
                    <a:moveTo>
                      <a:pt x="106957" y="1365980"/>
                    </a:moveTo>
                    <a:lnTo>
                      <a:pt x="106957" y="1620623"/>
                    </a:lnTo>
                    <a:lnTo>
                      <a:pt x="369854" y="1620623"/>
                    </a:lnTo>
                    <a:lnTo>
                      <a:pt x="369854" y="1365980"/>
                    </a:lnTo>
                    <a:close/>
                    <a:moveTo>
                      <a:pt x="469427" y="1079344"/>
                    </a:moveTo>
                    <a:lnTo>
                      <a:pt x="469427" y="1333987"/>
                    </a:lnTo>
                    <a:lnTo>
                      <a:pt x="732324" y="1333987"/>
                    </a:lnTo>
                    <a:lnTo>
                      <a:pt x="732324" y="1079344"/>
                    </a:lnTo>
                    <a:close/>
                    <a:moveTo>
                      <a:pt x="106957" y="774587"/>
                    </a:moveTo>
                    <a:lnTo>
                      <a:pt x="106957" y="1029230"/>
                    </a:lnTo>
                    <a:lnTo>
                      <a:pt x="369854" y="1029230"/>
                    </a:lnTo>
                    <a:lnTo>
                      <a:pt x="369854" y="774587"/>
                    </a:lnTo>
                    <a:close/>
                    <a:moveTo>
                      <a:pt x="469427" y="469830"/>
                    </a:moveTo>
                    <a:lnTo>
                      <a:pt x="469427" y="724473"/>
                    </a:lnTo>
                    <a:lnTo>
                      <a:pt x="732324" y="724473"/>
                    </a:lnTo>
                    <a:lnTo>
                      <a:pt x="732324" y="469830"/>
                    </a:lnTo>
                    <a:close/>
                    <a:moveTo>
                      <a:pt x="469427" y="165073"/>
                    </a:moveTo>
                    <a:lnTo>
                      <a:pt x="469427" y="419716"/>
                    </a:lnTo>
                    <a:lnTo>
                      <a:pt x="732324" y="419716"/>
                    </a:lnTo>
                    <a:lnTo>
                      <a:pt x="732324" y="165073"/>
                    </a:lnTo>
                    <a:close/>
                    <a:moveTo>
                      <a:pt x="106957" y="165073"/>
                    </a:moveTo>
                    <a:lnTo>
                      <a:pt x="106957" y="419716"/>
                    </a:lnTo>
                    <a:lnTo>
                      <a:pt x="369854" y="419716"/>
                    </a:lnTo>
                    <a:lnTo>
                      <a:pt x="369854" y="165073"/>
                    </a:lnTo>
                    <a:close/>
                    <a:moveTo>
                      <a:pt x="0" y="0"/>
                    </a:moveTo>
                    <a:lnTo>
                      <a:pt x="839281" y="0"/>
                    </a:lnTo>
                    <a:lnTo>
                      <a:pt x="839281" y="1817299"/>
                    </a:lnTo>
                    <a:lnTo>
                      <a:pt x="0" y="1817299"/>
                    </a:lnTo>
                    <a:close/>
                  </a:path>
                </a:pathLst>
              </a:custGeom>
              <a:solidFill>
                <a:srgbClr val="5AB3D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 name="Freeform 509">
                <a:extLst/>
              </p:cNvPr>
              <p:cNvSpPr/>
              <p:nvPr/>
            </p:nvSpPr>
            <p:spPr>
              <a:xfrm>
                <a:off x="1026118" y="4722637"/>
                <a:ext cx="284311" cy="1103101"/>
              </a:xfrm>
              <a:custGeom>
                <a:avLst/>
                <a:gdLst>
                  <a:gd name="connsiteX0" fmla="*/ 103420 w 731868"/>
                  <a:gd name="connsiteY0" fmla="*/ 1679862 h 2839579"/>
                  <a:gd name="connsiteX1" fmla="*/ 103420 w 731868"/>
                  <a:gd name="connsiteY1" fmla="*/ 1934505 h 2839579"/>
                  <a:gd name="connsiteX2" fmla="*/ 366317 w 731868"/>
                  <a:gd name="connsiteY2" fmla="*/ 1934505 h 2839579"/>
                  <a:gd name="connsiteX3" fmla="*/ 366317 w 731868"/>
                  <a:gd name="connsiteY3" fmla="*/ 1679862 h 2839579"/>
                  <a:gd name="connsiteX4" fmla="*/ 365551 w 731868"/>
                  <a:gd name="connsiteY4" fmla="*/ 1349399 h 2839579"/>
                  <a:gd name="connsiteX5" fmla="*/ 365551 w 731868"/>
                  <a:gd name="connsiteY5" fmla="*/ 1604042 h 2839579"/>
                  <a:gd name="connsiteX6" fmla="*/ 628448 w 731868"/>
                  <a:gd name="connsiteY6" fmla="*/ 1604042 h 2839579"/>
                  <a:gd name="connsiteX7" fmla="*/ 628448 w 731868"/>
                  <a:gd name="connsiteY7" fmla="*/ 1349399 h 2839579"/>
                  <a:gd name="connsiteX8" fmla="*/ 103420 w 731868"/>
                  <a:gd name="connsiteY8" fmla="*/ 1018937 h 2839579"/>
                  <a:gd name="connsiteX9" fmla="*/ 103420 w 731868"/>
                  <a:gd name="connsiteY9" fmla="*/ 1273580 h 2839579"/>
                  <a:gd name="connsiteX10" fmla="*/ 366317 w 731868"/>
                  <a:gd name="connsiteY10" fmla="*/ 1273580 h 2839579"/>
                  <a:gd name="connsiteX11" fmla="*/ 366317 w 731868"/>
                  <a:gd name="connsiteY11" fmla="*/ 1018937 h 2839579"/>
                  <a:gd name="connsiteX12" fmla="*/ 304202 w 731868"/>
                  <a:gd name="connsiteY12" fmla="*/ 0 h 2839579"/>
                  <a:gd name="connsiteX13" fmla="*/ 427666 w 731868"/>
                  <a:gd name="connsiteY13" fmla="*/ 0 h 2839579"/>
                  <a:gd name="connsiteX14" fmla="*/ 427666 w 731868"/>
                  <a:gd name="connsiteY14" fmla="*/ 246119 h 2839579"/>
                  <a:gd name="connsiteX15" fmla="*/ 469185 w 731868"/>
                  <a:gd name="connsiteY15" fmla="*/ 246119 h 2839579"/>
                  <a:gd name="connsiteX16" fmla="*/ 469185 w 731868"/>
                  <a:gd name="connsiteY16" fmla="*/ 467400 h 2839579"/>
                  <a:gd name="connsiteX17" fmla="*/ 611545 w 731868"/>
                  <a:gd name="connsiteY17" fmla="*/ 467400 h 2839579"/>
                  <a:gd name="connsiteX18" fmla="*/ 611545 w 731868"/>
                  <a:gd name="connsiteY18" fmla="*/ 783586 h 2839579"/>
                  <a:gd name="connsiteX19" fmla="*/ 731868 w 731868"/>
                  <a:gd name="connsiteY19" fmla="*/ 783586 h 2839579"/>
                  <a:gd name="connsiteX20" fmla="*/ 731868 w 731868"/>
                  <a:gd name="connsiteY20" fmla="*/ 2839579 h 2839579"/>
                  <a:gd name="connsiteX21" fmla="*/ 0 w 731868"/>
                  <a:gd name="connsiteY21" fmla="*/ 2839579 h 2839579"/>
                  <a:gd name="connsiteX22" fmla="*/ 0 w 731868"/>
                  <a:gd name="connsiteY22" fmla="*/ 783586 h 2839579"/>
                  <a:gd name="connsiteX23" fmla="*/ 120324 w 731868"/>
                  <a:gd name="connsiteY23" fmla="*/ 783586 h 2839579"/>
                  <a:gd name="connsiteX24" fmla="*/ 120324 w 731868"/>
                  <a:gd name="connsiteY24" fmla="*/ 467400 h 2839579"/>
                  <a:gd name="connsiteX25" fmla="*/ 262683 w 731868"/>
                  <a:gd name="connsiteY25" fmla="*/ 467400 h 2839579"/>
                  <a:gd name="connsiteX26" fmla="*/ 262683 w 731868"/>
                  <a:gd name="connsiteY26" fmla="*/ 246119 h 2839579"/>
                  <a:gd name="connsiteX27" fmla="*/ 304202 w 731868"/>
                  <a:gd name="connsiteY27" fmla="*/ 246119 h 2839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31868" h="2839579">
                    <a:moveTo>
                      <a:pt x="103420" y="1679862"/>
                    </a:moveTo>
                    <a:lnTo>
                      <a:pt x="103420" y="1934505"/>
                    </a:lnTo>
                    <a:lnTo>
                      <a:pt x="366317" y="1934505"/>
                    </a:lnTo>
                    <a:lnTo>
                      <a:pt x="366317" y="1679862"/>
                    </a:lnTo>
                    <a:close/>
                    <a:moveTo>
                      <a:pt x="365551" y="1349399"/>
                    </a:moveTo>
                    <a:lnTo>
                      <a:pt x="365551" y="1604042"/>
                    </a:lnTo>
                    <a:lnTo>
                      <a:pt x="628448" y="1604042"/>
                    </a:lnTo>
                    <a:lnTo>
                      <a:pt x="628448" y="1349399"/>
                    </a:lnTo>
                    <a:close/>
                    <a:moveTo>
                      <a:pt x="103420" y="1018937"/>
                    </a:moveTo>
                    <a:lnTo>
                      <a:pt x="103420" y="1273580"/>
                    </a:lnTo>
                    <a:lnTo>
                      <a:pt x="366317" y="1273580"/>
                    </a:lnTo>
                    <a:lnTo>
                      <a:pt x="366317" y="1018937"/>
                    </a:lnTo>
                    <a:close/>
                    <a:moveTo>
                      <a:pt x="304202" y="0"/>
                    </a:moveTo>
                    <a:lnTo>
                      <a:pt x="427666" y="0"/>
                    </a:lnTo>
                    <a:lnTo>
                      <a:pt x="427666" y="246119"/>
                    </a:lnTo>
                    <a:lnTo>
                      <a:pt x="469185" y="246119"/>
                    </a:lnTo>
                    <a:lnTo>
                      <a:pt x="469185" y="467400"/>
                    </a:lnTo>
                    <a:lnTo>
                      <a:pt x="611545" y="467400"/>
                    </a:lnTo>
                    <a:lnTo>
                      <a:pt x="611545" y="783586"/>
                    </a:lnTo>
                    <a:lnTo>
                      <a:pt x="731868" y="783586"/>
                    </a:lnTo>
                    <a:lnTo>
                      <a:pt x="731868" y="2839579"/>
                    </a:lnTo>
                    <a:lnTo>
                      <a:pt x="0" y="2839579"/>
                    </a:lnTo>
                    <a:lnTo>
                      <a:pt x="0" y="783586"/>
                    </a:lnTo>
                    <a:lnTo>
                      <a:pt x="120324" y="783586"/>
                    </a:lnTo>
                    <a:lnTo>
                      <a:pt x="120324" y="467400"/>
                    </a:lnTo>
                    <a:lnTo>
                      <a:pt x="262683" y="467400"/>
                    </a:lnTo>
                    <a:lnTo>
                      <a:pt x="262683" y="246119"/>
                    </a:lnTo>
                    <a:lnTo>
                      <a:pt x="304202" y="246119"/>
                    </a:lnTo>
                    <a:close/>
                  </a:path>
                </a:pathLst>
              </a:custGeom>
              <a:solidFill>
                <a:srgbClr val="5AB3D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114" name="Group 113">
              <a:extLst/>
            </p:cNvPr>
            <p:cNvGrpSpPr/>
            <p:nvPr/>
          </p:nvGrpSpPr>
          <p:grpSpPr>
            <a:xfrm>
              <a:off x="1974639" y="2239839"/>
              <a:ext cx="423138" cy="638621"/>
              <a:chOff x="3256218" y="3404690"/>
              <a:chExt cx="715704" cy="1109833"/>
            </a:xfrm>
          </p:grpSpPr>
          <p:grpSp>
            <p:nvGrpSpPr>
              <p:cNvPr id="115" name="Group 114">
                <a:extLst/>
              </p:cNvPr>
              <p:cNvGrpSpPr>
                <a:grpSpLocks noChangeAspect="1"/>
              </p:cNvGrpSpPr>
              <p:nvPr/>
            </p:nvGrpSpPr>
            <p:grpSpPr>
              <a:xfrm>
                <a:off x="3256218" y="3404690"/>
                <a:ext cx="715704" cy="1109833"/>
                <a:chOff x="6446738" y="4659402"/>
                <a:chExt cx="1004711" cy="1557995"/>
              </a:xfrm>
            </p:grpSpPr>
            <p:sp>
              <p:nvSpPr>
                <p:cNvPr id="121" name="Rounded Rectangle 115">
                  <a:extLst/>
                </p:cNvPr>
                <p:cNvSpPr/>
                <p:nvPr/>
              </p:nvSpPr>
              <p:spPr>
                <a:xfrm>
                  <a:off x="6446738" y="4659402"/>
                  <a:ext cx="1004711" cy="1557995"/>
                </a:xfrm>
                <a:prstGeom prst="roundRect">
                  <a:avLst>
                    <a:gd name="adj" fmla="val 6467"/>
                  </a:avLst>
                </a:prstGeom>
                <a:solidFill>
                  <a:srgbClr val="3D3D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5092" tIns="47546" rIns="47546" bIns="95092" numCol="1" spcCol="0" rtlCol="0" fromWordArt="0" anchor="b" anchorCtr="0" forceAA="0" compatLnSpc="1">
                  <a:prstTxWarp prst="textNoShape">
                    <a:avLst/>
                  </a:prstTxWarp>
                  <a:noAutofit/>
                </a:bodyPr>
                <a:lstStyle/>
                <a:p>
                  <a:pPr marL="0" marR="0" lvl="0" indent="0" algn="ctr" defTabSz="950557" rtl="0" eaLnBrk="1" fontAlgn="base" latinLnBrk="0" hangingPunct="1">
                    <a:lnSpc>
                      <a:spcPct val="100000"/>
                    </a:lnSpc>
                    <a:spcBef>
                      <a:spcPct val="0"/>
                    </a:spcBef>
                    <a:spcAft>
                      <a:spcPct val="0"/>
                    </a:spcAft>
                    <a:buClrTx/>
                    <a:buSzTx/>
                    <a:buFontTx/>
                    <a:buNone/>
                    <a:tabLst/>
                    <a:defRPr/>
                  </a:pPr>
                  <a:endParaRPr kumimoji="0" lang="en-US" sz="1872" b="0" i="0" u="none" strike="noStrike" kern="0" cap="none" spc="-52"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2" name="Rectangle 121">
                  <a:extLst/>
                </p:cNvPr>
                <p:cNvSpPr/>
                <p:nvPr/>
              </p:nvSpPr>
              <p:spPr>
                <a:xfrm>
                  <a:off x="6513795" y="4845482"/>
                  <a:ext cx="870596" cy="1167325"/>
                </a:xfrm>
                <a:prstGeom prst="rect">
                  <a:avLst/>
                </a:prstGeom>
                <a:solidFill>
                  <a:srgbClr val="5AB3D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5092" tIns="47546" rIns="47546" bIns="95092" numCol="1" spcCol="0" rtlCol="0" fromWordArt="0" anchor="b" anchorCtr="0" forceAA="0" compatLnSpc="1">
                  <a:prstTxWarp prst="textNoShape">
                    <a:avLst/>
                  </a:prstTxWarp>
                  <a:noAutofit/>
                </a:bodyPr>
                <a:lstStyle/>
                <a:p>
                  <a:pPr marL="0" marR="0" lvl="0" indent="0" algn="ctr" defTabSz="950557" rtl="0" eaLnBrk="1" fontAlgn="base" latinLnBrk="0" hangingPunct="1">
                    <a:lnSpc>
                      <a:spcPct val="100000"/>
                    </a:lnSpc>
                    <a:spcBef>
                      <a:spcPct val="0"/>
                    </a:spcBef>
                    <a:spcAft>
                      <a:spcPct val="0"/>
                    </a:spcAft>
                    <a:buClrTx/>
                    <a:buSzTx/>
                    <a:buFontTx/>
                    <a:buNone/>
                    <a:tabLst/>
                    <a:defRPr/>
                  </a:pPr>
                  <a:endParaRPr kumimoji="0" lang="en-US" sz="1872" b="0" i="0" u="none" strike="noStrike" kern="0" cap="none" spc="-52"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3" name="Rounded Rectangle 117">
                  <a:extLst/>
                </p:cNvPr>
                <p:cNvSpPr/>
                <p:nvPr/>
              </p:nvSpPr>
              <p:spPr>
                <a:xfrm>
                  <a:off x="6769966" y="4716214"/>
                  <a:ext cx="358255" cy="45719"/>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sp>
              <p:nvSpPr>
                <p:cNvPr id="124" name="Oval 123">
                  <a:extLst/>
                </p:cNvPr>
                <p:cNvSpPr/>
                <p:nvPr/>
              </p:nvSpPr>
              <p:spPr>
                <a:xfrm>
                  <a:off x="6880513" y="6039429"/>
                  <a:ext cx="137160" cy="13716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grpSp>
          <p:grpSp>
            <p:nvGrpSpPr>
              <p:cNvPr id="117" name="Group 116">
                <a:extLst/>
              </p:cNvPr>
              <p:cNvGrpSpPr/>
              <p:nvPr/>
            </p:nvGrpSpPr>
            <p:grpSpPr>
              <a:xfrm>
                <a:off x="3381774" y="3675996"/>
                <a:ext cx="447207" cy="551677"/>
                <a:chOff x="8055373" y="3635514"/>
                <a:chExt cx="1066706" cy="1315899"/>
              </a:xfrm>
            </p:grpSpPr>
            <p:sp>
              <p:nvSpPr>
                <p:cNvPr id="118" name="Freeform 112">
                  <a:extLst/>
                </p:cNvPr>
                <p:cNvSpPr/>
                <p:nvPr/>
              </p:nvSpPr>
              <p:spPr>
                <a:xfrm>
                  <a:off x="8072535" y="3635514"/>
                  <a:ext cx="1049544" cy="562870"/>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 name="connsiteX0" fmla="*/ 543542 w 1059480"/>
                    <a:gd name="connsiteY0" fmla="*/ 0 h 560388"/>
                    <a:gd name="connsiteX1" fmla="*/ 0 w 1059480"/>
                    <a:gd name="connsiteY1" fmla="*/ 307903 h 560388"/>
                    <a:gd name="connsiteX2" fmla="*/ 524492 w 1059480"/>
                    <a:gd name="connsiteY2" fmla="*/ 560388 h 560388"/>
                    <a:gd name="connsiteX3" fmla="*/ 1059480 w 1059480"/>
                    <a:gd name="connsiteY3" fmla="*/ 296863 h 560388"/>
                    <a:gd name="connsiteX4" fmla="*/ 543542 w 1059480"/>
                    <a:gd name="connsiteY4" fmla="*/ 0 h 560388"/>
                    <a:gd name="connsiteX0" fmla="*/ 543542 w 1049544"/>
                    <a:gd name="connsiteY0" fmla="*/ 0 h 560388"/>
                    <a:gd name="connsiteX1" fmla="*/ 0 w 1049544"/>
                    <a:gd name="connsiteY1" fmla="*/ 307903 h 560388"/>
                    <a:gd name="connsiteX2" fmla="*/ 524492 w 1049544"/>
                    <a:gd name="connsiteY2" fmla="*/ 560388 h 560388"/>
                    <a:gd name="connsiteX3" fmla="*/ 1049544 w 1049544"/>
                    <a:gd name="connsiteY3" fmla="*/ 294380 h 560388"/>
                    <a:gd name="connsiteX4" fmla="*/ 543542 w 1049544"/>
                    <a:gd name="connsiteY4" fmla="*/ 0 h 560388"/>
                    <a:gd name="connsiteX0" fmla="*/ 543542 w 1049544"/>
                    <a:gd name="connsiteY0" fmla="*/ 0 h 562871"/>
                    <a:gd name="connsiteX1" fmla="*/ 0 w 1049544"/>
                    <a:gd name="connsiteY1" fmla="*/ 307903 h 562871"/>
                    <a:gd name="connsiteX2" fmla="*/ 507104 w 1049544"/>
                    <a:gd name="connsiteY2" fmla="*/ 562871 h 562871"/>
                    <a:gd name="connsiteX3" fmla="*/ 1049544 w 1049544"/>
                    <a:gd name="connsiteY3" fmla="*/ 294380 h 562871"/>
                    <a:gd name="connsiteX4" fmla="*/ 543542 w 1049544"/>
                    <a:gd name="connsiteY4" fmla="*/ 0 h 562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544" h="562871">
                      <a:moveTo>
                        <a:pt x="543542" y="0"/>
                      </a:moveTo>
                      <a:lnTo>
                        <a:pt x="0" y="307903"/>
                      </a:lnTo>
                      <a:lnTo>
                        <a:pt x="507104" y="562871"/>
                      </a:lnTo>
                      <a:lnTo>
                        <a:pt x="1049544" y="294380"/>
                      </a:lnTo>
                      <a:lnTo>
                        <a:pt x="543542" y="0"/>
                      </a:lnTo>
                      <a:close/>
                    </a:path>
                  </a:pathLst>
                </a:custGeom>
                <a:solidFill>
                  <a:schemeClr val="bg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sp>
              <p:nvSpPr>
                <p:cNvPr id="119" name="Freeform 113">
                  <a:extLst/>
                </p:cNvPr>
                <p:cNvSpPr/>
                <p:nvPr/>
              </p:nvSpPr>
              <p:spPr>
                <a:xfrm>
                  <a:off x="8055373"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5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sp>
              <p:nvSpPr>
                <p:cNvPr id="120" name="Freeform 114">
                  <a:extLst/>
                </p:cNvPr>
                <p:cNvSpPr/>
                <p:nvPr/>
              </p:nvSpPr>
              <p:spPr>
                <a:xfrm flipH="1">
                  <a:off x="860422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grpSp>
        </p:grpSp>
        <p:grpSp>
          <p:nvGrpSpPr>
            <p:cNvPr id="125" name="Group 124">
              <a:extLst/>
            </p:cNvPr>
            <p:cNvGrpSpPr/>
            <p:nvPr/>
          </p:nvGrpSpPr>
          <p:grpSpPr>
            <a:xfrm>
              <a:off x="301641" y="2185762"/>
              <a:ext cx="286733" cy="385757"/>
              <a:chOff x="9349008" y="5506805"/>
              <a:chExt cx="474670" cy="638595"/>
            </a:xfrm>
          </p:grpSpPr>
          <p:sp>
            <p:nvSpPr>
              <p:cNvPr id="126" name="Freeform 1298">
                <a:extLst/>
              </p:cNvPr>
              <p:cNvSpPr/>
              <p:nvPr/>
            </p:nvSpPr>
            <p:spPr bwMode="auto">
              <a:xfrm>
                <a:off x="9349008" y="5506805"/>
                <a:ext cx="474670" cy="638595"/>
              </a:xfrm>
              <a:custGeom>
                <a:avLst/>
                <a:gdLst>
                  <a:gd name="connsiteX0" fmla="*/ 0 w 474670"/>
                  <a:gd name="connsiteY0" fmla="*/ 301803 h 638595"/>
                  <a:gd name="connsiteX1" fmla="*/ 119021 w 474670"/>
                  <a:gd name="connsiteY1" fmla="*/ 301803 h 638595"/>
                  <a:gd name="connsiteX2" fmla="*/ 234760 w 474670"/>
                  <a:gd name="connsiteY2" fmla="*/ 438536 h 638595"/>
                  <a:gd name="connsiteX3" fmla="*/ 350500 w 474670"/>
                  <a:gd name="connsiteY3" fmla="*/ 301803 h 638595"/>
                  <a:gd name="connsiteX4" fmla="*/ 474670 w 474670"/>
                  <a:gd name="connsiteY4" fmla="*/ 301803 h 638595"/>
                  <a:gd name="connsiteX5" fmla="*/ 474670 w 474670"/>
                  <a:gd name="connsiteY5" fmla="*/ 638595 h 638595"/>
                  <a:gd name="connsiteX6" fmla="*/ 0 w 474670"/>
                  <a:gd name="connsiteY6" fmla="*/ 638595 h 638595"/>
                  <a:gd name="connsiteX7" fmla="*/ 237335 w 474670"/>
                  <a:gd name="connsiteY7" fmla="*/ 0 h 638595"/>
                  <a:gd name="connsiteX8" fmla="*/ 371477 w 474670"/>
                  <a:gd name="connsiteY8" fmla="*/ 134142 h 638595"/>
                  <a:gd name="connsiteX9" fmla="*/ 237335 w 474670"/>
                  <a:gd name="connsiteY9" fmla="*/ 268284 h 638595"/>
                  <a:gd name="connsiteX10" fmla="*/ 103193 w 474670"/>
                  <a:gd name="connsiteY10" fmla="*/ 134142 h 638595"/>
                  <a:gd name="connsiteX11" fmla="*/ 237335 w 474670"/>
                  <a:gd name="connsiteY11" fmla="*/ 0 h 638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4670" h="638595">
                    <a:moveTo>
                      <a:pt x="0" y="301803"/>
                    </a:moveTo>
                    <a:lnTo>
                      <a:pt x="119021" y="301803"/>
                    </a:lnTo>
                    <a:lnTo>
                      <a:pt x="234760" y="438536"/>
                    </a:lnTo>
                    <a:lnTo>
                      <a:pt x="350500" y="301803"/>
                    </a:lnTo>
                    <a:lnTo>
                      <a:pt x="474670" y="301803"/>
                    </a:lnTo>
                    <a:lnTo>
                      <a:pt x="474670" y="638595"/>
                    </a:lnTo>
                    <a:lnTo>
                      <a:pt x="0" y="638595"/>
                    </a:lnTo>
                    <a:close/>
                    <a:moveTo>
                      <a:pt x="237335" y="0"/>
                    </a:moveTo>
                    <a:cubicBezTo>
                      <a:pt x="311420" y="0"/>
                      <a:pt x="371477" y="60057"/>
                      <a:pt x="371477" y="134142"/>
                    </a:cubicBezTo>
                    <a:cubicBezTo>
                      <a:pt x="371477" y="208227"/>
                      <a:pt x="311420" y="268284"/>
                      <a:pt x="237335" y="268284"/>
                    </a:cubicBezTo>
                    <a:cubicBezTo>
                      <a:pt x="163250" y="268284"/>
                      <a:pt x="103193" y="208227"/>
                      <a:pt x="103193" y="134142"/>
                    </a:cubicBezTo>
                    <a:cubicBezTo>
                      <a:pt x="103193" y="60057"/>
                      <a:pt x="163250" y="0"/>
                      <a:pt x="237335" y="0"/>
                    </a:cubicBezTo>
                    <a:close/>
                  </a:path>
                </a:pathLst>
              </a:custGeom>
              <a:solidFill>
                <a:srgbClr val="7AC3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7" name="Freeform 1299">
                <a:extLst/>
              </p:cNvPr>
              <p:cNvSpPr/>
              <p:nvPr/>
            </p:nvSpPr>
            <p:spPr bwMode="auto">
              <a:xfrm>
                <a:off x="9522505" y="5514586"/>
                <a:ext cx="301173" cy="630814"/>
              </a:xfrm>
              <a:custGeom>
                <a:avLst/>
                <a:gdLst>
                  <a:gd name="connsiteX0" fmla="*/ 177003 w 301173"/>
                  <a:gd name="connsiteY0" fmla="*/ 294022 h 630814"/>
                  <a:gd name="connsiteX1" fmla="*/ 301173 w 301173"/>
                  <a:gd name="connsiteY1" fmla="*/ 294022 h 630814"/>
                  <a:gd name="connsiteX2" fmla="*/ 301173 w 301173"/>
                  <a:gd name="connsiteY2" fmla="*/ 630814 h 630814"/>
                  <a:gd name="connsiteX3" fmla="*/ 0 w 301173"/>
                  <a:gd name="connsiteY3" fmla="*/ 630814 h 630814"/>
                  <a:gd name="connsiteX4" fmla="*/ 37101 w 301173"/>
                  <a:gd name="connsiteY4" fmla="*/ 402211 h 630814"/>
                  <a:gd name="connsiteX5" fmla="*/ 61263 w 301173"/>
                  <a:gd name="connsiteY5" fmla="*/ 430755 h 630814"/>
                  <a:gd name="connsiteX6" fmla="*/ 102378 w 301173"/>
                  <a:gd name="connsiteY6" fmla="*/ 0 h 630814"/>
                  <a:gd name="connsiteX7" fmla="*/ 116052 w 301173"/>
                  <a:gd name="connsiteY7" fmla="*/ 2761 h 630814"/>
                  <a:gd name="connsiteX8" fmla="*/ 197980 w 301173"/>
                  <a:gd name="connsiteY8" fmla="*/ 126361 h 630814"/>
                  <a:gd name="connsiteX9" fmla="*/ 63838 w 301173"/>
                  <a:gd name="connsiteY9" fmla="*/ 260503 h 630814"/>
                  <a:gd name="connsiteX10" fmla="*/ 60218 w 301173"/>
                  <a:gd name="connsiteY10" fmla="*/ 259772 h 63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1173" h="630814">
                    <a:moveTo>
                      <a:pt x="177003" y="294022"/>
                    </a:moveTo>
                    <a:lnTo>
                      <a:pt x="301173" y="294022"/>
                    </a:lnTo>
                    <a:lnTo>
                      <a:pt x="301173" y="630814"/>
                    </a:lnTo>
                    <a:lnTo>
                      <a:pt x="0" y="630814"/>
                    </a:lnTo>
                    <a:lnTo>
                      <a:pt x="37101" y="402211"/>
                    </a:lnTo>
                    <a:lnTo>
                      <a:pt x="61263" y="430755"/>
                    </a:lnTo>
                    <a:close/>
                    <a:moveTo>
                      <a:pt x="102378" y="0"/>
                    </a:moveTo>
                    <a:lnTo>
                      <a:pt x="116052" y="2761"/>
                    </a:lnTo>
                    <a:cubicBezTo>
                      <a:pt x="164198" y="23125"/>
                      <a:pt x="197980" y="70798"/>
                      <a:pt x="197980" y="126361"/>
                    </a:cubicBezTo>
                    <a:cubicBezTo>
                      <a:pt x="197980" y="200446"/>
                      <a:pt x="137923" y="260503"/>
                      <a:pt x="63838" y="260503"/>
                    </a:cubicBezTo>
                    <a:lnTo>
                      <a:pt x="60218" y="259772"/>
                    </a:lnTo>
                    <a:close/>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128" name="Group 127">
              <a:extLst/>
            </p:cNvPr>
            <p:cNvGrpSpPr/>
            <p:nvPr/>
          </p:nvGrpSpPr>
          <p:grpSpPr>
            <a:xfrm>
              <a:off x="521700" y="1438783"/>
              <a:ext cx="439239" cy="417961"/>
              <a:chOff x="11209667" y="1326560"/>
              <a:chExt cx="1287867" cy="1225483"/>
            </a:xfrm>
          </p:grpSpPr>
          <p:grpSp>
            <p:nvGrpSpPr>
              <p:cNvPr id="129" name="Group 128">
                <a:extLst/>
              </p:cNvPr>
              <p:cNvGrpSpPr/>
              <p:nvPr/>
            </p:nvGrpSpPr>
            <p:grpSpPr>
              <a:xfrm>
                <a:off x="11209667" y="1326560"/>
                <a:ext cx="901749" cy="772996"/>
                <a:chOff x="11148003" y="2486796"/>
                <a:chExt cx="1527631" cy="1309513"/>
              </a:xfrm>
            </p:grpSpPr>
            <p:sp>
              <p:nvSpPr>
                <p:cNvPr id="153" name="Round Same Side Corner Rectangle 176">
                  <a:extLst/>
                </p:cNvPr>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122" b="0" i="0" u="none" strike="noStrike" kern="0" cap="none" spc="0" normalizeH="0" baseline="0" noProof="0" dirty="0" err="1">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54" name="Round Same Side Corner Rectangle 177">
                  <a:extLst/>
                </p:cNvPr>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122" b="0" i="0" u="none" strike="noStrike" kern="0" cap="none" spc="0" normalizeH="0" baseline="0" noProof="0" dirty="0" err="1">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nvGrpSpPr>
              <p:cNvPr id="130" name="Group 129">
                <a:extLst/>
              </p:cNvPr>
              <p:cNvGrpSpPr/>
              <p:nvPr/>
            </p:nvGrpSpPr>
            <p:grpSpPr>
              <a:xfrm>
                <a:off x="11403194" y="1550235"/>
                <a:ext cx="900814" cy="772996"/>
                <a:chOff x="11148003" y="2486796"/>
                <a:chExt cx="1526047" cy="1309513"/>
              </a:xfrm>
            </p:grpSpPr>
            <p:sp>
              <p:nvSpPr>
                <p:cNvPr id="150" name="Round Same Side Corner Rectangle 174">
                  <a:extLst/>
                </p:cNvPr>
                <p:cNvSpPr/>
                <p:nvPr/>
              </p:nvSpPr>
              <p:spPr bwMode="auto">
                <a:xfrm>
                  <a:off x="11148006" y="2486796"/>
                  <a:ext cx="1526044" cy="1309513"/>
                </a:xfrm>
                <a:prstGeom prst="round2SameRect">
                  <a:avLst>
                    <a:gd name="adj1" fmla="val 5262"/>
                    <a:gd name="adj2" fmla="val 0"/>
                  </a:avLst>
                </a:prstGeom>
                <a:gradFill flip="none" rotWithShape="1">
                  <a:gsLst>
                    <a:gs pos="46000">
                      <a:srgbClr val="4CA3CC"/>
                    </a:gs>
                    <a:gs pos="46000">
                      <a:srgbClr val="45A2CF"/>
                    </a:gs>
                  </a:gsLst>
                  <a:lin ang="3000000" scaled="0"/>
                  <a:tileRect/>
                </a:gra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122" b="0" i="0" u="none" strike="noStrike" kern="0" cap="none" spc="0" normalizeH="0" baseline="0" noProof="0" dirty="0" err="1">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52" name="Round Same Side Corner Rectangle 175">
                  <a:extLst/>
                </p:cNvPr>
                <p:cNvSpPr/>
                <p:nvPr/>
              </p:nvSpPr>
              <p:spPr bwMode="auto">
                <a:xfrm>
                  <a:off x="11148003" y="2486796"/>
                  <a:ext cx="1526044" cy="274703"/>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122" b="0" i="0" u="none" strike="noStrike" kern="0" cap="none" spc="0" normalizeH="0" baseline="0" noProof="0" dirty="0" err="1">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nvGrpSpPr>
              <p:cNvPr id="131" name="Group 130">
                <a:extLst/>
              </p:cNvPr>
              <p:cNvGrpSpPr/>
              <p:nvPr/>
            </p:nvGrpSpPr>
            <p:grpSpPr>
              <a:xfrm>
                <a:off x="11595785" y="1779047"/>
                <a:ext cx="901749" cy="772996"/>
                <a:chOff x="11148003" y="2486796"/>
                <a:chExt cx="1527631" cy="1309513"/>
              </a:xfrm>
            </p:grpSpPr>
            <p:sp>
              <p:nvSpPr>
                <p:cNvPr id="132" name="Round Same Side Corner Rectangle 172">
                  <a:extLst/>
                </p:cNvPr>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122" b="0" i="0" u="none" strike="noStrike" kern="0" cap="none" spc="0" normalizeH="0" baseline="0" noProof="0" dirty="0" err="1">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49" name="Round Same Side Corner Rectangle 173">
                  <a:extLst/>
                </p:cNvPr>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122" b="0" i="0" u="none" strike="noStrike" kern="0" cap="none" spc="0" normalizeH="0" baseline="0" noProof="0" dirty="0" err="1">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grpSp>
          <p:nvGrpSpPr>
            <p:cNvPr id="155" name="Group 154">
              <a:extLst/>
            </p:cNvPr>
            <p:cNvGrpSpPr/>
            <p:nvPr/>
          </p:nvGrpSpPr>
          <p:grpSpPr>
            <a:xfrm>
              <a:off x="1867182" y="3881782"/>
              <a:ext cx="599303" cy="514133"/>
              <a:chOff x="-2759706" y="1099471"/>
              <a:chExt cx="7926138" cy="6799720"/>
            </a:xfrm>
          </p:grpSpPr>
          <p:sp>
            <p:nvSpPr>
              <p:cNvPr id="156" name="Rectangle 317">
                <a:extLst/>
              </p:cNvPr>
              <p:cNvSpPr/>
              <p:nvPr/>
            </p:nvSpPr>
            <p:spPr bwMode="auto">
              <a:xfrm>
                <a:off x="-1103535" y="6493181"/>
                <a:ext cx="4613796" cy="1133080"/>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7" name="Rounded Rectangle 331">
                <a:extLst/>
              </p:cNvPr>
              <p:cNvSpPr/>
              <p:nvPr/>
            </p:nvSpPr>
            <p:spPr bwMode="auto">
              <a:xfrm>
                <a:off x="-2759706" y="1099471"/>
                <a:ext cx="7926138" cy="5508724"/>
              </a:xfrm>
              <a:prstGeom prst="roundRect">
                <a:avLst>
                  <a:gd name="adj" fmla="val 8482"/>
                </a:avLst>
              </a:prstGeom>
              <a:solidFill>
                <a:srgbClr val="A2A3A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8" name="Rectangle 157">
                <a:extLst/>
              </p:cNvPr>
              <p:cNvSpPr/>
              <p:nvPr/>
            </p:nvSpPr>
            <p:spPr bwMode="auto">
              <a:xfrm>
                <a:off x="-2133709" y="1626404"/>
                <a:ext cx="6674143" cy="4361520"/>
              </a:xfrm>
              <a:prstGeom prst="rect">
                <a:avLst/>
              </a:prstGeom>
              <a:gradFill flip="none" rotWithShape="1">
                <a:gsLst>
                  <a:gs pos="45000">
                    <a:srgbClr val="AFE5FD"/>
                  </a:gs>
                  <a:gs pos="45000">
                    <a:srgbClr val="C3ECFE"/>
                  </a:gs>
                </a:gsLst>
                <a:lin ang="2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9" name="Rectangle 158">
                <a:extLst/>
              </p:cNvPr>
              <p:cNvSpPr/>
              <p:nvPr/>
            </p:nvSpPr>
            <p:spPr bwMode="auto">
              <a:xfrm>
                <a:off x="-1332157" y="7460658"/>
                <a:ext cx="5071038" cy="438533"/>
              </a:xfrm>
              <a:prstGeom prst="rect">
                <a:avLst/>
              </a:prstGeom>
              <a:solidFill>
                <a:srgbClr val="A2A3A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cxnSp>
          <p:nvCxnSpPr>
            <p:cNvPr id="160" name="Connector: Elbow 159">
              <a:extLst/>
            </p:cNvPr>
            <p:cNvCxnSpPr>
              <a:stCxn id="132" idx="1"/>
            </p:cNvCxnSpPr>
            <p:nvPr/>
          </p:nvCxnSpPr>
          <p:spPr>
            <a:xfrm rot="16200000" flipH="1">
              <a:off x="621535" y="2042213"/>
              <a:ext cx="1478451" cy="1107512"/>
            </a:xfrm>
            <a:prstGeom prst="bentConnector3">
              <a:avLst>
                <a:gd name="adj1" fmla="val 50000"/>
              </a:avLst>
            </a:prstGeom>
            <a:ln w="12700">
              <a:solidFill>
                <a:schemeClr val="tx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1" name="Connector: Elbow 160">
              <a:extLst/>
            </p:cNvPr>
            <p:cNvCxnSpPr/>
            <p:nvPr/>
          </p:nvCxnSpPr>
          <p:spPr>
            <a:xfrm rot="5400000" flipH="1" flipV="1">
              <a:off x="507687" y="3661175"/>
              <a:ext cx="664263" cy="349158"/>
            </a:xfrm>
            <a:prstGeom prst="bentConnector3">
              <a:avLst>
                <a:gd name="adj1" fmla="val 50000"/>
              </a:avLst>
            </a:prstGeom>
            <a:ln w="12700">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2" name="Connector: Elbow 161">
              <a:extLst/>
            </p:cNvPr>
            <p:cNvCxnSpPr/>
            <p:nvPr/>
          </p:nvCxnSpPr>
          <p:spPr>
            <a:xfrm rot="5400000">
              <a:off x="1139138" y="2426694"/>
              <a:ext cx="1466058" cy="525890"/>
            </a:xfrm>
            <a:prstGeom prst="bentConnector3">
              <a:avLst>
                <a:gd name="adj1" fmla="val 10457"/>
              </a:avLst>
            </a:prstGeom>
            <a:ln w="12700">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3" name="Connector: Elbow 162">
              <a:extLst/>
            </p:cNvPr>
            <p:cNvCxnSpPr/>
            <p:nvPr/>
          </p:nvCxnSpPr>
          <p:spPr>
            <a:xfrm rot="16200000" flipH="1">
              <a:off x="671330" y="2663980"/>
              <a:ext cx="1168912" cy="231863"/>
            </a:xfrm>
            <a:prstGeom prst="bentConnector3">
              <a:avLst>
                <a:gd name="adj1" fmla="val 50000"/>
              </a:avLst>
            </a:prstGeom>
            <a:ln w="12700">
              <a:solidFill>
                <a:schemeClr val="tx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64" name="Group 163">
              <a:extLst/>
            </p:cNvPr>
            <p:cNvGrpSpPr/>
            <p:nvPr/>
          </p:nvGrpSpPr>
          <p:grpSpPr>
            <a:xfrm>
              <a:off x="887718" y="2616223"/>
              <a:ext cx="574713" cy="314735"/>
              <a:chOff x="4445521" y="4254303"/>
              <a:chExt cx="1149940" cy="629751"/>
            </a:xfrm>
          </p:grpSpPr>
          <p:sp>
            <p:nvSpPr>
              <p:cNvPr id="165" name="Oval 209">
                <a:extLst/>
              </p:cNvPr>
              <p:cNvSpPr/>
              <p:nvPr/>
            </p:nvSpPr>
            <p:spPr bwMode="auto">
              <a:xfrm>
                <a:off x="4454970" y="4254303"/>
                <a:ext cx="1140491" cy="629751"/>
              </a:xfrm>
              <a:custGeom>
                <a:avLst/>
                <a:gdLst/>
                <a:ahLst/>
                <a:cxnLst/>
                <a:rect l="l" t="t" r="r" b="b"/>
                <a:pathLst>
                  <a:path w="3499493" h="2054868">
                    <a:moveTo>
                      <a:pt x="1951464" y="0"/>
                    </a:moveTo>
                    <a:cubicBezTo>
                      <a:pt x="2462838" y="0"/>
                      <a:pt x="2877388" y="395874"/>
                      <a:pt x="2877388" y="884210"/>
                    </a:cubicBezTo>
                    <a:cubicBezTo>
                      <a:pt x="2877388" y="918469"/>
                      <a:pt x="2875348" y="952273"/>
                      <a:pt x="2870875" y="985457"/>
                    </a:cubicBezTo>
                    <a:cubicBezTo>
                      <a:pt x="2899773" y="978985"/>
                      <a:pt x="2929730" y="976444"/>
                      <a:pt x="2960281" y="976444"/>
                    </a:cubicBezTo>
                    <a:cubicBezTo>
                      <a:pt x="3258080" y="976444"/>
                      <a:pt x="3499493" y="1217857"/>
                      <a:pt x="3499493" y="1515656"/>
                    </a:cubicBezTo>
                    <a:cubicBezTo>
                      <a:pt x="3499493" y="1813455"/>
                      <a:pt x="3258080" y="2054868"/>
                      <a:pt x="2960281" y="2054868"/>
                    </a:cubicBezTo>
                    <a:lnTo>
                      <a:pt x="2928952" y="2052151"/>
                    </a:lnTo>
                    <a:lnTo>
                      <a:pt x="509786" y="2052151"/>
                    </a:lnTo>
                    <a:cubicBezTo>
                      <a:pt x="494036" y="2052151"/>
                      <a:pt x="479849" y="2045457"/>
                      <a:pt x="470177" y="2034517"/>
                    </a:cubicBezTo>
                    <a:cubicBezTo>
                      <a:pt x="204777" y="1999829"/>
                      <a:pt x="0" y="1750739"/>
                      <a:pt x="0" y="1449039"/>
                    </a:cubicBezTo>
                    <a:cubicBezTo>
                      <a:pt x="0" y="1152224"/>
                      <a:pt x="198199" y="906330"/>
                      <a:pt x="457331" y="864986"/>
                    </a:cubicBezTo>
                    <a:cubicBezTo>
                      <a:pt x="465918" y="656655"/>
                      <a:pt x="637955" y="490895"/>
                      <a:pt x="848708" y="490895"/>
                    </a:cubicBezTo>
                    <a:cubicBezTo>
                      <a:pt x="938214" y="490895"/>
                      <a:pt x="1020736" y="520793"/>
                      <a:pt x="1085920" y="572346"/>
                    </a:cubicBezTo>
                    <a:cubicBezTo>
                      <a:pt x="1217075" y="237711"/>
                      <a:pt x="1555199" y="0"/>
                      <a:pt x="1951464" y="0"/>
                    </a:cubicBezTo>
                    <a:close/>
                  </a:path>
                </a:pathLst>
              </a:custGeom>
              <a:solidFill>
                <a:srgbClr val="61AD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6795" tIns="48398" rIns="48398" bIns="96795" numCol="1" spcCol="0" rtlCol="0" fromWordArt="0" anchor="b" anchorCtr="0" forceAA="0" compatLnSpc="1">
                <a:prstTxWarp prst="textNoShape">
                  <a:avLst/>
                </a:prstTxWarp>
                <a:noAutofit/>
              </a:bodyPr>
              <a:lstStyle/>
              <a:p>
                <a:pPr marL="0" marR="0" lvl="0" indent="0" algn="ctr" defTabSz="967631" rtl="0" eaLnBrk="1" fontAlgn="auto" latinLnBrk="0" hangingPunct="1">
                  <a:lnSpc>
                    <a:spcPct val="100000"/>
                  </a:lnSpc>
                  <a:spcBef>
                    <a:spcPts val="0"/>
                  </a:spcBef>
                  <a:spcAft>
                    <a:spcPts val="0"/>
                  </a:spcAft>
                  <a:buClrTx/>
                  <a:buSzTx/>
                  <a:buFontTx/>
                  <a:buNone/>
                  <a:tabLst/>
                  <a:defRPr/>
                </a:pPr>
                <a:endParaRPr kumimoji="0" lang="en-US" sz="1693" b="0" i="0" u="none" strike="noStrike" kern="0" cap="none" spc="-53" normalizeH="0" baseline="0" noProof="0" dirty="0" err="1">
                  <a:ln>
                    <a:noFill/>
                  </a:ln>
                  <a:solidFill>
                    <a:srgbClr val="B4009E"/>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6" name="Freeform 272">
                <a:extLst/>
              </p:cNvPr>
              <p:cNvSpPr/>
              <p:nvPr/>
            </p:nvSpPr>
            <p:spPr bwMode="auto">
              <a:xfrm>
                <a:off x="4445521" y="4254303"/>
                <a:ext cx="969146" cy="629751"/>
              </a:xfrm>
              <a:custGeom>
                <a:avLst/>
                <a:gdLst>
                  <a:gd name="connsiteX0" fmla="*/ 954551 w 969146"/>
                  <a:gd name="connsiteY0" fmla="*/ 628919 h 629751"/>
                  <a:gd name="connsiteX1" fmla="*/ 969146 w 969146"/>
                  <a:gd name="connsiteY1" fmla="*/ 628919 h 629751"/>
                  <a:gd name="connsiteX2" fmla="*/ 964761 w 969146"/>
                  <a:gd name="connsiteY2" fmla="*/ 629751 h 629751"/>
                  <a:gd name="connsiteX3" fmla="*/ 635986 w 969146"/>
                  <a:gd name="connsiteY3" fmla="*/ 0 h 629751"/>
                  <a:gd name="connsiteX4" fmla="*/ 753445 w 969146"/>
                  <a:gd name="connsiteY4" fmla="*/ 21295 h 629751"/>
                  <a:gd name="connsiteX5" fmla="*/ 791135 w 969146"/>
                  <a:gd name="connsiteY5" fmla="*/ 39666 h 629751"/>
                  <a:gd name="connsiteX6" fmla="*/ 769766 w 969146"/>
                  <a:gd name="connsiteY6" fmla="*/ 49245 h 629751"/>
                  <a:gd name="connsiteX7" fmla="*/ 661124 w 969146"/>
                  <a:gd name="connsiteY7" fmla="*/ 175406 h 629751"/>
                  <a:gd name="connsiteX8" fmla="*/ 583817 w 969146"/>
                  <a:gd name="connsiteY8" fmla="*/ 150444 h 629751"/>
                  <a:gd name="connsiteX9" fmla="*/ 456266 w 969146"/>
                  <a:gd name="connsiteY9" fmla="*/ 265091 h 629751"/>
                  <a:gd name="connsiteX10" fmla="*/ 307221 w 969146"/>
                  <a:gd name="connsiteY10" fmla="*/ 444084 h 629751"/>
                  <a:gd name="connsiteX11" fmla="*/ 460453 w 969146"/>
                  <a:gd name="connsiteY11" fmla="*/ 623514 h 629751"/>
                  <a:gd name="connsiteX12" fmla="*/ 473361 w 969146"/>
                  <a:gd name="connsiteY12" fmla="*/ 628919 h 629751"/>
                  <a:gd name="connsiteX13" fmla="*/ 166140 w 969146"/>
                  <a:gd name="connsiteY13" fmla="*/ 628919 h 629751"/>
                  <a:gd name="connsiteX14" fmla="*/ 153232 w 969146"/>
                  <a:gd name="connsiteY14" fmla="*/ 623514 h 629751"/>
                  <a:gd name="connsiteX15" fmla="*/ 0 w 969146"/>
                  <a:gd name="connsiteY15" fmla="*/ 444084 h 629751"/>
                  <a:gd name="connsiteX16" fmla="*/ 149045 w 969146"/>
                  <a:gd name="connsiteY16" fmla="*/ 265091 h 629751"/>
                  <a:gd name="connsiteX17" fmla="*/ 276596 w 969146"/>
                  <a:gd name="connsiteY17" fmla="*/ 150444 h 629751"/>
                  <a:gd name="connsiteX18" fmla="*/ 353903 w 969146"/>
                  <a:gd name="connsiteY18" fmla="*/ 175406 h 629751"/>
                  <a:gd name="connsiteX19" fmla="*/ 635986 w 969146"/>
                  <a:gd name="connsiteY19" fmla="*/ 0 h 629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69146" h="629751">
                    <a:moveTo>
                      <a:pt x="954551" y="628919"/>
                    </a:moveTo>
                    <a:lnTo>
                      <a:pt x="969146" y="628919"/>
                    </a:lnTo>
                    <a:lnTo>
                      <a:pt x="964761" y="629751"/>
                    </a:lnTo>
                    <a:close/>
                    <a:moveTo>
                      <a:pt x="635986" y="0"/>
                    </a:moveTo>
                    <a:cubicBezTo>
                      <a:pt x="677650" y="0"/>
                      <a:pt x="717343" y="7583"/>
                      <a:pt x="753445" y="21295"/>
                    </a:cubicBezTo>
                    <a:lnTo>
                      <a:pt x="791135" y="39666"/>
                    </a:lnTo>
                    <a:lnTo>
                      <a:pt x="769766" y="49245"/>
                    </a:lnTo>
                    <a:cubicBezTo>
                      <a:pt x="720731" y="80277"/>
                      <a:pt x="682496" y="124129"/>
                      <a:pt x="661124" y="175406"/>
                    </a:cubicBezTo>
                    <a:cubicBezTo>
                      <a:pt x="639881" y="159607"/>
                      <a:pt x="612987" y="150444"/>
                      <a:pt x="583817" y="150444"/>
                    </a:cubicBezTo>
                    <a:cubicBezTo>
                      <a:pt x="515132" y="150444"/>
                      <a:pt x="459065" y="201244"/>
                      <a:pt x="456266" y="265091"/>
                    </a:cubicBezTo>
                    <a:cubicBezTo>
                      <a:pt x="371815" y="277761"/>
                      <a:pt x="307221" y="353120"/>
                      <a:pt x="307221" y="444084"/>
                    </a:cubicBezTo>
                    <a:cubicBezTo>
                      <a:pt x="307221" y="536545"/>
                      <a:pt x="373958" y="612884"/>
                      <a:pt x="460453" y="623514"/>
                    </a:cubicBezTo>
                    <a:cubicBezTo>
                      <a:pt x="463605" y="626867"/>
                      <a:pt x="468228" y="628919"/>
                      <a:pt x="473361" y="628919"/>
                    </a:cubicBezTo>
                    <a:lnTo>
                      <a:pt x="166140" y="628919"/>
                    </a:lnTo>
                    <a:cubicBezTo>
                      <a:pt x="161007" y="628919"/>
                      <a:pt x="156384" y="626867"/>
                      <a:pt x="153232" y="623514"/>
                    </a:cubicBezTo>
                    <a:cubicBezTo>
                      <a:pt x="66737" y="612884"/>
                      <a:pt x="0" y="536545"/>
                      <a:pt x="0" y="444084"/>
                    </a:cubicBezTo>
                    <a:cubicBezTo>
                      <a:pt x="0" y="353120"/>
                      <a:pt x="64594" y="277761"/>
                      <a:pt x="149045" y="265091"/>
                    </a:cubicBezTo>
                    <a:cubicBezTo>
                      <a:pt x="151844" y="201244"/>
                      <a:pt x="207911" y="150444"/>
                      <a:pt x="276596" y="150444"/>
                    </a:cubicBezTo>
                    <a:cubicBezTo>
                      <a:pt x="305766" y="150444"/>
                      <a:pt x="332660" y="159607"/>
                      <a:pt x="353903" y="175406"/>
                    </a:cubicBezTo>
                    <a:cubicBezTo>
                      <a:pt x="396647" y="72851"/>
                      <a:pt x="506842" y="0"/>
                      <a:pt x="635986" y="0"/>
                    </a:cubicBezTo>
                    <a:close/>
                  </a:path>
                </a:pathLst>
              </a:custGeom>
              <a:solidFill>
                <a:srgbClr val="7AC3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6795" tIns="48398" rIns="48398" bIns="96795" numCol="1" spcCol="0" rtlCol="0" fromWordArt="0" anchor="b" anchorCtr="0" forceAA="0" compatLnSpc="1">
                <a:prstTxWarp prst="textNoShape">
                  <a:avLst/>
                </a:prstTxWarp>
                <a:noAutofit/>
              </a:bodyPr>
              <a:lstStyle/>
              <a:p>
                <a:pPr marL="0" marR="0" lvl="0" indent="0" algn="ctr" defTabSz="967631" rtl="0" eaLnBrk="1" fontAlgn="auto" latinLnBrk="0" hangingPunct="1">
                  <a:lnSpc>
                    <a:spcPct val="100000"/>
                  </a:lnSpc>
                  <a:spcBef>
                    <a:spcPts val="0"/>
                  </a:spcBef>
                  <a:spcAft>
                    <a:spcPts val="0"/>
                  </a:spcAft>
                  <a:buClrTx/>
                  <a:buSzTx/>
                  <a:buFontTx/>
                  <a:buNone/>
                  <a:tabLst/>
                  <a:defRPr/>
                </a:pPr>
                <a:endParaRPr kumimoji="0" lang="en-US" sz="1693" b="0" i="0" u="none" strike="noStrike" kern="0" cap="none" spc="-53" normalizeH="0" baseline="0" noProof="0" dirty="0" err="1">
                  <a:ln>
                    <a:noFill/>
                  </a:ln>
                  <a:solidFill>
                    <a:srgbClr val="B4009E"/>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cxnSp>
          <p:nvCxnSpPr>
            <p:cNvPr id="167" name="Connector: Elbow 166">
              <a:extLst/>
            </p:cNvPr>
            <p:cNvCxnSpPr>
              <a:stCxn id="113" idx="14"/>
            </p:cNvCxnSpPr>
            <p:nvPr/>
          </p:nvCxnSpPr>
          <p:spPr>
            <a:xfrm flipH="1">
              <a:off x="2690806" y="2503035"/>
              <a:ext cx="223285" cy="854584"/>
            </a:xfrm>
            <a:prstGeom prst="bentConnector4">
              <a:avLst>
                <a:gd name="adj1" fmla="val -134684"/>
                <a:gd name="adj2" fmla="val 52673"/>
              </a:avLst>
            </a:prstGeom>
            <a:ln w="12700">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8" name="Connector: Elbow 167">
              <a:extLst/>
            </p:cNvPr>
            <p:cNvCxnSpPr>
              <a:stCxn id="122" idx="2"/>
            </p:cNvCxnSpPr>
            <p:nvPr/>
          </p:nvCxnSpPr>
          <p:spPr>
            <a:xfrm rot="5400000">
              <a:off x="1937890" y="2973576"/>
              <a:ext cx="427296" cy="69341"/>
            </a:xfrm>
            <a:prstGeom prst="bentConnector3">
              <a:avLst>
                <a:gd name="adj1" fmla="val 50000"/>
              </a:avLst>
            </a:prstGeom>
            <a:ln>
              <a:solidFill>
                <a:srgbClr val="B2D123"/>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69" name="Connector: Elbow 168">
              <a:extLst/>
            </p:cNvPr>
            <p:cNvCxnSpPr/>
            <p:nvPr/>
          </p:nvCxnSpPr>
          <p:spPr>
            <a:xfrm rot="16200000" flipV="1">
              <a:off x="1070023" y="4086129"/>
              <a:ext cx="970372" cy="15777"/>
            </a:xfrm>
            <a:prstGeom prst="bentConnector3">
              <a:avLst>
                <a:gd name="adj1" fmla="val 50000"/>
              </a:avLst>
            </a:prstGeom>
            <a:ln w="12700">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0" name="Connector: Elbow 169">
              <a:extLst/>
            </p:cNvPr>
            <p:cNvCxnSpPr/>
            <p:nvPr/>
          </p:nvCxnSpPr>
          <p:spPr>
            <a:xfrm rot="5400000" flipH="1" flipV="1">
              <a:off x="1050163" y="3567032"/>
              <a:ext cx="434652" cy="64774"/>
            </a:xfrm>
            <a:prstGeom prst="bentConnector3">
              <a:avLst>
                <a:gd name="adj1" fmla="val 50000"/>
              </a:avLst>
            </a:prstGeom>
            <a:ln w="12700">
              <a:solidFill>
                <a:schemeClr val="tx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1" name="Connector: Elbow 170">
              <a:extLst/>
            </p:cNvPr>
            <p:cNvCxnSpPr/>
            <p:nvPr/>
          </p:nvCxnSpPr>
          <p:spPr>
            <a:xfrm rot="16200000" flipV="1">
              <a:off x="2107803" y="4003536"/>
              <a:ext cx="1186651" cy="80016"/>
            </a:xfrm>
            <a:prstGeom prst="bentConnector3">
              <a:avLst>
                <a:gd name="adj1" fmla="val 50000"/>
              </a:avLst>
            </a:prstGeom>
            <a:ln w="12700">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3" name="Connector: Elbow 172">
              <a:extLst/>
            </p:cNvPr>
            <p:cNvCxnSpPr>
              <a:stCxn id="157" idx="0"/>
            </p:cNvCxnSpPr>
            <p:nvPr/>
          </p:nvCxnSpPr>
          <p:spPr>
            <a:xfrm rot="5400000" flipH="1" flipV="1">
              <a:off x="1978565" y="3638488"/>
              <a:ext cx="431562" cy="55028"/>
            </a:xfrm>
            <a:prstGeom prst="bentConnector3">
              <a:avLst>
                <a:gd name="adj1" fmla="val 50000"/>
              </a:avLst>
            </a:prstGeom>
            <a:ln w="12700">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0" name="Connector: Elbow 179">
              <a:extLst/>
            </p:cNvPr>
            <p:cNvCxnSpPr>
              <a:cxnSpLocks/>
              <a:stCxn id="174" idx="1"/>
            </p:cNvCxnSpPr>
            <p:nvPr/>
          </p:nvCxnSpPr>
          <p:spPr>
            <a:xfrm rot="10800000">
              <a:off x="418371" y="2617958"/>
              <a:ext cx="625656" cy="748309"/>
            </a:xfrm>
            <a:prstGeom prst="bentConnector2">
              <a:avLst/>
            </a:prstGeom>
            <a:ln w="12700">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81" name="Group 180">
              <a:extLst/>
            </p:cNvPr>
            <p:cNvGrpSpPr/>
            <p:nvPr/>
          </p:nvGrpSpPr>
          <p:grpSpPr>
            <a:xfrm>
              <a:off x="302402" y="3692149"/>
              <a:ext cx="574713" cy="314735"/>
              <a:chOff x="4445521" y="4254303"/>
              <a:chExt cx="1149940" cy="629751"/>
            </a:xfrm>
          </p:grpSpPr>
          <p:sp>
            <p:nvSpPr>
              <p:cNvPr id="182" name="Oval 209">
                <a:extLst/>
              </p:cNvPr>
              <p:cNvSpPr/>
              <p:nvPr/>
            </p:nvSpPr>
            <p:spPr bwMode="auto">
              <a:xfrm>
                <a:off x="4454970" y="4254303"/>
                <a:ext cx="1140491" cy="629751"/>
              </a:xfrm>
              <a:custGeom>
                <a:avLst/>
                <a:gdLst/>
                <a:ahLst/>
                <a:cxnLst/>
                <a:rect l="l" t="t" r="r" b="b"/>
                <a:pathLst>
                  <a:path w="3499493" h="2054868">
                    <a:moveTo>
                      <a:pt x="1951464" y="0"/>
                    </a:moveTo>
                    <a:cubicBezTo>
                      <a:pt x="2462838" y="0"/>
                      <a:pt x="2877388" y="395874"/>
                      <a:pt x="2877388" y="884210"/>
                    </a:cubicBezTo>
                    <a:cubicBezTo>
                      <a:pt x="2877388" y="918469"/>
                      <a:pt x="2875348" y="952273"/>
                      <a:pt x="2870875" y="985457"/>
                    </a:cubicBezTo>
                    <a:cubicBezTo>
                      <a:pt x="2899773" y="978985"/>
                      <a:pt x="2929730" y="976444"/>
                      <a:pt x="2960281" y="976444"/>
                    </a:cubicBezTo>
                    <a:cubicBezTo>
                      <a:pt x="3258080" y="976444"/>
                      <a:pt x="3499493" y="1217857"/>
                      <a:pt x="3499493" y="1515656"/>
                    </a:cubicBezTo>
                    <a:cubicBezTo>
                      <a:pt x="3499493" y="1813455"/>
                      <a:pt x="3258080" y="2054868"/>
                      <a:pt x="2960281" y="2054868"/>
                    </a:cubicBezTo>
                    <a:lnTo>
                      <a:pt x="2928952" y="2052151"/>
                    </a:lnTo>
                    <a:lnTo>
                      <a:pt x="509786" y="2052151"/>
                    </a:lnTo>
                    <a:cubicBezTo>
                      <a:pt x="494036" y="2052151"/>
                      <a:pt x="479849" y="2045457"/>
                      <a:pt x="470177" y="2034517"/>
                    </a:cubicBezTo>
                    <a:cubicBezTo>
                      <a:pt x="204777" y="1999829"/>
                      <a:pt x="0" y="1750739"/>
                      <a:pt x="0" y="1449039"/>
                    </a:cubicBezTo>
                    <a:cubicBezTo>
                      <a:pt x="0" y="1152224"/>
                      <a:pt x="198199" y="906330"/>
                      <a:pt x="457331" y="864986"/>
                    </a:cubicBezTo>
                    <a:cubicBezTo>
                      <a:pt x="465918" y="656655"/>
                      <a:pt x="637955" y="490895"/>
                      <a:pt x="848708" y="490895"/>
                    </a:cubicBezTo>
                    <a:cubicBezTo>
                      <a:pt x="938214" y="490895"/>
                      <a:pt x="1020736" y="520793"/>
                      <a:pt x="1085920" y="572346"/>
                    </a:cubicBezTo>
                    <a:cubicBezTo>
                      <a:pt x="1217075" y="237711"/>
                      <a:pt x="1555199" y="0"/>
                      <a:pt x="1951464" y="0"/>
                    </a:cubicBezTo>
                    <a:close/>
                  </a:path>
                </a:pathLst>
              </a:custGeom>
              <a:solidFill>
                <a:srgbClr val="61AD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6795" tIns="48398" rIns="48398" bIns="96795" numCol="1" spcCol="0" rtlCol="0" fromWordArt="0" anchor="b" anchorCtr="0" forceAA="0" compatLnSpc="1">
                <a:prstTxWarp prst="textNoShape">
                  <a:avLst/>
                </a:prstTxWarp>
                <a:noAutofit/>
              </a:bodyPr>
              <a:lstStyle/>
              <a:p>
                <a:pPr marL="0" marR="0" lvl="0" indent="0" algn="ctr" defTabSz="967631" rtl="0" eaLnBrk="1" fontAlgn="auto" latinLnBrk="0" hangingPunct="1">
                  <a:lnSpc>
                    <a:spcPct val="100000"/>
                  </a:lnSpc>
                  <a:spcBef>
                    <a:spcPts val="0"/>
                  </a:spcBef>
                  <a:spcAft>
                    <a:spcPts val="0"/>
                  </a:spcAft>
                  <a:buClrTx/>
                  <a:buSzTx/>
                  <a:buFontTx/>
                  <a:buNone/>
                  <a:tabLst/>
                  <a:defRPr/>
                </a:pPr>
                <a:endParaRPr kumimoji="0" lang="en-US" sz="1693" b="0" i="0" u="none" strike="noStrike" kern="0" cap="none" spc="-53" normalizeH="0" baseline="0" noProof="0" dirty="0" err="1">
                  <a:ln>
                    <a:noFill/>
                  </a:ln>
                  <a:solidFill>
                    <a:srgbClr val="B4009E"/>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3" name="Freeform 272">
                <a:extLst/>
              </p:cNvPr>
              <p:cNvSpPr/>
              <p:nvPr/>
            </p:nvSpPr>
            <p:spPr bwMode="auto">
              <a:xfrm>
                <a:off x="4445521" y="4254303"/>
                <a:ext cx="969146" cy="629751"/>
              </a:xfrm>
              <a:custGeom>
                <a:avLst/>
                <a:gdLst>
                  <a:gd name="connsiteX0" fmla="*/ 954551 w 969146"/>
                  <a:gd name="connsiteY0" fmla="*/ 628919 h 629751"/>
                  <a:gd name="connsiteX1" fmla="*/ 969146 w 969146"/>
                  <a:gd name="connsiteY1" fmla="*/ 628919 h 629751"/>
                  <a:gd name="connsiteX2" fmla="*/ 964761 w 969146"/>
                  <a:gd name="connsiteY2" fmla="*/ 629751 h 629751"/>
                  <a:gd name="connsiteX3" fmla="*/ 635986 w 969146"/>
                  <a:gd name="connsiteY3" fmla="*/ 0 h 629751"/>
                  <a:gd name="connsiteX4" fmla="*/ 753445 w 969146"/>
                  <a:gd name="connsiteY4" fmla="*/ 21295 h 629751"/>
                  <a:gd name="connsiteX5" fmla="*/ 791135 w 969146"/>
                  <a:gd name="connsiteY5" fmla="*/ 39666 h 629751"/>
                  <a:gd name="connsiteX6" fmla="*/ 769766 w 969146"/>
                  <a:gd name="connsiteY6" fmla="*/ 49245 h 629751"/>
                  <a:gd name="connsiteX7" fmla="*/ 661124 w 969146"/>
                  <a:gd name="connsiteY7" fmla="*/ 175406 h 629751"/>
                  <a:gd name="connsiteX8" fmla="*/ 583817 w 969146"/>
                  <a:gd name="connsiteY8" fmla="*/ 150444 h 629751"/>
                  <a:gd name="connsiteX9" fmla="*/ 456266 w 969146"/>
                  <a:gd name="connsiteY9" fmla="*/ 265091 h 629751"/>
                  <a:gd name="connsiteX10" fmla="*/ 307221 w 969146"/>
                  <a:gd name="connsiteY10" fmla="*/ 444084 h 629751"/>
                  <a:gd name="connsiteX11" fmla="*/ 460453 w 969146"/>
                  <a:gd name="connsiteY11" fmla="*/ 623514 h 629751"/>
                  <a:gd name="connsiteX12" fmla="*/ 473361 w 969146"/>
                  <a:gd name="connsiteY12" fmla="*/ 628919 h 629751"/>
                  <a:gd name="connsiteX13" fmla="*/ 166140 w 969146"/>
                  <a:gd name="connsiteY13" fmla="*/ 628919 h 629751"/>
                  <a:gd name="connsiteX14" fmla="*/ 153232 w 969146"/>
                  <a:gd name="connsiteY14" fmla="*/ 623514 h 629751"/>
                  <a:gd name="connsiteX15" fmla="*/ 0 w 969146"/>
                  <a:gd name="connsiteY15" fmla="*/ 444084 h 629751"/>
                  <a:gd name="connsiteX16" fmla="*/ 149045 w 969146"/>
                  <a:gd name="connsiteY16" fmla="*/ 265091 h 629751"/>
                  <a:gd name="connsiteX17" fmla="*/ 276596 w 969146"/>
                  <a:gd name="connsiteY17" fmla="*/ 150444 h 629751"/>
                  <a:gd name="connsiteX18" fmla="*/ 353903 w 969146"/>
                  <a:gd name="connsiteY18" fmla="*/ 175406 h 629751"/>
                  <a:gd name="connsiteX19" fmla="*/ 635986 w 969146"/>
                  <a:gd name="connsiteY19" fmla="*/ 0 h 629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69146" h="629751">
                    <a:moveTo>
                      <a:pt x="954551" y="628919"/>
                    </a:moveTo>
                    <a:lnTo>
                      <a:pt x="969146" y="628919"/>
                    </a:lnTo>
                    <a:lnTo>
                      <a:pt x="964761" y="629751"/>
                    </a:lnTo>
                    <a:close/>
                    <a:moveTo>
                      <a:pt x="635986" y="0"/>
                    </a:moveTo>
                    <a:cubicBezTo>
                      <a:pt x="677650" y="0"/>
                      <a:pt x="717343" y="7583"/>
                      <a:pt x="753445" y="21295"/>
                    </a:cubicBezTo>
                    <a:lnTo>
                      <a:pt x="791135" y="39666"/>
                    </a:lnTo>
                    <a:lnTo>
                      <a:pt x="769766" y="49245"/>
                    </a:lnTo>
                    <a:cubicBezTo>
                      <a:pt x="720731" y="80277"/>
                      <a:pt x="682496" y="124129"/>
                      <a:pt x="661124" y="175406"/>
                    </a:cubicBezTo>
                    <a:cubicBezTo>
                      <a:pt x="639881" y="159607"/>
                      <a:pt x="612987" y="150444"/>
                      <a:pt x="583817" y="150444"/>
                    </a:cubicBezTo>
                    <a:cubicBezTo>
                      <a:pt x="515132" y="150444"/>
                      <a:pt x="459065" y="201244"/>
                      <a:pt x="456266" y="265091"/>
                    </a:cubicBezTo>
                    <a:cubicBezTo>
                      <a:pt x="371815" y="277761"/>
                      <a:pt x="307221" y="353120"/>
                      <a:pt x="307221" y="444084"/>
                    </a:cubicBezTo>
                    <a:cubicBezTo>
                      <a:pt x="307221" y="536545"/>
                      <a:pt x="373958" y="612884"/>
                      <a:pt x="460453" y="623514"/>
                    </a:cubicBezTo>
                    <a:cubicBezTo>
                      <a:pt x="463605" y="626867"/>
                      <a:pt x="468228" y="628919"/>
                      <a:pt x="473361" y="628919"/>
                    </a:cubicBezTo>
                    <a:lnTo>
                      <a:pt x="166140" y="628919"/>
                    </a:lnTo>
                    <a:cubicBezTo>
                      <a:pt x="161007" y="628919"/>
                      <a:pt x="156384" y="626867"/>
                      <a:pt x="153232" y="623514"/>
                    </a:cubicBezTo>
                    <a:cubicBezTo>
                      <a:pt x="66737" y="612884"/>
                      <a:pt x="0" y="536545"/>
                      <a:pt x="0" y="444084"/>
                    </a:cubicBezTo>
                    <a:cubicBezTo>
                      <a:pt x="0" y="353120"/>
                      <a:pt x="64594" y="277761"/>
                      <a:pt x="149045" y="265091"/>
                    </a:cubicBezTo>
                    <a:cubicBezTo>
                      <a:pt x="151844" y="201244"/>
                      <a:pt x="207911" y="150444"/>
                      <a:pt x="276596" y="150444"/>
                    </a:cubicBezTo>
                    <a:cubicBezTo>
                      <a:pt x="305766" y="150444"/>
                      <a:pt x="332660" y="159607"/>
                      <a:pt x="353903" y="175406"/>
                    </a:cubicBezTo>
                    <a:cubicBezTo>
                      <a:pt x="396647" y="72851"/>
                      <a:pt x="506842" y="0"/>
                      <a:pt x="635986" y="0"/>
                    </a:cubicBezTo>
                    <a:close/>
                  </a:path>
                </a:pathLst>
              </a:custGeom>
              <a:solidFill>
                <a:srgbClr val="7AC3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6795" tIns="48398" rIns="48398" bIns="96795" numCol="1" spcCol="0" rtlCol="0" fromWordArt="0" anchor="b" anchorCtr="0" forceAA="0" compatLnSpc="1">
                <a:prstTxWarp prst="textNoShape">
                  <a:avLst/>
                </a:prstTxWarp>
                <a:noAutofit/>
              </a:bodyPr>
              <a:lstStyle/>
              <a:p>
                <a:pPr marL="0" marR="0" lvl="0" indent="0" algn="ctr" defTabSz="967631" rtl="0" eaLnBrk="1" fontAlgn="auto" latinLnBrk="0" hangingPunct="1">
                  <a:lnSpc>
                    <a:spcPct val="100000"/>
                  </a:lnSpc>
                  <a:spcBef>
                    <a:spcPts val="0"/>
                  </a:spcBef>
                  <a:spcAft>
                    <a:spcPts val="0"/>
                  </a:spcAft>
                  <a:buClrTx/>
                  <a:buSzTx/>
                  <a:buFontTx/>
                  <a:buNone/>
                  <a:tabLst/>
                  <a:defRPr/>
                </a:pPr>
                <a:endParaRPr kumimoji="0" lang="en-US" sz="1693" b="0" i="0" u="none" strike="noStrike" kern="0" cap="none" spc="-53" normalizeH="0" baseline="0" noProof="0" dirty="0" err="1">
                  <a:ln>
                    <a:noFill/>
                  </a:ln>
                  <a:solidFill>
                    <a:srgbClr val="B4009E"/>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74" name="TextBox 173">
              <a:extLst/>
            </p:cNvPr>
            <p:cNvSpPr txBox="1"/>
            <p:nvPr/>
          </p:nvSpPr>
          <p:spPr>
            <a:xfrm>
              <a:off x="1044025" y="3223133"/>
              <a:ext cx="1953852" cy="286267"/>
            </a:xfrm>
            <a:prstGeom prst="rect">
              <a:avLst/>
            </a:prstGeom>
            <a:solidFill>
              <a:schemeClr val="bg1">
                <a:lumMod val="85000"/>
              </a:schemeClr>
            </a:solidFill>
          </p:spPr>
          <p:txBody>
            <a:bodyPr wrap="square" lIns="0" tIns="0" rIns="0" bIns="0" rtlCol="0" anchor="ctr">
              <a:spAutoFit/>
            </a:bodyPr>
            <a:lstStyle/>
            <a:p>
              <a:pPr marL="0" marR="0" lvl="0" indent="0" algn="ctr" defTabSz="932597" rtl="0" eaLnBrk="1" fontAlgn="auto" latinLnBrk="0" hangingPunct="1">
                <a:lnSpc>
                  <a:spcPct val="90000"/>
                </a:lnSpc>
                <a:spcBef>
                  <a:spcPts val="0"/>
                </a:spcBef>
                <a:spcAft>
                  <a:spcPts val="612"/>
                </a:spcAft>
                <a:buClrTx/>
                <a:buSzTx/>
                <a:buFontTx/>
                <a:buNone/>
                <a:tabLst/>
                <a:defRPr/>
              </a:pPr>
              <a:r>
                <a:rPr kumimoji="0" lang="en-US" sz="2800" b="0" i="0" u="none" strike="noStrike" kern="0" cap="none" spc="0" normalizeH="0" baseline="0" noProof="0" dirty="0">
                  <a:ln>
                    <a:noFill/>
                  </a:ln>
                  <a:gradFill>
                    <a:gsLst>
                      <a:gs pos="2917">
                        <a:prstClr val="black"/>
                      </a:gs>
                      <a:gs pos="30000">
                        <a:prstClr val="black"/>
                      </a:gs>
                    </a:gsLst>
                    <a:lin ang="5400000" scaled="0"/>
                  </a:gradFill>
                  <a:effectLst/>
                  <a:uLnTx/>
                  <a:uFillTx/>
                  <a:latin typeface="Segoe UI Light"/>
                  <a:ea typeface="+mn-ea"/>
                  <a:cs typeface="Segoe UI" panose="020B0502040204020203" pitchFamily="34" charset="0"/>
                </a:rPr>
                <a:t>Data sources</a:t>
              </a:r>
            </a:p>
          </p:txBody>
        </p:sp>
        <p:grpSp>
          <p:nvGrpSpPr>
            <p:cNvPr id="64" name="Group 63">
              <a:extLst/>
            </p:cNvPr>
            <p:cNvGrpSpPr/>
            <p:nvPr/>
          </p:nvGrpSpPr>
          <p:grpSpPr>
            <a:xfrm>
              <a:off x="2475562" y="4536653"/>
              <a:ext cx="343883" cy="479432"/>
              <a:chOff x="2708938" y="5768818"/>
              <a:chExt cx="347494" cy="484466"/>
            </a:xfrm>
          </p:grpSpPr>
          <p:grpSp>
            <p:nvGrpSpPr>
              <p:cNvPr id="65" name="Group 64">
                <a:extLst/>
              </p:cNvPr>
              <p:cNvGrpSpPr/>
              <p:nvPr/>
            </p:nvGrpSpPr>
            <p:grpSpPr>
              <a:xfrm>
                <a:off x="2708938" y="5768818"/>
                <a:ext cx="347494" cy="484466"/>
                <a:chOff x="6117910" y="5312532"/>
                <a:chExt cx="212972" cy="282005"/>
              </a:xfrm>
            </p:grpSpPr>
            <p:sp>
              <p:nvSpPr>
                <p:cNvPr id="69" name="Freeform 6">
                  <a:extLst/>
                </p:cNvPr>
                <p:cNvSpPr>
                  <a:spLocks/>
                </p:cNvSpPr>
                <p:nvPr/>
              </p:nvSpPr>
              <p:spPr bwMode="auto">
                <a:xfrm>
                  <a:off x="6117910" y="5350720"/>
                  <a:ext cx="212971" cy="243817"/>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rgbClr val="3998C5"/>
                </a:solidFill>
                <a:ln w="0">
                  <a:solidFill>
                    <a:srgbClr val="3999C6"/>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4080" b="0"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70" name="Freeform 7">
                  <a:extLst/>
                </p:cNvPr>
                <p:cNvSpPr>
                  <a:spLocks/>
                </p:cNvSpPr>
                <p:nvPr/>
              </p:nvSpPr>
              <p:spPr bwMode="auto">
                <a:xfrm>
                  <a:off x="6222928" y="5350720"/>
                  <a:ext cx="107954" cy="243817"/>
                </a:xfrm>
                <a:custGeom>
                  <a:avLst/>
                  <a:gdLst>
                    <a:gd name="T0" fmla="*/ 0 w 1321"/>
                    <a:gd name="T1" fmla="*/ 0 h 2984"/>
                    <a:gd name="T2" fmla="*/ 1321 w 1321"/>
                    <a:gd name="T3" fmla="*/ 0 h 2984"/>
                    <a:gd name="T4" fmla="*/ 1321 w 1321"/>
                    <a:gd name="T5" fmla="*/ 2512 h 2984"/>
                    <a:gd name="T6" fmla="*/ 1318 w 1321"/>
                    <a:gd name="T7" fmla="*/ 2547 h 2984"/>
                    <a:gd name="T8" fmla="*/ 1308 w 1321"/>
                    <a:gd name="T9" fmla="*/ 2582 h 2984"/>
                    <a:gd name="T10" fmla="*/ 1290 w 1321"/>
                    <a:gd name="T11" fmla="*/ 2615 h 2984"/>
                    <a:gd name="T12" fmla="*/ 1266 w 1321"/>
                    <a:gd name="T13" fmla="*/ 2648 h 2984"/>
                    <a:gd name="T14" fmla="*/ 1236 w 1321"/>
                    <a:gd name="T15" fmla="*/ 2680 h 2984"/>
                    <a:gd name="T16" fmla="*/ 1200 w 1321"/>
                    <a:gd name="T17" fmla="*/ 2711 h 2984"/>
                    <a:gd name="T18" fmla="*/ 1159 w 1321"/>
                    <a:gd name="T19" fmla="*/ 2740 h 2984"/>
                    <a:gd name="T20" fmla="*/ 1112 w 1321"/>
                    <a:gd name="T21" fmla="*/ 2769 h 2984"/>
                    <a:gd name="T22" fmla="*/ 1058 w 1321"/>
                    <a:gd name="T23" fmla="*/ 2795 h 2984"/>
                    <a:gd name="T24" fmla="*/ 1002 w 1321"/>
                    <a:gd name="T25" fmla="*/ 2822 h 2984"/>
                    <a:gd name="T26" fmla="*/ 939 w 1321"/>
                    <a:gd name="T27" fmla="*/ 2846 h 2984"/>
                    <a:gd name="T28" fmla="*/ 873 w 1321"/>
                    <a:gd name="T29" fmla="*/ 2868 h 2984"/>
                    <a:gd name="T30" fmla="*/ 802 w 1321"/>
                    <a:gd name="T31" fmla="*/ 2889 h 2984"/>
                    <a:gd name="T32" fmla="*/ 727 w 1321"/>
                    <a:gd name="T33" fmla="*/ 2908 h 2984"/>
                    <a:gd name="T34" fmla="*/ 649 w 1321"/>
                    <a:gd name="T35" fmla="*/ 2925 h 2984"/>
                    <a:gd name="T36" fmla="*/ 567 w 1321"/>
                    <a:gd name="T37" fmla="*/ 2940 h 2984"/>
                    <a:gd name="T38" fmla="*/ 482 w 1321"/>
                    <a:gd name="T39" fmla="*/ 2953 h 2984"/>
                    <a:gd name="T40" fmla="*/ 394 w 1321"/>
                    <a:gd name="T41" fmla="*/ 2964 h 2984"/>
                    <a:gd name="T42" fmla="*/ 303 w 1321"/>
                    <a:gd name="T43" fmla="*/ 2972 h 2984"/>
                    <a:gd name="T44" fmla="*/ 210 w 1321"/>
                    <a:gd name="T45" fmla="*/ 2979 h 2984"/>
                    <a:gd name="T46" fmla="*/ 115 w 1321"/>
                    <a:gd name="T47" fmla="*/ 2983 h 2984"/>
                    <a:gd name="T48" fmla="*/ 17 w 1321"/>
                    <a:gd name="T49" fmla="*/ 2984 h 2984"/>
                    <a:gd name="T50" fmla="*/ 0 w 1321"/>
                    <a:gd name="T51" fmla="*/ 2984 h 2984"/>
                    <a:gd name="T52" fmla="*/ 0 w 1321"/>
                    <a:gd name="T5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21" h="2984">
                      <a:moveTo>
                        <a:pt x="0" y="0"/>
                      </a:moveTo>
                      <a:lnTo>
                        <a:pt x="1321" y="0"/>
                      </a:lnTo>
                      <a:lnTo>
                        <a:pt x="1321" y="2512"/>
                      </a:lnTo>
                      <a:lnTo>
                        <a:pt x="1318" y="2547"/>
                      </a:lnTo>
                      <a:lnTo>
                        <a:pt x="1308" y="2582"/>
                      </a:lnTo>
                      <a:lnTo>
                        <a:pt x="1290" y="2615"/>
                      </a:lnTo>
                      <a:lnTo>
                        <a:pt x="1266" y="2648"/>
                      </a:lnTo>
                      <a:lnTo>
                        <a:pt x="1236" y="2680"/>
                      </a:lnTo>
                      <a:lnTo>
                        <a:pt x="1200" y="2711"/>
                      </a:lnTo>
                      <a:lnTo>
                        <a:pt x="1159" y="2740"/>
                      </a:lnTo>
                      <a:lnTo>
                        <a:pt x="1112" y="2769"/>
                      </a:lnTo>
                      <a:lnTo>
                        <a:pt x="1058" y="2795"/>
                      </a:lnTo>
                      <a:lnTo>
                        <a:pt x="1002" y="2822"/>
                      </a:lnTo>
                      <a:lnTo>
                        <a:pt x="939" y="2846"/>
                      </a:lnTo>
                      <a:lnTo>
                        <a:pt x="873" y="2868"/>
                      </a:lnTo>
                      <a:lnTo>
                        <a:pt x="802" y="2889"/>
                      </a:lnTo>
                      <a:lnTo>
                        <a:pt x="727" y="2908"/>
                      </a:lnTo>
                      <a:lnTo>
                        <a:pt x="649" y="2925"/>
                      </a:lnTo>
                      <a:lnTo>
                        <a:pt x="567" y="2940"/>
                      </a:lnTo>
                      <a:lnTo>
                        <a:pt x="482" y="2953"/>
                      </a:lnTo>
                      <a:lnTo>
                        <a:pt x="394" y="2964"/>
                      </a:lnTo>
                      <a:lnTo>
                        <a:pt x="303" y="2972"/>
                      </a:lnTo>
                      <a:lnTo>
                        <a:pt x="210" y="2979"/>
                      </a:lnTo>
                      <a:lnTo>
                        <a:pt x="115" y="2983"/>
                      </a:lnTo>
                      <a:lnTo>
                        <a:pt x="17" y="2984"/>
                      </a:lnTo>
                      <a:lnTo>
                        <a:pt x="0" y="2984"/>
                      </a:lnTo>
                      <a:lnTo>
                        <a:pt x="0" y="0"/>
                      </a:lnTo>
                      <a:close/>
                    </a:path>
                  </a:pathLst>
                </a:custGeom>
                <a:solidFill>
                  <a:srgbClr val="5FBEE5"/>
                </a:solidFill>
                <a:ln w="0">
                  <a:solidFill>
                    <a:srgbClr val="3999C6"/>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4080" b="0"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71" name="Freeform 8">
                  <a:extLst/>
                </p:cNvPr>
                <p:cNvSpPr>
                  <a:spLocks/>
                </p:cNvSpPr>
                <p:nvPr/>
              </p:nvSpPr>
              <p:spPr bwMode="auto">
                <a:xfrm>
                  <a:off x="6117911" y="5312532"/>
                  <a:ext cx="212971" cy="77111"/>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rgbClr val="FFFFFF"/>
                </a:solidFill>
                <a:ln w="0">
                  <a:solidFill>
                    <a:srgbClr val="FFFFFF"/>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4080" b="0"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72" name="Freeform 9">
                  <a:extLst/>
                </p:cNvPr>
                <p:cNvSpPr>
                  <a:spLocks/>
                </p:cNvSpPr>
                <p:nvPr/>
              </p:nvSpPr>
              <p:spPr bwMode="auto">
                <a:xfrm>
                  <a:off x="6139942" y="5323548"/>
                  <a:ext cx="168908" cy="50673"/>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8BBF0B"/>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4080" b="0"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73" name="Freeform 10">
                  <a:extLst/>
                </p:cNvPr>
                <p:cNvSpPr>
                  <a:spLocks/>
                </p:cNvSpPr>
                <p:nvPr/>
              </p:nvSpPr>
              <p:spPr bwMode="auto">
                <a:xfrm>
                  <a:off x="6139942" y="5323548"/>
                  <a:ext cx="168908" cy="41126"/>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B2D123"/>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4080" b="0"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sp>
            <p:nvSpPr>
              <p:cNvPr id="66" name="Double Brace 65">
                <a:extLst/>
              </p:cNvPr>
              <p:cNvSpPr/>
              <p:nvPr/>
            </p:nvSpPr>
            <p:spPr>
              <a:xfrm>
                <a:off x="2781616" y="5960605"/>
                <a:ext cx="205995" cy="233363"/>
              </a:xfrm>
              <a:prstGeom prst="bracePair">
                <a:avLst>
                  <a:gd name="adj" fmla="val 17581"/>
                </a:avLst>
              </a:prstGeom>
              <a:noFill/>
              <a:ln w="25400">
                <a:solidFill>
                  <a:schemeClr val="bg1"/>
                </a:solidFill>
                <a:beve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grpSp>
        <p:grpSp>
          <p:nvGrpSpPr>
            <p:cNvPr id="83" name="Group 82">
              <a:extLst/>
            </p:cNvPr>
            <p:cNvGrpSpPr/>
            <p:nvPr/>
          </p:nvGrpSpPr>
          <p:grpSpPr>
            <a:xfrm>
              <a:off x="1572091" y="1302726"/>
              <a:ext cx="802631" cy="692267"/>
              <a:chOff x="3181975" y="2639781"/>
              <a:chExt cx="756257" cy="652271"/>
            </a:xfrm>
          </p:grpSpPr>
          <p:grpSp>
            <p:nvGrpSpPr>
              <p:cNvPr id="84" name="Group 83">
                <a:extLst/>
              </p:cNvPr>
              <p:cNvGrpSpPr/>
              <p:nvPr/>
            </p:nvGrpSpPr>
            <p:grpSpPr>
              <a:xfrm>
                <a:off x="3181975" y="2639781"/>
                <a:ext cx="427935" cy="566646"/>
                <a:chOff x="5933635" y="4575515"/>
                <a:chExt cx="304757" cy="403541"/>
              </a:xfrm>
            </p:grpSpPr>
            <p:grpSp>
              <p:nvGrpSpPr>
                <p:cNvPr id="93" name="Group 92">
                  <a:extLst/>
                </p:cNvPr>
                <p:cNvGrpSpPr>
                  <a:grpSpLocks noChangeAspect="1"/>
                </p:cNvGrpSpPr>
                <p:nvPr/>
              </p:nvGrpSpPr>
              <p:grpSpPr>
                <a:xfrm>
                  <a:off x="5933635" y="4575515"/>
                  <a:ext cx="304757" cy="403541"/>
                  <a:chOff x="784223" y="4300538"/>
                  <a:chExt cx="460378" cy="609600"/>
                </a:xfrm>
              </p:grpSpPr>
              <p:sp>
                <p:nvSpPr>
                  <p:cNvPr id="96" name="Freeform 6">
                    <a:extLst/>
                  </p:cNvPr>
                  <p:cNvSpPr>
                    <a:spLocks/>
                  </p:cNvSpPr>
                  <p:nvPr/>
                </p:nvSpPr>
                <p:spPr bwMode="auto">
                  <a:xfrm>
                    <a:off x="784223" y="4383088"/>
                    <a:ext cx="460375" cy="527050"/>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rgbClr val="3999C6"/>
                  </a:solidFill>
                  <a:ln w="0">
                    <a:solidFill>
                      <a:srgbClr val="3999C6"/>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97" name="Freeform 7">
                    <a:extLst/>
                  </p:cNvPr>
                  <p:cNvSpPr>
                    <a:spLocks/>
                  </p:cNvSpPr>
                  <p:nvPr/>
                </p:nvSpPr>
                <p:spPr bwMode="auto">
                  <a:xfrm>
                    <a:off x="1011238" y="4383088"/>
                    <a:ext cx="233363" cy="527050"/>
                  </a:xfrm>
                  <a:custGeom>
                    <a:avLst/>
                    <a:gdLst>
                      <a:gd name="T0" fmla="*/ 0 w 1321"/>
                      <a:gd name="T1" fmla="*/ 0 h 2984"/>
                      <a:gd name="T2" fmla="*/ 1321 w 1321"/>
                      <a:gd name="T3" fmla="*/ 0 h 2984"/>
                      <a:gd name="T4" fmla="*/ 1321 w 1321"/>
                      <a:gd name="T5" fmla="*/ 2512 h 2984"/>
                      <a:gd name="T6" fmla="*/ 1318 w 1321"/>
                      <a:gd name="T7" fmla="*/ 2547 h 2984"/>
                      <a:gd name="T8" fmla="*/ 1308 w 1321"/>
                      <a:gd name="T9" fmla="*/ 2582 h 2984"/>
                      <a:gd name="T10" fmla="*/ 1290 w 1321"/>
                      <a:gd name="T11" fmla="*/ 2615 h 2984"/>
                      <a:gd name="T12" fmla="*/ 1266 w 1321"/>
                      <a:gd name="T13" fmla="*/ 2648 h 2984"/>
                      <a:gd name="T14" fmla="*/ 1236 w 1321"/>
                      <a:gd name="T15" fmla="*/ 2680 h 2984"/>
                      <a:gd name="T16" fmla="*/ 1200 w 1321"/>
                      <a:gd name="T17" fmla="*/ 2711 h 2984"/>
                      <a:gd name="T18" fmla="*/ 1159 w 1321"/>
                      <a:gd name="T19" fmla="*/ 2740 h 2984"/>
                      <a:gd name="T20" fmla="*/ 1112 w 1321"/>
                      <a:gd name="T21" fmla="*/ 2769 h 2984"/>
                      <a:gd name="T22" fmla="*/ 1058 w 1321"/>
                      <a:gd name="T23" fmla="*/ 2795 h 2984"/>
                      <a:gd name="T24" fmla="*/ 1002 w 1321"/>
                      <a:gd name="T25" fmla="*/ 2822 h 2984"/>
                      <a:gd name="T26" fmla="*/ 939 w 1321"/>
                      <a:gd name="T27" fmla="*/ 2846 h 2984"/>
                      <a:gd name="T28" fmla="*/ 873 w 1321"/>
                      <a:gd name="T29" fmla="*/ 2868 h 2984"/>
                      <a:gd name="T30" fmla="*/ 802 w 1321"/>
                      <a:gd name="T31" fmla="*/ 2889 h 2984"/>
                      <a:gd name="T32" fmla="*/ 727 w 1321"/>
                      <a:gd name="T33" fmla="*/ 2908 h 2984"/>
                      <a:gd name="T34" fmla="*/ 649 w 1321"/>
                      <a:gd name="T35" fmla="*/ 2925 h 2984"/>
                      <a:gd name="T36" fmla="*/ 567 w 1321"/>
                      <a:gd name="T37" fmla="*/ 2940 h 2984"/>
                      <a:gd name="T38" fmla="*/ 482 w 1321"/>
                      <a:gd name="T39" fmla="*/ 2953 h 2984"/>
                      <a:gd name="T40" fmla="*/ 394 w 1321"/>
                      <a:gd name="T41" fmla="*/ 2964 h 2984"/>
                      <a:gd name="T42" fmla="*/ 303 w 1321"/>
                      <a:gd name="T43" fmla="*/ 2972 h 2984"/>
                      <a:gd name="T44" fmla="*/ 210 w 1321"/>
                      <a:gd name="T45" fmla="*/ 2979 h 2984"/>
                      <a:gd name="T46" fmla="*/ 115 w 1321"/>
                      <a:gd name="T47" fmla="*/ 2983 h 2984"/>
                      <a:gd name="T48" fmla="*/ 17 w 1321"/>
                      <a:gd name="T49" fmla="*/ 2984 h 2984"/>
                      <a:gd name="T50" fmla="*/ 0 w 1321"/>
                      <a:gd name="T51" fmla="*/ 2984 h 2984"/>
                      <a:gd name="T52" fmla="*/ 0 w 1321"/>
                      <a:gd name="T5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21" h="2984">
                        <a:moveTo>
                          <a:pt x="0" y="0"/>
                        </a:moveTo>
                        <a:lnTo>
                          <a:pt x="1321" y="0"/>
                        </a:lnTo>
                        <a:lnTo>
                          <a:pt x="1321" y="2512"/>
                        </a:lnTo>
                        <a:lnTo>
                          <a:pt x="1318" y="2547"/>
                        </a:lnTo>
                        <a:lnTo>
                          <a:pt x="1308" y="2582"/>
                        </a:lnTo>
                        <a:lnTo>
                          <a:pt x="1290" y="2615"/>
                        </a:lnTo>
                        <a:lnTo>
                          <a:pt x="1266" y="2648"/>
                        </a:lnTo>
                        <a:lnTo>
                          <a:pt x="1236" y="2680"/>
                        </a:lnTo>
                        <a:lnTo>
                          <a:pt x="1200" y="2711"/>
                        </a:lnTo>
                        <a:lnTo>
                          <a:pt x="1159" y="2740"/>
                        </a:lnTo>
                        <a:lnTo>
                          <a:pt x="1112" y="2769"/>
                        </a:lnTo>
                        <a:lnTo>
                          <a:pt x="1058" y="2795"/>
                        </a:lnTo>
                        <a:lnTo>
                          <a:pt x="1002" y="2822"/>
                        </a:lnTo>
                        <a:lnTo>
                          <a:pt x="939" y="2846"/>
                        </a:lnTo>
                        <a:lnTo>
                          <a:pt x="873" y="2868"/>
                        </a:lnTo>
                        <a:lnTo>
                          <a:pt x="802" y="2889"/>
                        </a:lnTo>
                        <a:lnTo>
                          <a:pt x="727" y="2908"/>
                        </a:lnTo>
                        <a:lnTo>
                          <a:pt x="649" y="2925"/>
                        </a:lnTo>
                        <a:lnTo>
                          <a:pt x="567" y="2940"/>
                        </a:lnTo>
                        <a:lnTo>
                          <a:pt x="482" y="2953"/>
                        </a:lnTo>
                        <a:lnTo>
                          <a:pt x="394" y="2964"/>
                        </a:lnTo>
                        <a:lnTo>
                          <a:pt x="303" y="2972"/>
                        </a:lnTo>
                        <a:lnTo>
                          <a:pt x="210" y="2979"/>
                        </a:lnTo>
                        <a:lnTo>
                          <a:pt x="115" y="2983"/>
                        </a:lnTo>
                        <a:lnTo>
                          <a:pt x="17" y="2984"/>
                        </a:lnTo>
                        <a:lnTo>
                          <a:pt x="0" y="2984"/>
                        </a:lnTo>
                        <a:lnTo>
                          <a:pt x="0" y="0"/>
                        </a:lnTo>
                        <a:close/>
                      </a:path>
                    </a:pathLst>
                  </a:custGeom>
                  <a:solidFill>
                    <a:srgbClr val="5EB6DA"/>
                  </a:solidFill>
                  <a:ln w="0">
                    <a:solidFill>
                      <a:srgbClr val="3999C6"/>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09" name="Freeform 8">
                    <a:extLst/>
                  </p:cNvPr>
                  <p:cNvSpPr>
                    <a:spLocks/>
                  </p:cNvSpPr>
                  <p:nvPr/>
                </p:nvSpPr>
                <p:spPr bwMode="auto">
                  <a:xfrm>
                    <a:off x="784225" y="4300538"/>
                    <a:ext cx="460375" cy="166688"/>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rgbClr val="FFFFFF"/>
                  </a:solidFill>
                  <a:ln w="0">
                    <a:solidFill>
                      <a:srgbClr val="FFFFFF"/>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10" name="Freeform 9">
                    <a:extLst/>
                  </p:cNvPr>
                  <p:cNvSpPr>
                    <a:spLocks/>
                  </p:cNvSpPr>
                  <p:nvPr/>
                </p:nvSpPr>
                <p:spPr bwMode="auto">
                  <a:xfrm>
                    <a:off x="831850" y="4324351"/>
                    <a:ext cx="365125" cy="109538"/>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8BBF0B"/>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11" name="Freeform 10">
                    <a:extLst/>
                  </p:cNvPr>
                  <p:cNvSpPr>
                    <a:spLocks/>
                  </p:cNvSpPr>
                  <p:nvPr/>
                </p:nvSpPr>
                <p:spPr bwMode="auto">
                  <a:xfrm>
                    <a:off x="831850" y="4324351"/>
                    <a:ext cx="365125" cy="88900"/>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B2D123"/>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sp>
              <p:nvSpPr>
                <p:cNvPr id="95" name="Rectangle 94">
                  <a:extLst/>
                </p:cNvPr>
                <p:cNvSpPr/>
                <p:nvPr/>
              </p:nvSpPr>
              <p:spPr>
                <a:xfrm>
                  <a:off x="5998859" y="4727276"/>
                  <a:ext cx="173708" cy="124692"/>
                </a:xfrm>
                <a:prstGeom prst="rect">
                  <a:avLst/>
                </a:prstGeom>
              </p:spPr>
              <p:txBody>
                <a:bodyPr wrap="none" lIns="0" tIns="0" rIns="0" bIns="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918" b="1" i="0" u="none" strike="noStrike" kern="0" cap="none" spc="-51"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SQL</a:t>
                  </a:r>
                  <a:endParaRPr kumimoji="0" lang="en-US" sz="1071" b="1" i="0" u="none" strike="noStrike" kern="0" cap="none" spc="-51"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nvGrpSpPr>
              <p:cNvPr id="90" name="Group 89">
                <a:extLst/>
              </p:cNvPr>
              <p:cNvGrpSpPr/>
              <p:nvPr/>
            </p:nvGrpSpPr>
            <p:grpSpPr>
              <a:xfrm>
                <a:off x="3357485" y="2974013"/>
                <a:ext cx="580747" cy="318039"/>
                <a:chOff x="4445521" y="4254303"/>
                <a:chExt cx="1149940" cy="629751"/>
              </a:xfrm>
            </p:grpSpPr>
            <p:sp>
              <p:nvSpPr>
                <p:cNvPr id="91" name="Oval 209">
                  <a:extLst/>
                </p:cNvPr>
                <p:cNvSpPr/>
                <p:nvPr/>
              </p:nvSpPr>
              <p:spPr bwMode="auto">
                <a:xfrm>
                  <a:off x="4454970" y="4254303"/>
                  <a:ext cx="1140491" cy="629751"/>
                </a:xfrm>
                <a:custGeom>
                  <a:avLst/>
                  <a:gdLst/>
                  <a:ahLst/>
                  <a:cxnLst/>
                  <a:rect l="l" t="t" r="r" b="b"/>
                  <a:pathLst>
                    <a:path w="3499493" h="2054868">
                      <a:moveTo>
                        <a:pt x="1951464" y="0"/>
                      </a:moveTo>
                      <a:cubicBezTo>
                        <a:pt x="2462838" y="0"/>
                        <a:pt x="2877388" y="395874"/>
                        <a:pt x="2877388" y="884210"/>
                      </a:cubicBezTo>
                      <a:cubicBezTo>
                        <a:pt x="2877388" y="918469"/>
                        <a:pt x="2875348" y="952273"/>
                        <a:pt x="2870875" y="985457"/>
                      </a:cubicBezTo>
                      <a:cubicBezTo>
                        <a:pt x="2899773" y="978985"/>
                        <a:pt x="2929730" y="976444"/>
                        <a:pt x="2960281" y="976444"/>
                      </a:cubicBezTo>
                      <a:cubicBezTo>
                        <a:pt x="3258080" y="976444"/>
                        <a:pt x="3499493" y="1217857"/>
                        <a:pt x="3499493" y="1515656"/>
                      </a:cubicBezTo>
                      <a:cubicBezTo>
                        <a:pt x="3499493" y="1813455"/>
                        <a:pt x="3258080" y="2054868"/>
                        <a:pt x="2960281" y="2054868"/>
                      </a:cubicBezTo>
                      <a:lnTo>
                        <a:pt x="2928952" y="2052151"/>
                      </a:lnTo>
                      <a:lnTo>
                        <a:pt x="509786" y="2052151"/>
                      </a:lnTo>
                      <a:cubicBezTo>
                        <a:pt x="494036" y="2052151"/>
                        <a:pt x="479849" y="2045457"/>
                        <a:pt x="470177" y="2034517"/>
                      </a:cubicBezTo>
                      <a:cubicBezTo>
                        <a:pt x="204777" y="1999829"/>
                        <a:pt x="0" y="1750739"/>
                        <a:pt x="0" y="1449039"/>
                      </a:cubicBezTo>
                      <a:cubicBezTo>
                        <a:pt x="0" y="1152224"/>
                        <a:pt x="198199" y="906330"/>
                        <a:pt x="457331" y="864986"/>
                      </a:cubicBezTo>
                      <a:cubicBezTo>
                        <a:pt x="465918" y="656655"/>
                        <a:pt x="637955" y="490895"/>
                        <a:pt x="848708" y="490895"/>
                      </a:cubicBezTo>
                      <a:cubicBezTo>
                        <a:pt x="938214" y="490895"/>
                        <a:pt x="1020736" y="520793"/>
                        <a:pt x="1085920" y="572346"/>
                      </a:cubicBezTo>
                      <a:cubicBezTo>
                        <a:pt x="1217075" y="237711"/>
                        <a:pt x="1555199" y="0"/>
                        <a:pt x="1951464" y="0"/>
                      </a:cubicBezTo>
                      <a:close/>
                    </a:path>
                  </a:pathLst>
                </a:custGeom>
                <a:solidFill>
                  <a:srgbClr val="61AD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6795" tIns="48398" rIns="48398" bIns="96795" numCol="1" spcCol="0" rtlCol="0" fromWordArt="0" anchor="b" anchorCtr="0" forceAA="0" compatLnSpc="1">
                  <a:prstTxWarp prst="textNoShape">
                    <a:avLst/>
                  </a:prstTxWarp>
                  <a:noAutofit/>
                </a:bodyPr>
                <a:lstStyle/>
                <a:p>
                  <a:pPr marL="0" marR="0" lvl="0" indent="0" algn="ctr" defTabSz="967631" rtl="0" eaLnBrk="1" fontAlgn="auto" latinLnBrk="0" hangingPunct="1">
                    <a:lnSpc>
                      <a:spcPct val="100000"/>
                    </a:lnSpc>
                    <a:spcBef>
                      <a:spcPts val="0"/>
                    </a:spcBef>
                    <a:spcAft>
                      <a:spcPts val="0"/>
                    </a:spcAft>
                    <a:buClrTx/>
                    <a:buSzTx/>
                    <a:buFontTx/>
                    <a:buNone/>
                    <a:tabLst/>
                    <a:defRPr/>
                  </a:pPr>
                  <a:endParaRPr kumimoji="0" lang="en-US" sz="1122" b="0" i="0" u="none" strike="noStrike" kern="0" cap="none" spc="-53" normalizeH="0" baseline="0" noProof="0" dirty="0" err="1">
                    <a:ln>
                      <a:noFill/>
                    </a:ln>
                    <a:solidFill>
                      <a:srgbClr val="B4009E"/>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 name="Freeform 291">
                  <a:extLst/>
                </p:cNvPr>
                <p:cNvSpPr/>
                <p:nvPr/>
              </p:nvSpPr>
              <p:spPr bwMode="auto">
                <a:xfrm>
                  <a:off x="4445521" y="4254303"/>
                  <a:ext cx="969146" cy="629751"/>
                </a:xfrm>
                <a:custGeom>
                  <a:avLst/>
                  <a:gdLst>
                    <a:gd name="connsiteX0" fmla="*/ 954551 w 969146"/>
                    <a:gd name="connsiteY0" fmla="*/ 628919 h 629751"/>
                    <a:gd name="connsiteX1" fmla="*/ 969146 w 969146"/>
                    <a:gd name="connsiteY1" fmla="*/ 628919 h 629751"/>
                    <a:gd name="connsiteX2" fmla="*/ 964761 w 969146"/>
                    <a:gd name="connsiteY2" fmla="*/ 629751 h 629751"/>
                    <a:gd name="connsiteX3" fmla="*/ 635986 w 969146"/>
                    <a:gd name="connsiteY3" fmla="*/ 0 h 629751"/>
                    <a:gd name="connsiteX4" fmla="*/ 753445 w 969146"/>
                    <a:gd name="connsiteY4" fmla="*/ 21295 h 629751"/>
                    <a:gd name="connsiteX5" fmla="*/ 791135 w 969146"/>
                    <a:gd name="connsiteY5" fmla="*/ 39666 h 629751"/>
                    <a:gd name="connsiteX6" fmla="*/ 769766 w 969146"/>
                    <a:gd name="connsiteY6" fmla="*/ 49245 h 629751"/>
                    <a:gd name="connsiteX7" fmla="*/ 661124 w 969146"/>
                    <a:gd name="connsiteY7" fmla="*/ 175406 h 629751"/>
                    <a:gd name="connsiteX8" fmla="*/ 583817 w 969146"/>
                    <a:gd name="connsiteY8" fmla="*/ 150444 h 629751"/>
                    <a:gd name="connsiteX9" fmla="*/ 456266 w 969146"/>
                    <a:gd name="connsiteY9" fmla="*/ 265091 h 629751"/>
                    <a:gd name="connsiteX10" fmla="*/ 307221 w 969146"/>
                    <a:gd name="connsiteY10" fmla="*/ 444084 h 629751"/>
                    <a:gd name="connsiteX11" fmla="*/ 460453 w 969146"/>
                    <a:gd name="connsiteY11" fmla="*/ 623514 h 629751"/>
                    <a:gd name="connsiteX12" fmla="*/ 473361 w 969146"/>
                    <a:gd name="connsiteY12" fmla="*/ 628919 h 629751"/>
                    <a:gd name="connsiteX13" fmla="*/ 166140 w 969146"/>
                    <a:gd name="connsiteY13" fmla="*/ 628919 h 629751"/>
                    <a:gd name="connsiteX14" fmla="*/ 153232 w 969146"/>
                    <a:gd name="connsiteY14" fmla="*/ 623514 h 629751"/>
                    <a:gd name="connsiteX15" fmla="*/ 0 w 969146"/>
                    <a:gd name="connsiteY15" fmla="*/ 444084 h 629751"/>
                    <a:gd name="connsiteX16" fmla="*/ 149045 w 969146"/>
                    <a:gd name="connsiteY16" fmla="*/ 265091 h 629751"/>
                    <a:gd name="connsiteX17" fmla="*/ 276596 w 969146"/>
                    <a:gd name="connsiteY17" fmla="*/ 150444 h 629751"/>
                    <a:gd name="connsiteX18" fmla="*/ 353903 w 969146"/>
                    <a:gd name="connsiteY18" fmla="*/ 175406 h 629751"/>
                    <a:gd name="connsiteX19" fmla="*/ 635986 w 969146"/>
                    <a:gd name="connsiteY19" fmla="*/ 0 h 629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69146" h="629751">
                      <a:moveTo>
                        <a:pt x="954551" y="628919"/>
                      </a:moveTo>
                      <a:lnTo>
                        <a:pt x="969146" y="628919"/>
                      </a:lnTo>
                      <a:lnTo>
                        <a:pt x="964761" y="629751"/>
                      </a:lnTo>
                      <a:close/>
                      <a:moveTo>
                        <a:pt x="635986" y="0"/>
                      </a:moveTo>
                      <a:cubicBezTo>
                        <a:pt x="677650" y="0"/>
                        <a:pt x="717343" y="7583"/>
                        <a:pt x="753445" y="21295"/>
                      </a:cubicBezTo>
                      <a:lnTo>
                        <a:pt x="791135" y="39666"/>
                      </a:lnTo>
                      <a:lnTo>
                        <a:pt x="769766" y="49245"/>
                      </a:lnTo>
                      <a:cubicBezTo>
                        <a:pt x="720731" y="80277"/>
                        <a:pt x="682496" y="124129"/>
                        <a:pt x="661124" y="175406"/>
                      </a:cubicBezTo>
                      <a:cubicBezTo>
                        <a:pt x="639881" y="159607"/>
                        <a:pt x="612987" y="150444"/>
                        <a:pt x="583817" y="150444"/>
                      </a:cubicBezTo>
                      <a:cubicBezTo>
                        <a:pt x="515132" y="150444"/>
                        <a:pt x="459065" y="201244"/>
                        <a:pt x="456266" y="265091"/>
                      </a:cubicBezTo>
                      <a:cubicBezTo>
                        <a:pt x="371815" y="277761"/>
                        <a:pt x="307221" y="353120"/>
                        <a:pt x="307221" y="444084"/>
                      </a:cubicBezTo>
                      <a:cubicBezTo>
                        <a:pt x="307221" y="536545"/>
                        <a:pt x="373958" y="612884"/>
                        <a:pt x="460453" y="623514"/>
                      </a:cubicBezTo>
                      <a:cubicBezTo>
                        <a:pt x="463605" y="626867"/>
                        <a:pt x="468228" y="628919"/>
                        <a:pt x="473361" y="628919"/>
                      </a:cubicBezTo>
                      <a:lnTo>
                        <a:pt x="166140" y="628919"/>
                      </a:lnTo>
                      <a:cubicBezTo>
                        <a:pt x="161007" y="628919"/>
                        <a:pt x="156384" y="626867"/>
                        <a:pt x="153232" y="623514"/>
                      </a:cubicBezTo>
                      <a:cubicBezTo>
                        <a:pt x="66737" y="612884"/>
                        <a:pt x="0" y="536545"/>
                        <a:pt x="0" y="444084"/>
                      </a:cubicBezTo>
                      <a:cubicBezTo>
                        <a:pt x="0" y="353120"/>
                        <a:pt x="64594" y="277761"/>
                        <a:pt x="149045" y="265091"/>
                      </a:cubicBezTo>
                      <a:cubicBezTo>
                        <a:pt x="151844" y="201244"/>
                        <a:pt x="207911" y="150444"/>
                        <a:pt x="276596" y="150444"/>
                      </a:cubicBezTo>
                      <a:cubicBezTo>
                        <a:pt x="305766" y="150444"/>
                        <a:pt x="332660" y="159607"/>
                        <a:pt x="353903" y="175406"/>
                      </a:cubicBezTo>
                      <a:cubicBezTo>
                        <a:pt x="396647" y="72851"/>
                        <a:pt x="506842" y="0"/>
                        <a:pt x="635986" y="0"/>
                      </a:cubicBezTo>
                      <a:close/>
                    </a:path>
                  </a:pathLst>
                </a:custGeom>
                <a:solidFill>
                  <a:srgbClr val="7AC3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6795" tIns="48398" rIns="48398" bIns="96795" numCol="1" spcCol="0" rtlCol="0" fromWordArt="0" anchor="b" anchorCtr="0" forceAA="0" compatLnSpc="1">
                  <a:prstTxWarp prst="textNoShape">
                    <a:avLst/>
                  </a:prstTxWarp>
                  <a:noAutofit/>
                </a:bodyPr>
                <a:lstStyle/>
                <a:p>
                  <a:pPr marL="0" marR="0" lvl="0" indent="0" algn="ctr" defTabSz="967631" rtl="0" eaLnBrk="1" fontAlgn="auto" latinLnBrk="0" hangingPunct="1">
                    <a:lnSpc>
                      <a:spcPct val="100000"/>
                    </a:lnSpc>
                    <a:spcBef>
                      <a:spcPts val="0"/>
                    </a:spcBef>
                    <a:spcAft>
                      <a:spcPts val="0"/>
                    </a:spcAft>
                    <a:buClrTx/>
                    <a:buSzTx/>
                    <a:buFontTx/>
                    <a:buNone/>
                    <a:tabLst/>
                    <a:defRPr/>
                  </a:pPr>
                  <a:endParaRPr kumimoji="0" lang="en-US" sz="1122" b="0" i="0" u="none" strike="noStrike" kern="0" cap="none" spc="-53" normalizeH="0" baseline="0" noProof="0" dirty="0" err="1">
                    <a:ln>
                      <a:noFill/>
                    </a:ln>
                    <a:solidFill>
                      <a:srgbClr val="B4009E"/>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sp>
          <p:nvSpPr>
            <p:cNvPr id="113" name="Freeform 126">
              <a:extLst/>
            </p:cNvPr>
            <p:cNvSpPr/>
            <p:nvPr/>
          </p:nvSpPr>
          <p:spPr>
            <a:xfrm>
              <a:off x="2763022" y="2011310"/>
              <a:ext cx="558216" cy="537420"/>
            </a:xfrm>
            <a:custGeom>
              <a:avLst/>
              <a:gdLst>
                <a:gd name="connsiteX0" fmla="*/ 2493877 w 3395551"/>
                <a:gd name="connsiteY0" fmla="*/ 1903011 h 2389017"/>
                <a:gd name="connsiteX1" fmla="*/ 2493877 w 3395551"/>
                <a:gd name="connsiteY1" fmla="*/ 2185895 h 2389017"/>
                <a:gd name="connsiteX2" fmla="*/ 3167677 w 3395551"/>
                <a:gd name="connsiteY2" fmla="*/ 2185895 h 2389017"/>
                <a:gd name="connsiteX3" fmla="*/ 3167677 w 3395551"/>
                <a:gd name="connsiteY3" fmla="*/ 1903011 h 2389017"/>
                <a:gd name="connsiteX4" fmla="*/ 1734435 w 3395551"/>
                <a:gd name="connsiteY4" fmla="*/ 1903011 h 2389017"/>
                <a:gd name="connsiteX5" fmla="*/ 1734435 w 3395551"/>
                <a:gd name="connsiteY5" fmla="*/ 2185895 h 2389017"/>
                <a:gd name="connsiteX6" fmla="*/ 2408235 w 3395551"/>
                <a:gd name="connsiteY6" fmla="*/ 2185895 h 2389017"/>
                <a:gd name="connsiteX7" fmla="*/ 2408235 w 3395551"/>
                <a:gd name="connsiteY7" fmla="*/ 1903011 h 2389017"/>
                <a:gd name="connsiteX8" fmla="*/ 992000 w 3395551"/>
                <a:gd name="connsiteY8" fmla="*/ 1903011 h 2389017"/>
                <a:gd name="connsiteX9" fmla="*/ 992000 w 3395551"/>
                <a:gd name="connsiteY9" fmla="*/ 2185895 h 2389017"/>
                <a:gd name="connsiteX10" fmla="*/ 1665800 w 3395551"/>
                <a:gd name="connsiteY10" fmla="*/ 2185895 h 2389017"/>
                <a:gd name="connsiteX11" fmla="*/ 1665800 w 3395551"/>
                <a:gd name="connsiteY11" fmla="*/ 1903011 h 2389017"/>
                <a:gd name="connsiteX12" fmla="*/ 245138 w 3395551"/>
                <a:gd name="connsiteY12" fmla="*/ 1903011 h 2389017"/>
                <a:gd name="connsiteX13" fmla="*/ 245138 w 3395551"/>
                <a:gd name="connsiteY13" fmla="*/ 2185895 h 2389017"/>
                <a:gd name="connsiteX14" fmla="*/ 918938 w 3395551"/>
                <a:gd name="connsiteY14" fmla="*/ 2185895 h 2389017"/>
                <a:gd name="connsiteX15" fmla="*/ 918938 w 3395551"/>
                <a:gd name="connsiteY15" fmla="*/ 1903011 h 2389017"/>
                <a:gd name="connsiteX16" fmla="*/ 2493877 w 3395551"/>
                <a:gd name="connsiteY16" fmla="*/ 1556775 h 2389017"/>
                <a:gd name="connsiteX17" fmla="*/ 2493877 w 3395551"/>
                <a:gd name="connsiteY17" fmla="*/ 1839659 h 2389017"/>
                <a:gd name="connsiteX18" fmla="*/ 3167677 w 3395551"/>
                <a:gd name="connsiteY18" fmla="*/ 1839659 h 2389017"/>
                <a:gd name="connsiteX19" fmla="*/ 3167677 w 3395551"/>
                <a:gd name="connsiteY19" fmla="*/ 1556775 h 2389017"/>
                <a:gd name="connsiteX20" fmla="*/ 1734435 w 3395551"/>
                <a:gd name="connsiteY20" fmla="*/ 1556775 h 2389017"/>
                <a:gd name="connsiteX21" fmla="*/ 1734435 w 3395551"/>
                <a:gd name="connsiteY21" fmla="*/ 1839659 h 2389017"/>
                <a:gd name="connsiteX22" fmla="*/ 2408235 w 3395551"/>
                <a:gd name="connsiteY22" fmla="*/ 1839659 h 2389017"/>
                <a:gd name="connsiteX23" fmla="*/ 2408235 w 3395551"/>
                <a:gd name="connsiteY23" fmla="*/ 1556775 h 2389017"/>
                <a:gd name="connsiteX24" fmla="*/ 992000 w 3395551"/>
                <a:gd name="connsiteY24" fmla="*/ 1556775 h 2389017"/>
                <a:gd name="connsiteX25" fmla="*/ 992000 w 3395551"/>
                <a:gd name="connsiteY25" fmla="*/ 1839659 h 2389017"/>
                <a:gd name="connsiteX26" fmla="*/ 1665800 w 3395551"/>
                <a:gd name="connsiteY26" fmla="*/ 1839659 h 2389017"/>
                <a:gd name="connsiteX27" fmla="*/ 1665800 w 3395551"/>
                <a:gd name="connsiteY27" fmla="*/ 1556775 h 2389017"/>
                <a:gd name="connsiteX28" fmla="*/ 245138 w 3395551"/>
                <a:gd name="connsiteY28" fmla="*/ 1556775 h 2389017"/>
                <a:gd name="connsiteX29" fmla="*/ 245138 w 3395551"/>
                <a:gd name="connsiteY29" fmla="*/ 1839659 h 2389017"/>
                <a:gd name="connsiteX30" fmla="*/ 918938 w 3395551"/>
                <a:gd name="connsiteY30" fmla="*/ 1839659 h 2389017"/>
                <a:gd name="connsiteX31" fmla="*/ 918938 w 3395551"/>
                <a:gd name="connsiteY31" fmla="*/ 1556775 h 2389017"/>
                <a:gd name="connsiteX32" fmla="*/ 2493877 w 3395551"/>
                <a:gd name="connsiteY32" fmla="*/ 1210539 h 2389017"/>
                <a:gd name="connsiteX33" fmla="*/ 2493877 w 3395551"/>
                <a:gd name="connsiteY33" fmla="*/ 1493423 h 2389017"/>
                <a:gd name="connsiteX34" fmla="*/ 3167677 w 3395551"/>
                <a:gd name="connsiteY34" fmla="*/ 1493423 h 2389017"/>
                <a:gd name="connsiteX35" fmla="*/ 3167677 w 3395551"/>
                <a:gd name="connsiteY35" fmla="*/ 1210539 h 2389017"/>
                <a:gd name="connsiteX36" fmla="*/ 1734435 w 3395551"/>
                <a:gd name="connsiteY36" fmla="*/ 1210539 h 2389017"/>
                <a:gd name="connsiteX37" fmla="*/ 1734435 w 3395551"/>
                <a:gd name="connsiteY37" fmla="*/ 1493423 h 2389017"/>
                <a:gd name="connsiteX38" fmla="*/ 2408235 w 3395551"/>
                <a:gd name="connsiteY38" fmla="*/ 1493423 h 2389017"/>
                <a:gd name="connsiteX39" fmla="*/ 2408235 w 3395551"/>
                <a:gd name="connsiteY39" fmla="*/ 1210539 h 2389017"/>
                <a:gd name="connsiteX40" fmla="*/ 992000 w 3395551"/>
                <a:gd name="connsiteY40" fmla="*/ 1210539 h 2389017"/>
                <a:gd name="connsiteX41" fmla="*/ 992000 w 3395551"/>
                <a:gd name="connsiteY41" fmla="*/ 1493423 h 2389017"/>
                <a:gd name="connsiteX42" fmla="*/ 1665800 w 3395551"/>
                <a:gd name="connsiteY42" fmla="*/ 1493423 h 2389017"/>
                <a:gd name="connsiteX43" fmla="*/ 1665800 w 3395551"/>
                <a:gd name="connsiteY43" fmla="*/ 1210539 h 2389017"/>
                <a:gd name="connsiteX44" fmla="*/ 245138 w 3395551"/>
                <a:gd name="connsiteY44" fmla="*/ 1210539 h 2389017"/>
                <a:gd name="connsiteX45" fmla="*/ 245138 w 3395551"/>
                <a:gd name="connsiteY45" fmla="*/ 1493423 h 2389017"/>
                <a:gd name="connsiteX46" fmla="*/ 918938 w 3395551"/>
                <a:gd name="connsiteY46" fmla="*/ 1493423 h 2389017"/>
                <a:gd name="connsiteX47" fmla="*/ 918938 w 3395551"/>
                <a:gd name="connsiteY47" fmla="*/ 1210539 h 2389017"/>
                <a:gd name="connsiteX48" fmla="*/ 2493877 w 3395551"/>
                <a:gd name="connsiteY48" fmla="*/ 864303 h 2389017"/>
                <a:gd name="connsiteX49" fmla="*/ 2493877 w 3395551"/>
                <a:gd name="connsiteY49" fmla="*/ 1147187 h 2389017"/>
                <a:gd name="connsiteX50" fmla="*/ 3167677 w 3395551"/>
                <a:gd name="connsiteY50" fmla="*/ 1147187 h 2389017"/>
                <a:gd name="connsiteX51" fmla="*/ 3167677 w 3395551"/>
                <a:gd name="connsiteY51" fmla="*/ 864303 h 2389017"/>
                <a:gd name="connsiteX52" fmla="*/ 1734435 w 3395551"/>
                <a:gd name="connsiteY52" fmla="*/ 864303 h 2389017"/>
                <a:gd name="connsiteX53" fmla="*/ 1734435 w 3395551"/>
                <a:gd name="connsiteY53" fmla="*/ 1147187 h 2389017"/>
                <a:gd name="connsiteX54" fmla="*/ 2408235 w 3395551"/>
                <a:gd name="connsiteY54" fmla="*/ 1147187 h 2389017"/>
                <a:gd name="connsiteX55" fmla="*/ 2408235 w 3395551"/>
                <a:gd name="connsiteY55" fmla="*/ 864303 h 2389017"/>
                <a:gd name="connsiteX56" fmla="*/ 992000 w 3395551"/>
                <a:gd name="connsiteY56" fmla="*/ 864303 h 2389017"/>
                <a:gd name="connsiteX57" fmla="*/ 992000 w 3395551"/>
                <a:gd name="connsiteY57" fmla="*/ 1147187 h 2389017"/>
                <a:gd name="connsiteX58" fmla="*/ 1665800 w 3395551"/>
                <a:gd name="connsiteY58" fmla="*/ 1147187 h 2389017"/>
                <a:gd name="connsiteX59" fmla="*/ 1665800 w 3395551"/>
                <a:gd name="connsiteY59" fmla="*/ 864303 h 2389017"/>
                <a:gd name="connsiteX60" fmla="*/ 245138 w 3395551"/>
                <a:gd name="connsiteY60" fmla="*/ 864303 h 2389017"/>
                <a:gd name="connsiteX61" fmla="*/ 245138 w 3395551"/>
                <a:gd name="connsiteY61" fmla="*/ 1147187 h 2389017"/>
                <a:gd name="connsiteX62" fmla="*/ 918938 w 3395551"/>
                <a:gd name="connsiteY62" fmla="*/ 1147187 h 2389017"/>
                <a:gd name="connsiteX63" fmla="*/ 918938 w 3395551"/>
                <a:gd name="connsiteY63" fmla="*/ 864303 h 2389017"/>
                <a:gd name="connsiteX64" fmla="*/ 2493877 w 3395551"/>
                <a:gd name="connsiteY64" fmla="*/ 518067 h 2389017"/>
                <a:gd name="connsiteX65" fmla="*/ 2493877 w 3395551"/>
                <a:gd name="connsiteY65" fmla="*/ 800951 h 2389017"/>
                <a:gd name="connsiteX66" fmla="*/ 3167677 w 3395551"/>
                <a:gd name="connsiteY66" fmla="*/ 800951 h 2389017"/>
                <a:gd name="connsiteX67" fmla="*/ 3167677 w 3395551"/>
                <a:gd name="connsiteY67" fmla="*/ 518067 h 2389017"/>
                <a:gd name="connsiteX68" fmla="*/ 1734435 w 3395551"/>
                <a:gd name="connsiteY68" fmla="*/ 518067 h 2389017"/>
                <a:gd name="connsiteX69" fmla="*/ 1734435 w 3395551"/>
                <a:gd name="connsiteY69" fmla="*/ 800951 h 2389017"/>
                <a:gd name="connsiteX70" fmla="*/ 2408235 w 3395551"/>
                <a:gd name="connsiteY70" fmla="*/ 800951 h 2389017"/>
                <a:gd name="connsiteX71" fmla="*/ 2408235 w 3395551"/>
                <a:gd name="connsiteY71" fmla="*/ 518067 h 2389017"/>
                <a:gd name="connsiteX72" fmla="*/ 992000 w 3395551"/>
                <a:gd name="connsiteY72" fmla="*/ 518067 h 2389017"/>
                <a:gd name="connsiteX73" fmla="*/ 992000 w 3395551"/>
                <a:gd name="connsiteY73" fmla="*/ 800951 h 2389017"/>
                <a:gd name="connsiteX74" fmla="*/ 1665800 w 3395551"/>
                <a:gd name="connsiteY74" fmla="*/ 800951 h 2389017"/>
                <a:gd name="connsiteX75" fmla="*/ 1665800 w 3395551"/>
                <a:gd name="connsiteY75" fmla="*/ 518067 h 2389017"/>
                <a:gd name="connsiteX76" fmla="*/ 245138 w 3395551"/>
                <a:gd name="connsiteY76" fmla="*/ 518067 h 2389017"/>
                <a:gd name="connsiteX77" fmla="*/ 245138 w 3395551"/>
                <a:gd name="connsiteY77" fmla="*/ 800951 h 2389017"/>
                <a:gd name="connsiteX78" fmla="*/ 918938 w 3395551"/>
                <a:gd name="connsiteY78" fmla="*/ 800951 h 2389017"/>
                <a:gd name="connsiteX79" fmla="*/ 918938 w 3395551"/>
                <a:gd name="connsiteY79" fmla="*/ 518067 h 2389017"/>
                <a:gd name="connsiteX80" fmla="*/ 222800 w 3395551"/>
                <a:gd name="connsiteY80" fmla="*/ 0 h 2389017"/>
                <a:gd name="connsiteX81" fmla="*/ 3172751 w 3395551"/>
                <a:gd name="connsiteY81" fmla="*/ 0 h 2389017"/>
                <a:gd name="connsiteX82" fmla="*/ 3395551 w 3395551"/>
                <a:gd name="connsiteY82" fmla="*/ 222800 h 2389017"/>
                <a:gd name="connsiteX83" fmla="*/ 3395551 w 3395551"/>
                <a:gd name="connsiteY83" fmla="*/ 2166217 h 2389017"/>
                <a:gd name="connsiteX84" fmla="*/ 3172751 w 3395551"/>
                <a:gd name="connsiteY84" fmla="*/ 2389017 h 2389017"/>
                <a:gd name="connsiteX85" fmla="*/ 222800 w 3395551"/>
                <a:gd name="connsiteY85" fmla="*/ 2389017 h 2389017"/>
                <a:gd name="connsiteX86" fmla="*/ 0 w 3395551"/>
                <a:gd name="connsiteY86" fmla="*/ 2166217 h 2389017"/>
                <a:gd name="connsiteX87" fmla="*/ 0 w 3395551"/>
                <a:gd name="connsiteY87" fmla="*/ 222800 h 2389017"/>
                <a:gd name="connsiteX88" fmla="*/ 222800 w 3395551"/>
                <a:gd name="connsiteY88" fmla="*/ 0 h 2389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3395551" h="2389017">
                  <a:moveTo>
                    <a:pt x="2493877" y="1903011"/>
                  </a:moveTo>
                  <a:lnTo>
                    <a:pt x="2493877" y="2185895"/>
                  </a:lnTo>
                  <a:lnTo>
                    <a:pt x="3167677" y="2185895"/>
                  </a:lnTo>
                  <a:lnTo>
                    <a:pt x="3167677" y="1903011"/>
                  </a:lnTo>
                  <a:close/>
                  <a:moveTo>
                    <a:pt x="1734435" y="1903011"/>
                  </a:moveTo>
                  <a:lnTo>
                    <a:pt x="1734435" y="2185895"/>
                  </a:lnTo>
                  <a:lnTo>
                    <a:pt x="2408235" y="2185895"/>
                  </a:lnTo>
                  <a:lnTo>
                    <a:pt x="2408235" y="1903011"/>
                  </a:lnTo>
                  <a:close/>
                  <a:moveTo>
                    <a:pt x="992000" y="1903011"/>
                  </a:moveTo>
                  <a:lnTo>
                    <a:pt x="992000" y="2185895"/>
                  </a:lnTo>
                  <a:lnTo>
                    <a:pt x="1665800" y="2185895"/>
                  </a:lnTo>
                  <a:lnTo>
                    <a:pt x="1665800" y="1903011"/>
                  </a:lnTo>
                  <a:close/>
                  <a:moveTo>
                    <a:pt x="245138" y="1903011"/>
                  </a:moveTo>
                  <a:lnTo>
                    <a:pt x="245138" y="2185895"/>
                  </a:lnTo>
                  <a:lnTo>
                    <a:pt x="918938" y="2185895"/>
                  </a:lnTo>
                  <a:lnTo>
                    <a:pt x="918938" y="1903011"/>
                  </a:lnTo>
                  <a:close/>
                  <a:moveTo>
                    <a:pt x="2493877" y="1556775"/>
                  </a:moveTo>
                  <a:lnTo>
                    <a:pt x="2493877" y="1839659"/>
                  </a:lnTo>
                  <a:lnTo>
                    <a:pt x="3167677" y="1839659"/>
                  </a:lnTo>
                  <a:lnTo>
                    <a:pt x="3167677" y="1556775"/>
                  </a:lnTo>
                  <a:close/>
                  <a:moveTo>
                    <a:pt x="1734435" y="1556775"/>
                  </a:moveTo>
                  <a:lnTo>
                    <a:pt x="1734435" y="1839659"/>
                  </a:lnTo>
                  <a:lnTo>
                    <a:pt x="2408235" y="1839659"/>
                  </a:lnTo>
                  <a:lnTo>
                    <a:pt x="2408235" y="1556775"/>
                  </a:lnTo>
                  <a:close/>
                  <a:moveTo>
                    <a:pt x="992000" y="1556775"/>
                  </a:moveTo>
                  <a:lnTo>
                    <a:pt x="992000" y="1839659"/>
                  </a:lnTo>
                  <a:lnTo>
                    <a:pt x="1665800" y="1839659"/>
                  </a:lnTo>
                  <a:lnTo>
                    <a:pt x="1665800" y="1556775"/>
                  </a:lnTo>
                  <a:close/>
                  <a:moveTo>
                    <a:pt x="245138" y="1556775"/>
                  </a:moveTo>
                  <a:lnTo>
                    <a:pt x="245138" y="1839659"/>
                  </a:lnTo>
                  <a:lnTo>
                    <a:pt x="918938" y="1839659"/>
                  </a:lnTo>
                  <a:lnTo>
                    <a:pt x="918938" y="1556775"/>
                  </a:lnTo>
                  <a:close/>
                  <a:moveTo>
                    <a:pt x="2493877" y="1210539"/>
                  </a:moveTo>
                  <a:lnTo>
                    <a:pt x="2493877" y="1493423"/>
                  </a:lnTo>
                  <a:lnTo>
                    <a:pt x="3167677" y="1493423"/>
                  </a:lnTo>
                  <a:lnTo>
                    <a:pt x="3167677" y="1210539"/>
                  </a:lnTo>
                  <a:close/>
                  <a:moveTo>
                    <a:pt x="1734435" y="1210539"/>
                  </a:moveTo>
                  <a:lnTo>
                    <a:pt x="1734435" y="1493423"/>
                  </a:lnTo>
                  <a:lnTo>
                    <a:pt x="2408235" y="1493423"/>
                  </a:lnTo>
                  <a:lnTo>
                    <a:pt x="2408235" y="1210539"/>
                  </a:lnTo>
                  <a:close/>
                  <a:moveTo>
                    <a:pt x="992000" y="1210539"/>
                  </a:moveTo>
                  <a:lnTo>
                    <a:pt x="992000" y="1493423"/>
                  </a:lnTo>
                  <a:lnTo>
                    <a:pt x="1665800" y="1493423"/>
                  </a:lnTo>
                  <a:lnTo>
                    <a:pt x="1665800" y="1210539"/>
                  </a:lnTo>
                  <a:close/>
                  <a:moveTo>
                    <a:pt x="245138" y="1210539"/>
                  </a:moveTo>
                  <a:lnTo>
                    <a:pt x="245138" y="1493423"/>
                  </a:lnTo>
                  <a:lnTo>
                    <a:pt x="918938" y="1493423"/>
                  </a:lnTo>
                  <a:lnTo>
                    <a:pt x="918938" y="1210539"/>
                  </a:lnTo>
                  <a:close/>
                  <a:moveTo>
                    <a:pt x="2493877" y="864303"/>
                  </a:moveTo>
                  <a:lnTo>
                    <a:pt x="2493877" y="1147187"/>
                  </a:lnTo>
                  <a:lnTo>
                    <a:pt x="3167677" y="1147187"/>
                  </a:lnTo>
                  <a:lnTo>
                    <a:pt x="3167677" y="864303"/>
                  </a:lnTo>
                  <a:close/>
                  <a:moveTo>
                    <a:pt x="1734435" y="864303"/>
                  </a:moveTo>
                  <a:lnTo>
                    <a:pt x="1734435" y="1147187"/>
                  </a:lnTo>
                  <a:lnTo>
                    <a:pt x="2408235" y="1147187"/>
                  </a:lnTo>
                  <a:lnTo>
                    <a:pt x="2408235" y="864303"/>
                  </a:lnTo>
                  <a:close/>
                  <a:moveTo>
                    <a:pt x="992000" y="864303"/>
                  </a:moveTo>
                  <a:lnTo>
                    <a:pt x="992000" y="1147187"/>
                  </a:lnTo>
                  <a:lnTo>
                    <a:pt x="1665800" y="1147187"/>
                  </a:lnTo>
                  <a:lnTo>
                    <a:pt x="1665800" y="864303"/>
                  </a:lnTo>
                  <a:close/>
                  <a:moveTo>
                    <a:pt x="245138" y="864303"/>
                  </a:moveTo>
                  <a:lnTo>
                    <a:pt x="245138" y="1147187"/>
                  </a:lnTo>
                  <a:lnTo>
                    <a:pt x="918938" y="1147187"/>
                  </a:lnTo>
                  <a:lnTo>
                    <a:pt x="918938" y="864303"/>
                  </a:lnTo>
                  <a:close/>
                  <a:moveTo>
                    <a:pt x="2493877" y="518067"/>
                  </a:moveTo>
                  <a:lnTo>
                    <a:pt x="2493877" y="800951"/>
                  </a:lnTo>
                  <a:lnTo>
                    <a:pt x="3167677" y="800951"/>
                  </a:lnTo>
                  <a:lnTo>
                    <a:pt x="3167677" y="518067"/>
                  </a:lnTo>
                  <a:close/>
                  <a:moveTo>
                    <a:pt x="1734435" y="518067"/>
                  </a:moveTo>
                  <a:lnTo>
                    <a:pt x="1734435" y="800951"/>
                  </a:lnTo>
                  <a:lnTo>
                    <a:pt x="2408235" y="800951"/>
                  </a:lnTo>
                  <a:lnTo>
                    <a:pt x="2408235" y="518067"/>
                  </a:lnTo>
                  <a:close/>
                  <a:moveTo>
                    <a:pt x="992000" y="518067"/>
                  </a:moveTo>
                  <a:lnTo>
                    <a:pt x="992000" y="800951"/>
                  </a:lnTo>
                  <a:lnTo>
                    <a:pt x="1665800" y="800951"/>
                  </a:lnTo>
                  <a:lnTo>
                    <a:pt x="1665800" y="518067"/>
                  </a:lnTo>
                  <a:close/>
                  <a:moveTo>
                    <a:pt x="245138" y="518067"/>
                  </a:moveTo>
                  <a:lnTo>
                    <a:pt x="245138" y="800951"/>
                  </a:lnTo>
                  <a:lnTo>
                    <a:pt x="918938" y="800951"/>
                  </a:lnTo>
                  <a:lnTo>
                    <a:pt x="918938" y="518067"/>
                  </a:lnTo>
                  <a:close/>
                  <a:moveTo>
                    <a:pt x="222800" y="0"/>
                  </a:moveTo>
                  <a:lnTo>
                    <a:pt x="3172751" y="0"/>
                  </a:lnTo>
                  <a:cubicBezTo>
                    <a:pt x="3295800" y="0"/>
                    <a:pt x="3395551" y="99751"/>
                    <a:pt x="3395551" y="222800"/>
                  </a:cubicBezTo>
                  <a:lnTo>
                    <a:pt x="3395551" y="2166217"/>
                  </a:lnTo>
                  <a:cubicBezTo>
                    <a:pt x="3395551" y="2289266"/>
                    <a:pt x="3295800" y="2389017"/>
                    <a:pt x="3172751" y="2389017"/>
                  </a:cubicBezTo>
                  <a:lnTo>
                    <a:pt x="222800" y="2389017"/>
                  </a:lnTo>
                  <a:cubicBezTo>
                    <a:pt x="99751" y="2389017"/>
                    <a:pt x="0" y="2289266"/>
                    <a:pt x="0" y="2166217"/>
                  </a:cubicBezTo>
                  <a:lnTo>
                    <a:pt x="0" y="222800"/>
                  </a:lnTo>
                  <a:cubicBezTo>
                    <a:pt x="0" y="99751"/>
                    <a:pt x="99751" y="0"/>
                    <a:pt x="222800" y="0"/>
                  </a:cubicBezTo>
                  <a:close/>
                </a:path>
              </a:pathLst>
            </a:custGeom>
            <a:solidFill>
              <a:srgbClr val="5AB3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pic>
          <p:nvPicPr>
            <p:cNvPr id="82" name="Picture 81">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7163" y="1986137"/>
              <a:ext cx="581285" cy="435242"/>
            </a:xfrm>
            <a:prstGeom prst="rect">
              <a:avLst/>
            </a:prstGeom>
          </p:spPr>
        </p:pic>
      </p:grpSp>
      <p:sp>
        <p:nvSpPr>
          <p:cNvPr id="184" name="Rectangle 183">
            <a:extLst/>
          </p:cNvPr>
          <p:cNvSpPr/>
          <p:nvPr/>
        </p:nvSpPr>
        <p:spPr>
          <a:xfrm>
            <a:off x="6509685" y="3131506"/>
            <a:ext cx="2360283" cy="395260"/>
          </a:xfrm>
          <a:prstGeom prst="rect">
            <a:avLst/>
          </a:prstGeom>
          <a:noFill/>
          <a:ln w="12700" cap="flat" cmpd="sng" algn="ctr">
            <a:noFill/>
            <a:prstDash val="solid"/>
            <a:miter lim="800000"/>
          </a:ln>
          <a:effectLst/>
        </p:spPr>
        <p:txBody>
          <a:bodyPr rtlCol="0" anchor="ctr"/>
          <a:lstStyle/>
          <a:p>
            <a:pPr marL="0" marR="0" lvl="0" indent="0" algn="r" defTabSz="932131" rtl="0"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Light"/>
                <a:ea typeface="+mn-ea"/>
                <a:cs typeface="Segoe UI" panose="020B0502040204020203" pitchFamily="34" charset="0"/>
              </a:rPr>
              <a:t>Data Lake</a:t>
            </a:r>
            <a:endParaRPr kumimoji="0" lang="en-US" sz="1600" b="0" i="0" u="none" strike="noStrike" kern="0" cap="none" spc="0" normalizeH="0" baseline="0" noProof="0" dirty="0">
              <a:ln>
                <a:noFill/>
              </a:ln>
              <a:solidFill>
                <a:prstClr val="black"/>
              </a:solidFill>
              <a:effectLst/>
              <a:uLnTx/>
              <a:uFillTx/>
              <a:latin typeface="Segoe UI Light"/>
              <a:ea typeface="+mn-ea"/>
              <a:cs typeface="Segoe UI" panose="020B0502040204020203" pitchFamily="34" charset="0"/>
            </a:endParaRPr>
          </a:p>
        </p:txBody>
      </p:sp>
      <p:grpSp>
        <p:nvGrpSpPr>
          <p:cNvPr id="185" name="Group 184">
            <a:extLst/>
          </p:cNvPr>
          <p:cNvGrpSpPr>
            <a:grpSpLocks noChangeAspect="1"/>
          </p:cNvGrpSpPr>
          <p:nvPr/>
        </p:nvGrpSpPr>
        <p:grpSpPr>
          <a:xfrm>
            <a:off x="5084903" y="2248888"/>
            <a:ext cx="1590529" cy="2217461"/>
            <a:chOff x="-1349908" y="1730515"/>
            <a:chExt cx="2172485" cy="3028814"/>
          </a:xfrm>
        </p:grpSpPr>
        <p:sp>
          <p:nvSpPr>
            <p:cNvPr id="186" name="Freeform 6">
              <a:extLst/>
            </p:cNvPr>
            <p:cNvSpPr>
              <a:spLocks/>
            </p:cNvSpPr>
            <p:nvPr/>
          </p:nvSpPr>
          <p:spPr bwMode="auto">
            <a:xfrm>
              <a:off x="-1349908" y="2140665"/>
              <a:ext cx="2172475" cy="261866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rgbClr val="3E3E3E"/>
            </a:solidFill>
            <a:ln w="0">
              <a:solidFill>
                <a:srgbClr val="3999C6"/>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3264" b="0"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87" name="Freeform 7">
              <a:extLst/>
            </p:cNvPr>
            <p:cNvSpPr>
              <a:spLocks/>
            </p:cNvSpPr>
            <p:nvPr/>
          </p:nvSpPr>
          <p:spPr bwMode="auto">
            <a:xfrm>
              <a:off x="-278640" y="2140665"/>
              <a:ext cx="1101217" cy="2618664"/>
            </a:xfrm>
            <a:custGeom>
              <a:avLst/>
              <a:gdLst>
                <a:gd name="T0" fmla="*/ 0 w 1321"/>
                <a:gd name="T1" fmla="*/ 0 h 2984"/>
                <a:gd name="T2" fmla="*/ 1321 w 1321"/>
                <a:gd name="T3" fmla="*/ 0 h 2984"/>
                <a:gd name="T4" fmla="*/ 1321 w 1321"/>
                <a:gd name="T5" fmla="*/ 2512 h 2984"/>
                <a:gd name="T6" fmla="*/ 1318 w 1321"/>
                <a:gd name="T7" fmla="*/ 2547 h 2984"/>
                <a:gd name="T8" fmla="*/ 1308 w 1321"/>
                <a:gd name="T9" fmla="*/ 2582 h 2984"/>
                <a:gd name="T10" fmla="*/ 1290 w 1321"/>
                <a:gd name="T11" fmla="*/ 2615 h 2984"/>
                <a:gd name="T12" fmla="*/ 1266 w 1321"/>
                <a:gd name="T13" fmla="*/ 2648 h 2984"/>
                <a:gd name="T14" fmla="*/ 1236 w 1321"/>
                <a:gd name="T15" fmla="*/ 2680 h 2984"/>
                <a:gd name="T16" fmla="*/ 1200 w 1321"/>
                <a:gd name="T17" fmla="*/ 2711 h 2984"/>
                <a:gd name="T18" fmla="*/ 1159 w 1321"/>
                <a:gd name="T19" fmla="*/ 2740 h 2984"/>
                <a:gd name="T20" fmla="*/ 1112 w 1321"/>
                <a:gd name="T21" fmla="*/ 2769 h 2984"/>
                <a:gd name="T22" fmla="*/ 1058 w 1321"/>
                <a:gd name="T23" fmla="*/ 2795 h 2984"/>
                <a:gd name="T24" fmla="*/ 1002 w 1321"/>
                <a:gd name="T25" fmla="*/ 2822 h 2984"/>
                <a:gd name="T26" fmla="*/ 939 w 1321"/>
                <a:gd name="T27" fmla="*/ 2846 h 2984"/>
                <a:gd name="T28" fmla="*/ 873 w 1321"/>
                <a:gd name="T29" fmla="*/ 2868 h 2984"/>
                <a:gd name="T30" fmla="*/ 802 w 1321"/>
                <a:gd name="T31" fmla="*/ 2889 h 2984"/>
                <a:gd name="T32" fmla="*/ 727 w 1321"/>
                <a:gd name="T33" fmla="*/ 2908 h 2984"/>
                <a:gd name="T34" fmla="*/ 649 w 1321"/>
                <a:gd name="T35" fmla="*/ 2925 h 2984"/>
                <a:gd name="T36" fmla="*/ 567 w 1321"/>
                <a:gd name="T37" fmla="*/ 2940 h 2984"/>
                <a:gd name="T38" fmla="*/ 482 w 1321"/>
                <a:gd name="T39" fmla="*/ 2953 h 2984"/>
                <a:gd name="T40" fmla="*/ 394 w 1321"/>
                <a:gd name="T41" fmla="*/ 2964 h 2984"/>
                <a:gd name="T42" fmla="*/ 303 w 1321"/>
                <a:gd name="T43" fmla="*/ 2972 h 2984"/>
                <a:gd name="T44" fmla="*/ 210 w 1321"/>
                <a:gd name="T45" fmla="*/ 2979 h 2984"/>
                <a:gd name="T46" fmla="*/ 115 w 1321"/>
                <a:gd name="T47" fmla="*/ 2983 h 2984"/>
                <a:gd name="T48" fmla="*/ 17 w 1321"/>
                <a:gd name="T49" fmla="*/ 2984 h 2984"/>
                <a:gd name="T50" fmla="*/ 0 w 1321"/>
                <a:gd name="T51" fmla="*/ 2984 h 2984"/>
                <a:gd name="T52" fmla="*/ 0 w 1321"/>
                <a:gd name="T5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21" h="2984">
                  <a:moveTo>
                    <a:pt x="0" y="0"/>
                  </a:moveTo>
                  <a:lnTo>
                    <a:pt x="1321" y="0"/>
                  </a:lnTo>
                  <a:lnTo>
                    <a:pt x="1321" y="2512"/>
                  </a:lnTo>
                  <a:lnTo>
                    <a:pt x="1318" y="2547"/>
                  </a:lnTo>
                  <a:lnTo>
                    <a:pt x="1308" y="2582"/>
                  </a:lnTo>
                  <a:lnTo>
                    <a:pt x="1290" y="2615"/>
                  </a:lnTo>
                  <a:lnTo>
                    <a:pt x="1266" y="2648"/>
                  </a:lnTo>
                  <a:lnTo>
                    <a:pt x="1236" y="2680"/>
                  </a:lnTo>
                  <a:lnTo>
                    <a:pt x="1200" y="2711"/>
                  </a:lnTo>
                  <a:lnTo>
                    <a:pt x="1159" y="2740"/>
                  </a:lnTo>
                  <a:lnTo>
                    <a:pt x="1112" y="2769"/>
                  </a:lnTo>
                  <a:lnTo>
                    <a:pt x="1058" y="2795"/>
                  </a:lnTo>
                  <a:lnTo>
                    <a:pt x="1002" y="2822"/>
                  </a:lnTo>
                  <a:lnTo>
                    <a:pt x="939" y="2846"/>
                  </a:lnTo>
                  <a:lnTo>
                    <a:pt x="873" y="2868"/>
                  </a:lnTo>
                  <a:lnTo>
                    <a:pt x="802" y="2889"/>
                  </a:lnTo>
                  <a:lnTo>
                    <a:pt x="727" y="2908"/>
                  </a:lnTo>
                  <a:lnTo>
                    <a:pt x="649" y="2925"/>
                  </a:lnTo>
                  <a:lnTo>
                    <a:pt x="567" y="2940"/>
                  </a:lnTo>
                  <a:lnTo>
                    <a:pt x="482" y="2953"/>
                  </a:lnTo>
                  <a:lnTo>
                    <a:pt x="394" y="2964"/>
                  </a:lnTo>
                  <a:lnTo>
                    <a:pt x="303" y="2972"/>
                  </a:lnTo>
                  <a:lnTo>
                    <a:pt x="210" y="2979"/>
                  </a:lnTo>
                  <a:lnTo>
                    <a:pt x="115" y="2983"/>
                  </a:lnTo>
                  <a:lnTo>
                    <a:pt x="17" y="2984"/>
                  </a:lnTo>
                  <a:lnTo>
                    <a:pt x="0" y="2984"/>
                  </a:lnTo>
                  <a:lnTo>
                    <a:pt x="0" y="0"/>
                  </a:lnTo>
                  <a:close/>
                </a:path>
              </a:pathLst>
            </a:custGeom>
            <a:solidFill>
              <a:srgbClr val="A0A1A2"/>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3264" b="0"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88" name="Freeform 8">
              <a:extLst/>
            </p:cNvPr>
            <p:cNvSpPr>
              <a:spLocks/>
            </p:cNvSpPr>
            <p:nvPr/>
          </p:nvSpPr>
          <p:spPr bwMode="auto">
            <a:xfrm>
              <a:off x="-1349898" y="1730515"/>
              <a:ext cx="2172475" cy="828194"/>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rgbClr val="FFFFFF"/>
            </a:solidFill>
            <a:ln w="0">
              <a:solidFill>
                <a:srgbClr val="FFFFFF"/>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3264" b="0"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89" name="Freeform 9">
              <a:extLst/>
            </p:cNvPr>
            <p:cNvSpPr>
              <a:spLocks/>
            </p:cNvSpPr>
            <p:nvPr/>
          </p:nvSpPr>
          <p:spPr bwMode="auto">
            <a:xfrm>
              <a:off x="-1125164" y="1848830"/>
              <a:ext cx="1722997" cy="544242"/>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8BBF0B"/>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3264" b="0"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90" name="Freeform 10">
              <a:extLst/>
            </p:cNvPr>
            <p:cNvSpPr>
              <a:spLocks/>
            </p:cNvSpPr>
            <p:nvPr/>
          </p:nvSpPr>
          <p:spPr bwMode="auto">
            <a:xfrm>
              <a:off x="-1125164" y="1848830"/>
              <a:ext cx="1722997" cy="441705"/>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B2D123"/>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3264" b="0"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91" name="Freeform: Shape 190">
              <a:extLst/>
            </p:cNvPr>
            <p:cNvSpPr>
              <a:spLocks/>
            </p:cNvSpPr>
            <p:nvPr/>
          </p:nvSpPr>
          <p:spPr bwMode="auto">
            <a:xfrm>
              <a:off x="-1349908" y="3502433"/>
              <a:ext cx="2172475" cy="1256896"/>
            </a:xfrm>
            <a:custGeom>
              <a:avLst/>
              <a:gdLst>
                <a:gd name="connsiteX0" fmla="*/ 1437111 w 2172475"/>
                <a:gd name="connsiteY0" fmla="*/ 0 h 1256896"/>
                <a:gd name="connsiteX1" fmla="*/ 1485999 w 2172475"/>
                <a:gd name="connsiteY1" fmla="*/ 58554 h 1256896"/>
                <a:gd name="connsiteX2" fmla="*/ 1831066 w 2172475"/>
                <a:gd name="connsiteY2" fmla="*/ 199801 h 1256896"/>
                <a:gd name="connsiteX3" fmla="*/ 2103911 w 2172475"/>
                <a:gd name="connsiteY3" fmla="*/ 117441 h 1256896"/>
                <a:gd name="connsiteX4" fmla="*/ 2172475 w 2172475"/>
                <a:gd name="connsiteY4" fmla="*/ 61536 h 1256896"/>
                <a:gd name="connsiteX5" fmla="*/ 2172475 w 2172475"/>
                <a:gd name="connsiteY5" fmla="*/ 842684 h 1256896"/>
                <a:gd name="connsiteX6" fmla="*/ 2169976 w 2172475"/>
                <a:gd name="connsiteY6" fmla="*/ 873399 h 1256896"/>
                <a:gd name="connsiteX7" fmla="*/ 2161646 w 2172475"/>
                <a:gd name="connsiteY7" fmla="*/ 904114 h 1256896"/>
                <a:gd name="connsiteX8" fmla="*/ 2146652 w 2172475"/>
                <a:gd name="connsiteY8" fmla="*/ 933073 h 1256896"/>
                <a:gd name="connsiteX9" fmla="*/ 2126660 w 2172475"/>
                <a:gd name="connsiteY9" fmla="*/ 962033 h 1256896"/>
                <a:gd name="connsiteX10" fmla="*/ 2101670 w 2172475"/>
                <a:gd name="connsiteY10" fmla="*/ 990115 h 1256896"/>
                <a:gd name="connsiteX11" fmla="*/ 2071682 w 2172475"/>
                <a:gd name="connsiteY11" fmla="*/ 1017320 h 1256896"/>
                <a:gd name="connsiteX12" fmla="*/ 2037528 w 2172475"/>
                <a:gd name="connsiteY12" fmla="*/ 1043647 h 1256896"/>
                <a:gd name="connsiteX13" fmla="*/ 1998377 w 2172475"/>
                <a:gd name="connsiteY13" fmla="*/ 1068219 h 1256896"/>
                <a:gd name="connsiteX14" fmla="*/ 1954228 w 2172475"/>
                <a:gd name="connsiteY14" fmla="*/ 1091036 h 1256896"/>
                <a:gd name="connsiteX15" fmla="*/ 1906747 w 2172475"/>
                <a:gd name="connsiteY15" fmla="*/ 1114730 h 1256896"/>
                <a:gd name="connsiteX16" fmla="*/ 1854267 w 2172475"/>
                <a:gd name="connsiteY16" fmla="*/ 1135792 h 1256896"/>
                <a:gd name="connsiteX17" fmla="*/ 1799289 w 2172475"/>
                <a:gd name="connsiteY17" fmla="*/ 1155098 h 1256896"/>
                <a:gd name="connsiteX18" fmla="*/ 1740146 w 2172475"/>
                <a:gd name="connsiteY18" fmla="*/ 1173527 h 1256896"/>
                <a:gd name="connsiteX19" fmla="*/ 1677671 w 2172475"/>
                <a:gd name="connsiteY19" fmla="*/ 1190201 h 1256896"/>
                <a:gd name="connsiteX20" fmla="*/ 1612696 w 2172475"/>
                <a:gd name="connsiteY20" fmla="*/ 1205120 h 1256896"/>
                <a:gd name="connsiteX21" fmla="*/ 1544390 w 2172475"/>
                <a:gd name="connsiteY21" fmla="*/ 1218283 h 1256896"/>
                <a:gd name="connsiteX22" fmla="*/ 1473585 w 2172475"/>
                <a:gd name="connsiteY22" fmla="*/ 1229692 h 1256896"/>
                <a:gd name="connsiteX23" fmla="*/ 1400280 w 2172475"/>
                <a:gd name="connsiteY23" fmla="*/ 1239345 h 1256896"/>
                <a:gd name="connsiteX24" fmla="*/ 1324477 w 2172475"/>
                <a:gd name="connsiteY24" fmla="*/ 1246365 h 1256896"/>
                <a:gd name="connsiteX25" fmla="*/ 1247007 w 2172475"/>
                <a:gd name="connsiteY25" fmla="*/ 1252508 h 1256896"/>
                <a:gd name="connsiteX26" fmla="*/ 1167872 w 2172475"/>
                <a:gd name="connsiteY26" fmla="*/ 1256019 h 1256896"/>
                <a:gd name="connsiteX27" fmla="*/ 1086238 w 2172475"/>
                <a:gd name="connsiteY27" fmla="*/ 1256896 h 1256896"/>
                <a:gd name="connsiteX28" fmla="*/ 1084572 w 2172475"/>
                <a:gd name="connsiteY28" fmla="*/ 1256896 h 1256896"/>
                <a:gd name="connsiteX29" fmla="*/ 1072076 w 2172475"/>
                <a:gd name="connsiteY29" fmla="*/ 1256896 h 1256896"/>
                <a:gd name="connsiteX30" fmla="*/ 991275 w 2172475"/>
                <a:gd name="connsiteY30" fmla="*/ 1255141 h 1256896"/>
                <a:gd name="connsiteX31" fmla="*/ 912973 w 2172475"/>
                <a:gd name="connsiteY31" fmla="*/ 1251631 h 1256896"/>
                <a:gd name="connsiteX32" fmla="*/ 837169 w 2172475"/>
                <a:gd name="connsiteY32" fmla="*/ 1245488 h 1256896"/>
                <a:gd name="connsiteX33" fmla="*/ 762199 w 2172475"/>
                <a:gd name="connsiteY33" fmla="*/ 1237590 h 1256896"/>
                <a:gd name="connsiteX34" fmla="*/ 689728 w 2172475"/>
                <a:gd name="connsiteY34" fmla="*/ 1228814 h 1256896"/>
                <a:gd name="connsiteX35" fmla="*/ 619755 w 2172475"/>
                <a:gd name="connsiteY35" fmla="*/ 1216528 h 1256896"/>
                <a:gd name="connsiteX36" fmla="*/ 552282 w 2172475"/>
                <a:gd name="connsiteY36" fmla="*/ 1202487 h 1256896"/>
                <a:gd name="connsiteX37" fmla="*/ 488141 w 2172475"/>
                <a:gd name="connsiteY37" fmla="*/ 1187568 h 1256896"/>
                <a:gd name="connsiteX38" fmla="*/ 427331 w 2172475"/>
                <a:gd name="connsiteY38" fmla="*/ 1171772 h 1256896"/>
                <a:gd name="connsiteX39" fmla="*/ 368188 w 2172475"/>
                <a:gd name="connsiteY39" fmla="*/ 1153343 h 1256896"/>
                <a:gd name="connsiteX40" fmla="*/ 314043 w 2172475"/>
                <a:gd name="connsiteY40" fmla="*/ 1134037 h 1256896"/>
                <a:gd name="connsiteX41" fmla="*/ 263229 w 2172475"/>
                <a:gd name="connsiteY41" fmla="*/ 1112975 h 1256896"/>
                <a:gd name="connsiteX42" fmla="*/ 215748 w 2172475"/>
                <a:gd name="connsiteY42" fmla="*/ 1089281 h 1256896"/>
                <a:gd name="connsiteX43" fmla="*/ 173265 w 2172475"/>
                <a:gd name="connsiteY43" fmla="*/ 1066464 h 1256896"/>
                <a:gd name="connsiteX44" fmla="*/ 134947 w 2172475"/>
                <a:gd name="connsiteY44" fmla="*/ 1041892 h 1256896"/>
                <a:gd name="connsiteX45" fmla="*/ 99961 w 2172475"/>
                <a:gd name="connsiteY45" fmla="*/ 1016442 h 1256896"/>
                <a:gd name="connsiteX46" fmla="*/ 70805 w 2172475"/>
                <a:gd name="connsiteY46" fmla="*/ 988360 h 1256896"/>
                <a:gd name="connsiteX47" fmla="*/ 45815 w 2172475"/>
                <a:gd name="connsiteY47" fmla="*/ 961156 h 1256896"/>
                <a:gd name="connsiteX48" fmla="*/ 26656 w 2172475"/>
                <a:gd name="connsiteY48" fmla="*/ 932196 h 1256896"/>
                <a:gd name="connsiteX49" fmla="*/ 12495 w 2172475"/>
                <a:gd name="connsiteY49" fmla="*/ 903236 h 1256896"/>
                <a:gd name="connsiteX50" fmla="*/ 4165 w 2172475"/>
                <a:gd name="connsiteY50" fmla="*/ 872521 h 1256896"/>
                <a:gd name="connsiteX51" fmla="*/ 0 w 2172475"/>
                <a:gd name="connsiteY51" fmla="*/ 842684 h 1256896"/>
                <a:gd name="connsiteX52" fmla="*/ 0 w 2172475"/>
                <a:gd name="connsiteY52" fmla="*/ 75824 h 1256896"/>
                <a:gd name="connsiteX53" fmla="*/ 51041 w 2172475"/>
                <a:gd name="connsiteY53" fmla="*/ 117441 h 1256896"/>
                <a:gd name="connsiteX54" fmla="*/ 323886 w 2172475"/>
                <a:gd name="connsiteY54" fmla="*/ 199801 h 1256896"/>
                <a:gd name="connsiteX55" fmla="*/ 668952 w 2172475"/>
                <a:gd name="connsiteY55" fmla="*/ 58554 h 1256896"/>
                <a:gd name="connsiteX56" fmla="*/ 683521 w 2172475"/>
                <a:gd name="connsiteY56" fmla="*/ 41106 h 1256896"/>
                <a:gd name="connsiteX57" fmla="*/ 698089 w 2172475"/>
                <a:gd name="connsiteY57" fmla="*/ 58554 h 1256896"/>
                <a:gd name="connsiteX58" fmla="*/ 1043156 w 2172475"/>
                <a:gd name="connsiteY58" fmla="*/ 199801 h 1256896"/>
                <a:gd name="connsiteX59" fmla="*/ 1388223 w 2172475"/>
                <a:gd name="connsiteY59" fmla="*/ 58554 h 1256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2172475" h="1256896">
                  <a:moveTo>
                    <a:pt x="1437111" y="0"/>
                  </a:moveTo>
                  <a:lnTo>
                    <a:pt x="1485999" y="58554"/>
                  </a:lnTo>
                  <a:cubicBezTo>
                    <a:pt x="1574309" y="145823"/>
                    <a:pt x="1696309" y="199801"/>
                    <a:pt x="1831066" y="199801"/>
                  </a:cubicBezTo>
                  <a:cubicBezTo>
                    <a:pt x="1932134" y="199801"/>
                    <a:pt x="2026025" y="169439"/>
                    <a:pt x="2103911" y="117441"/>
                  </a:cubicBezTo>
                  <a:lnTo>
                    <a:pt x="2172475" y="61536"/>
                  </a:lnTo>
                  <a:lnTo>
                    <a:pt x="2172475" y="842684"/>
                  </a:lnTo>
                  <a:lnTo>
                    <a:pt x="2169976" y="873399"/>
                  </a:lnTo>
                  <a:lnTo>
                    <a:pt x="2161646" y="904114"/>
                  </a:lnTo>
                  <a:lnTo>
                    <a:pt x="2146652" y="933073"/>
                  </a:lnTo>
                  <a:lnTo>
                    <a:pt x="2126660" y="962033"/>
                  </a:lnTo>
                  <a:lnTo>
                    <a:pt x="2101670" y="990115"/>
                  </a:lnTo>
                  <a:lnTo>
                    <a:pt x="2071682" y="1017320"/>
                  </a:lnTo>
                  <a:lnTo>
                    <a:pt x="2037528" y="1043647"/>
                  </a:lnTo>
                  <a:lnTo>
                    <a:pt x="1998377" y="1068219"/>
                  </a:lnTo>
                  <a:lnTo>
                    <a:pt x="1954228" y="1091036"/>
                  </a:lnTo>
                  <a:lnTo>
                    <a:pt x="1906747" y="1114730"/>
                  </a:lnTo>
                  <a:lnTo>
                    <a:pt x="1854267" y="1135792"/>
                  </a:lnTo>
                  <a:lnTo>
                    <a:pt x="1799289" y="1155098"/>
                  </a:lnTo>
                  <a:lnTo>
                    <a:pt x="1740146" y="1173527"/>
                  </a:lnTo>
                  <a:lnTo>
                    <a:pt x="1677671" y="1190201"/>
                  </a:lnTo>
                  <a:lnTo>
                    <a:pt x="1612696" y="1205120"/>
                  </a:lnTo>
                  <a:lnTo>
                    <a:pt x="1544390" y="1218283"/>
                  </a:lnTo>
                  <a:lnTo>
                    <a:pt x="1473585" y="1229692"/>
                  </a:lnTo>
                  <a:lnTo>
                    <a:pt x="1400280" y="1239345"/>
                  </a:lnTo>
                  <a:lnTo>
                    <a:pt x="1324477" y="1246365"/>
                  </a:lnTo>
                  <a:lnTo>
                    <a:pt x="1247007" y="1252508"/>
                  </a:lnTo>
                  <a:lnTo>
                    <a:pt x="1167872" y="1256019"/>
                  </a:lnTo>
                  <a:lnTo>
                    <a:pt x="1086238" y="1256896"/>
                  </a:lnTo>
                  <a:lnTo>
                    <a:pt x="1084572" y="1256896"/>
                  </a:lnTo>
                  <a:lnTo>
                    <a:pt x="1072076" y="1256896"/>
                  </a:lnTo>
                  <a:lnTo>
                    <a:pt x="991275" y="1255141"/>
                  </a:lnTo>
                  <a:lnTo>
                    <a:pt x="912973" y="1251631"/>
                  </a:lnTo>
                  <a:lnTo>
                    <a:pt x="837169" y="1245488"/>
                  </a:lnTo>
                  <a:lnTo>
                    <a:pt x="762199" y="1237590"/>
                  </a:lnTo>
                  <a:lnTo>
                    <a:pt x="689728" y="1228814"/>
                  </a:lnTo>
                  <a:lnTo>
                    <a:pt x="619755" y="1216528"/>
                  </a:lnTo>
                  <a:lnTo>
                    <a:pt x="552282" y="1202487"/>
                  </a:lnTo>
                  <a:lnTo>
                    <a:pt x="488141" y="1187568"/>
                  </a:lnTo>
                  <a:lnTo>
                    <a:pt x="427331" y="1171772"/>
                  </a:lnTo>
                  <a:lnTo>
                    <a:pt x="368188" y="1153343"/>
                  </a:lnTo>
                  <a:lnTo>
                    <a:pt x="314043" y="1134037"/>
                  </a:lnTo>
                  <a:lnTo>
                    <a:pt x="263229" y="1112975"/>
                  </a:lnTo>
                  <a:lnTo>
                    <a:pt x="215748" y="1089281"/>
                  </a:lnTo>
                  <a:lnTo>
                    <a:pt x="173265" y="1066464"/>
                  </a:lnTo>
                  <a:lnTo>
                    <a:pt x="134947" y="1041892"/>
                  </a:lnTo>
                  <a:lnTo>
                    <a:pt x="99961" y="1016442"/>
                  </a:lnTo>
                  <a:lnTo>
                    <a:pt x="70805" y="988360"/>
                  </a:lnTo>
                  <a:lnTo>
                    <a:pt x="45815" y="961156"/>
                  </a:lnTo>
                  <a:lnTo>
                    <a:pt x="26656" y="932196"/>
                  </a:lnTo>
                  <a:lnTo>
                    <a:pt x="12495" y="903236"/>
                  </a:lnTo>
                  <a:lnTo>
                    <a:pt x="4165" y="872521"/>
                  </a:lnTo>
                  <a:lnTo>
                    <a:pt x="0" y="842684"/>
                  </a:lnTo>
                  <a:lnTo>
                    <a:pt x="0" y="75824"/>
                  </a:lnTo>
                  <a:lnTo>
                    <a:pt x="51041" y="117441"/>
                  </a:lnTo>
                  <a:cubicBezTo>
                    <a:pt x="128926" y="169439"/>
                    <a:pt x="222818" y="199801"/>
                    <a:pt x="323886" y="199801"/>
                  </a:cubicBezTo>
                  <a:cubicBezTo>
                    <a:pt x="458642" y="199801"/>
                    <a:pt x="580642" y="145823"/>
                    <a:pt x="668952" y="58554"/>
                  </a:cubicBezTo>
                  <a:lnTo>
                    <a:pt x="683521" y="41106"/>
                  </a:lnTo>
                  <a:lnTo>
                    <a:pt x="698089" y="58554"/>
                  </a:lnTo>
                  <a:cubicBezTo>
                    <a:pt x="786399" y="145823"/>
                    <a:pt x="908399" y="199801"/>
                    <a:pt x="1043156" y="199801"/>
                  </a:cubicBezTo>
                  <a:cubicBezTo>
                    <a:pt x="1177913" y="199801"/>
                    <a:pt x="1299912" y="145823"/>
                    <a:pt x="1388223" y="58554"/>
                  </a:cubicBezTo>
                  <a:close/>
                </a:path>
              </a:pathLst>
            </a:custGeom>
            <a:solidFill>
              <a:srgbClr val="3898C5"/>
            </a:solidFill>
            <a:ln w="0">
              <a:solidFill>
                <a:srgbClr val="3999C6"/>
              </a:solidFill>
              <a:prstDash val="solid"/>
              <a:round/>
              <a:headEnd/>
              <a:tailEnd/>
            </a:ln>
          </p:spPr>
          <p:txBody>
            <a:bodyPr vert="horz" wrap="square" lIns="93260" tIns="46630" rIns="93260" bIns="46630" numCol="1" anchor="t" anchorCtr="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3264" b="0"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92" name="Freeform: Shape 191">
              <a:extLst/>
            </p:cNvPr>
            <p:cNvSpPr>
              <a:spLocks/>
            </p:cNvSpPr>
            <p:nvPr/>
          </p:nvSpPr>
          <p:spPr bwMode="auto">
            <a:xfrm>
              <a:off x="-294994" y="3502433"/>
              <a:ext cx="1117561" cy="1256896"/>
            </a:xfrm>
            <a:custGeom>
              <a:avLst/>
              <a:gdLst>
                <a:gd name="connsiteX0" fmla="*/ 382197 w 1117561"/>
                <a:gd name="connsiteY0" fmla="*/ 0 h 1256896"/>
                <a:gd name="connsiteX1" fmla="*/ 431085 w 1117561"/>
                <a:gd name="connsiteY1" fmla="*/ 58554 h 1256896"/>
                <a:gd name="connsiteX2" fmla="*/ 776152 w 1117561"/>
                <a:gd name="connsiteY2" fmla="*/ 199801 h 1256896"/>
                <a:gd name="connsiteX3" fmla="*/ 1048997 w 1117561"/>
                <a:gd name="connsiteY3" fmla="*/ 117441 h 1256896"/>
                <a:gd name="connsiteX4" fmla="*/ 1117561 w 1117561"/>
                <a:gd name="connsiteY4" fmla="*/ 61536 h 1256896"/>
                <a:gd name="connsiteX5" fmla="*/ 1117561 w 1117561"/>
                <a:gd name="connsiteY5" fmla="*/ 842684 h 1256896"/>
                <a:gd name="connsiteX6" fmla="*/ 1115062 w 1117561"/>
                <a:gd name="connsiteY6" fmla="*/ 873399 h 1256896"/>
                <a:gd name="connsiteX7" fmla="*/ 1106732 w 1117561"/>
                <a:gd name="connsiteY7" fmla="*/ 904114 h 1256896"/>
                <a:gd name="connsiteX8" fmla="*/ 1091738 w 1117561"/>
                <a:gd name="connsiteY8" fmla="*/ 933073 h 1256896"/>
                <a:gd name="connsiteX9" fmla="*/ 1071746 w 1117561"/>
                <a:gd name="connsiteY9" fmla="*/ 962033 h 1256896"/>
                <a:gd name="connsiteX10" fmla="*/ 1046756 w 1117561"/>
                <a:gd name="connsiteY10" fmla="*/ 990115 h 1256896"/>
                <a:gd name="connsiteX11" fmla="*/ 1016768 w 1117561"/>
                <a:gd name="connsiteY11" fmla="*/ 1017320 h 1256896"/>
                <a:gd name="connsiteX12" fmla="*/ 982614 w 1117561"/>
                <a:gd name="connsiteY12" fmla="*/ 1043647 h 1256896"/>
                <a:gd name="connsiteX13" fmla="*/ 943463 w 1117561"/>
                <a:gd name="connsiteY13" fmla="*/ 1068219 h 1256896"/>
                <a:gd name="connsiteX14" fmla="*/ 899314 w 1117561"/>
                <a:gd name="connsiteY14" fmla="*/ 1091036 h 1256896"/>
                <a:gd name="connsiteX15" fmla="*/ 851833 w 1117561"/>
                <a:gd name="connsiteY15" fmla="*/ 1114730 h 1256896"/>
                <a:gd name="connsiteX16" fmla="*/ 799353 w 1117561"/>
                <a:gd name="connsiteY16" fmla="*/ 1135792 h 1256896"/>
                <a:gd name="connsiteX17" fmla="*/ 744375 w 1117561"/>
                <a:gd name="connsiteY17" fmla="*/ 1155098 h 1256896"/>
                <a:gd name="connsiteX18" fmla="*/ 685232 w 1117561"/>
                <a:gd name="connsiteY18" fmla="*/ 1173527 h 1256896"/>
                <a:gd name="connsiteX19" fmla="*/ 622757 w 1117561"/>
                <a:gd name="connsiteY19" fmla="*/ 1190201 h 1256896"/>
                <a:gd name="connsiteX20" fmla="*/ 557782 w 1117561"/>
                <a:gd name="connsiteY20" fmla="*/ 1205120 h 1256896"/>
                <a:gd name="connsiteX21" fmla="*/ 489476 w 1117561"/>
                <a:gd name="connsiteY21" fmla="*/ 1218283 h 1256896"/>
                <a:gd name="connsiteX22" fmla="*/ 418671 w 1117561"/>
                <a:gd name="connsiteY22" fmla="*/ 1229692 h 1256896"/>
                <a:gd name="connsiteX23" fmla="*/ 345366 w 1117561"/>
                <a:gd name="connsiteY23" fmla="*/ 1239345 h 1256896"/>
                <a:gd name="connsiteX24" fmla="*/ 269563 w 1117561"/>
                <a:gd name="connsiteY24" fmla="*/ 1246365 h 1256896"/>
                <a:gd name="connsiteX25" fmla="*/ 192093 w 1117561"/>
                <a:gd name="connsiteY25" fmla="*/ 1252508 h 1256896"/>
                <a:gd name="connsiteX26" fmla="*/ 112958 w 1117561"/>
                <a:gd name="connsiteY26" fmla="*/ 1256019 h 1256896"/>
                <a:gd name="connsiteX27" fmla="*/ 31324 w 1117561"/>
                <a:gd name="connsiteY27" fmla="*/ 1256896 h 1256896"/>
                <a:gd name="connsiteX28" fmla="*/ 29658 w 1117561"/>
                <a:gd name="connsiteY28" fmla="*/ 1256896 h 1256896"/>
                <a:gd name="connsiteX29" fmla="*/ 17162 w 1117561"/>
                <a:gd name="connsiteY29" fmla="*/ 1256896 h 1256896"/>
                <a:gd name="connsiteX30" fmla="*/ 0 w 1117561"/>
                <a:gd name="connsiteY30" fmla="*/ 1256523 h 1256896"/>
                <a:gd name="connsiteX31" fmla="*/ 0 w 1117561"/>
                <a:gd name="connsiteY31" fmla="*/ 198630 h 1256896"/>
                <a:gd name="connsiteX32" fmla="*/ 86591 w 1117561"/>
                <a:gd name="connsiteY32" fmla="*/ 190003 h 1256896"/>
                <a:gd name="connsiteX33" fmla="*/ 333309 w 1117561"/>
                <a:gd name="connsiteY33" fmla="*/ 58554 h 1256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17561" h="1256896">
                  <a:moveTo>
                    <a:pt x="382197" y="0"/>
                  </a:moveTo>
                  <a:lnTo>
                    <a:pt x="431085" y="58554"/>
                  </a:lnTo>
                  <a:cubicBezTo>
                    <a:pt x="519395" y="145823"/>
                    <a:pt x="641395" y="199801"/>
                    <a:pt x="776152" y="199801"/>
                  </a:cubicBezTo>
                  <a:cubicBezTo>
                    <a:pt x="877220" y="199801"/>
                    <a:pt x="971111" y="169439"/>
                    <a:pt x="1048997" y="117441"/>
                  </a:cubicBezTo>
                  <a:lnTo>
                    <a:pt x="1117561" y="61536"/>
                  </a:lnTo>
                  <a:lnTo>
                    <a:pt x="1117561" y="842684"/>
                  </a:lnTo>
                  <a:lnTo>
                    <a:pt x="1115062" y="873399"/>
                  </a:lnTo>
                  <a:lnTo>
                    <a:pt x="1106732" y="904114"/>
                  </a:lnTo>
                  <a:lnTo>
                    <a:pt x="1091738" y="933073"/>
                  </a:lnTo>
                  <a:lnTo>
                    <a:pt x="1071746" y="962033"/>
                  </a:lnTo>
                  <a:lnTo>
                    <a:pt x="1046756" y="990115"/>
                  </a:lnTo>
                  <a:lnTo>
                    <a:pt x="1016768" y="1017320"/>
                  </a:lnTo>
                  <a:lnTo>
                    <a:pt x="982614" y="1043647"/>
                  </a:lnTo>
                  <a:lnTo>
                    <a:pt x="943463" y="1068219"/>
                  </a:lnTo>
                  <a:lnTo>
                    <a:pt x="899314" y="1091036"/>
                  </a:lnTo>
                  <a:lnTo>
                    <a:pt x="851833" y="1114730"/>
                  </a:lnTo>
                  <a:lnTo>
                    <a:pt x="799353" y="1135792"/>
                  </a:lnTo>
                  <a:lnTo>
                    <a:pt x="744375" y="1155098"/>
                  </a:lnTo>
                  <a:lnTo>
                    <a:pt x="685232" y="1173527"/>
                  </a:lnTo>
                  <a:lnTo>
                    <a:pt x="622757" y="1190201"/>
                  </a:lnTo>
                  <a:lnTo>
                    <a:pt x="557782" y="1205120"/>
                  </a:lnTo>
                  <a:lnTo>
                    <a:pt x="489476" y="1218283"/>
                  </a:lnTo>
                  <a:lnTo>
                    <a:pt x="418671" y="1229692"/>
                  </a:lnTo>
                  <a:lnTo>
                    <a:pt x="345366" y="1239345"/>
                  </a:lnTo>
                  <a:lnTo>
                    <a:pt x="269563" y="1246365"/>
                  </a:lnTo>
                  <a:lnTo>
                    <a:pt x="192093" y="1252508"/>
                  </a:lnTo>
                  <a:lnTo>
                    <a:pt x="112958" y="1256019"/>
                  </a:lnTo>
                  <a:lnTo>
                    <a:pt x="31324" y="1256896"/>
                  </a:lnTo>
                  <a:lnTo>
                    <a:pt x="29658" y="1256896"/>
                  </a:lnTo>
                  <a:lnTo>
                    <a:pt x="17162" y="1256896"/>
                  </a:lnTo>
                  <a:lnTo>
                    <a:pt x="0" y="1256523"/>
                  </a:lnTo>
                  <a:lnTo>
                    <a:pt x="0" y="198630"/>
                  </a:lnTo>
                  <a:lnTo>
                    <a:pt x="86591" y="190003"/>
                  </a:lnTo>
                  <a:cubicBezTo>
                    <a:pt x="181893" y="170731"/>
                    <a:pt x="267076" y="124006"/>
                    <a:pt x="333309" y="58554"/>
                  </a:cubicBezTo>
                  <a:close/>
                </a:path>
              </a:pathLst>
            </a:custGeom>
            <a:solidFill>
              <a:srgbClr val="59B3D8"/>
            </a:solidFill>
            <a:ln w="0">
              <a:solidFill>
                <a:srgbClr val="3999C6"/>
              </a:solidFill>
              <a:prstDash val="solid"/>
              <a:round/>
              <a:headEnd/>
              <a:tailEnd/>
            </a:ln>
          </p:spPr>
          <p:txBody>
            <a:bodyPr vert="horz" wrap="square" lIns="93260" tIns="46630" rIns="93260" bIns="46630" numCol="1" anchor="t" anchorCtr="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3264" b="0"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sp>
        <p:nvSpPr>
          <p:cNvPr id="299" name="Rectangle 298">
            <a:extLst/>
          </p:cNvPr>
          <p:cNvSpPr/>
          <p:nvPr/>
        </p:nvSpPr>
        <p:spPr>
          <a:xfrm>
            <a:off x="11388235" y="688229"/>
            <a:ext cx="2602317" cy="1280490"/>
          </a:xfrm>
          <a:prstGeom prst="rect">
            <a:avLst/>
          </a:prstGeom>
          <a:noFill/>
          <a:ln w="12700" cap="flat" cmpd="sng" algn="ctr">
            <a:noFill/>
            <a:prstDash val="solid"/>
            <a:miter lim="800000"/>
          </a:ln>
          <a:effectLst/>
        </p:spPr>
        <p:txBody>
          <a:bodyPr rtlCol="0" anchor="ctr"/>
          <a:lstStyle/>
          <a:p>
            <a:pPr marL="0" marR="0" lvl="0" indent="0" algn="l" defTabSz="932131" rtl="0" eaLnBrk="1" fontAlgn="auto" latinLnBrk="0" hangingPunct="1">
              <a:lnSpc>
                <a:spcPct val="100000"/>
              </a:lnSpc>
              <a:spcBef>
                <a:spcPts val="0"/>
              </a:spcBef>
              <a:spcAft>
                <a:spcPts val="0"/>
              </a:spcAft>
              <a:buClrTx/>
              <a:buSzTx/>
              <a:buFontTx/>
              <a:buNone/>
              <a:tabLst/>
              <a:defRPr/>
            </a:pPr>
            <a:r>
              <a:rPr kumimoji="0" lang="en-US" sz="1632" b="1" i="0" u="none" strike="noStrike" kern="0" cap="none" spc="0" normalizeH="0" baseline="0" noProof="0" dirty="0">
                <a:ln>
                  <a:noFill/>
                </a:ln>
                <a:solidFill>
                  <a:prstClr val="black">
                    <a:lumMod val="50000"/>
                    <a:lumOff val="50000"/>
                  </a:prstClr>
                </a:solidFill>
                <a:effectLst/>
                <a:uLnTx/>
                <a:uFillTx/>
                <a:latin typeface="Segoe UI Light"/>
                <a:ea typeface="+mn-ea"/>
                <a:cs typeface="Segoe UI" panose="020B0502040204020203" pitchFamily="34" charset="0"/>
              </a:rPr>
              <a:t>BI Tools</a:t>
            </a:r>
            <a:endParaRPr kumimoji="0" lang="en-US" sz="918" b="1" i="0" u="none" strike="noStrike" kern="0" cap="none" spc="0" normalizeH="0" baseline="0" noProof="0" dirty="0">
              <a:ln>
                <a:noFill/>
              </a:ln>
              <a:solidFill>
                <a:prstClr val="black">
                  <a:lumMod val="50000"/>
                  <a:lumOff val="50000"/>
                </a:prstClr>
              </a:solidFill>
              <a:effectLst/>
              <a:uLnTx/>
              <a:uFillTx/>
              <a:latin typeface="Segoe UI Light"/>
              <a:ea typeface="+mn-ea"/>
              <a:cs typeface="Segoe UI" panose="020B0502040204020203" pitchFamily="34" charset="0"/>
            </a:endParaRPr>
          </a:p>
        </p:txBody>
      </p:sp>
      <p:sp>
        <p:nvSpPr>
          <p:cNvPr id="303" name="Rectangle 302">
            <a:extLst/>
          </p:cNvPr>
          <p:cNvSpPr/>
          <p:nvPr/>
        </p:nvSpPr>
        <p:spPr>
          <a:xfrm>
            <a:off x="11107072" y="2945691"/>
            <a:ext cx="2602317" cy="1280490"/>
          </a:xfrm>
          <a:prstGeom prst="rect">
            <a:avLst/>
          </a:prstGeom>
          <a:noFill/>
          <a:ln w="12700" cap="flat" cmpd="sng" algn="ctr">
            <a:noFill/>
            <a:prstDash val="solid"/>
            <a:miter lim="800000"/>
          </a:ln>
          <a:effectLst/>
        </p:spPr>
        <p:txBody>
          <a:bodyPr rtlCol="0" anchor="ctr"/>
          <a:lstStyle/>
          <a:p>
            <a:pPr marL="0" marR="0" lvl="0" indent="0" algn="l" defTabSz="932131" rtl="0" eaLnBrk="1" fontAlgn="auto" latinLnBrk="0" hangingPunct="1">
              <a:lnSpc>
                <a:spcPct val="100000"/>
              </a:lnSpc>
              <a:spcBef>
                <a:spcPts val="0"/>
              </a:spcBef>
              <a:spcAft>
                <a:spcPts val="0"/>
              </a:spcAft>
              <a:buClrTx/>
              <a:buSzTx/>
              <a:buFontTx/>
              <a:buNone/>
              <a:tabLst/>
              <a:defRPr/>
            </a:pPr>
            <a:r>
              <a:rPr kumimoji="0" lang="en-US" sz="1632" b="1" i="0" u="none" strike="noStrike" kern="0" cap="none" spc="0" normalizeH="0" baseline="0" noProof="0" dirty="0">
                <a:ln>
                  <a:noFill/>
                </a:ln>
                <a:solidFill>
                  <a:prstClr val="black">
                    <a:lumMod val="50000"/>
                    <a:lumOff val="50000"/>
                  </a:prstClr>
                </a:solidFill>
                <a:effectLst/>
                <a:uLnTx/>
                <a:uFillTx/>
                <a:latin typeface="Segoe UI Light"/>
                <a:ea typeface="+mn-ea"/>
                <a:cs typeface="Segoe UI" panose="020B0502040204020203" pitchFamily="34" charset="0"/>
              </a:rPr>
              <a:t>Dashboards</a:t>
            </a:r>
            <a:endParaRPr kumimoji="0" lang="en-US" sz="918" b="1" i="0" u="none" strike="noStrike" kern="0" cap="none" spc="0" normalizeH="0" baseline="0" noProof="0" dirty="0">
              <a:ln>
                <a:noFill/>
              </a:ln>
              <a:solidFill>
                <a:prstClr val="black">
                  <a:lumMod val="50000"/>
                  <a:lumOff val="50000"/>
                </a:prstClr>
              </a:solidFill>
              <a:effectLst/>
              <a:uLnTx/>
              <a:uFillTx/>
              <a:latin typeface="Segoe UI Light"/>
              <a:ea typeface="+mn-ea"/>
              <a:cs typeface="Segoe UI" panose="020B0502040204020203" pitchFamily="34" charset="0"/>
            </a:endParaRPr>
          </a:p>
        </p:txBody>
      </p:sp>
      <p:sp>
        <p:nvSpPr>
          <p:cNvPr id="304" name="Rectangle 303">
            <a:extLst/>
          </p:cNvPr>
          <p:cNvSpPr/>
          <p:nvPr/>
        </p:nvSpPr>
        <p:spPr>
          <a:xfrm>
            <a:off x="11107072" y="5051381"/>
            <a:ext cx="2602317" cy="1280490"/>
          </a:xfrm>
          <a:prstGeom prst="rect">
            <a:avLst/>
          </a:prstGeom>
          <a:noFill/>
          <a:ln w="12700" cap="flat" cmpd="sng" algn="ctr">
            <a:noFill/>
            <a:prstDash val="solid"/>
            <a:miter lim="800000"/>
          </a:ln>
          <a:effectLst/>
        </p:spPr>
        <p:txBody>
          <a:bodyPr rtlCol="0" anchor="ctr"/>
          <a:lstStyle/>
          <a:p>
            <a:pPr marL="0" marR="0" lvl="0" indent="0" algn="l" defTabSz="932131" rtl="0" eaLnBrk="1" fontAlgn="auto" latinLnBrk="0" hangingPunct="1">
              <a:lnSpc>
                <a:spcPct val="100000"/>
              </a:lnSpc>
              <a:spcBef>
                <a:spcPts val="0"/>
              </a:spcBef>
              <a:spcAft>
                <a:spcPts val="0"/>
              </a:spcAft>
              <a:buClrTx/>
              <a:buSzTx/>
              <a:buFontTx/>
              <a:buNone/>
              <a:tabLst/>
              <a:defRPr/>
            </a:pPr>
            <a:r>
              <a:rPr kumimoji="0" lang="en-US" sz="1632" b="1" i="0" u="none" strike="noStrike" kern="0" cap="none" spc="0" normalizeH="0" baseline="0" noProof="0" dirty="0">
                <a:ln>
                  <a:noFill/>
                </a:ln>
                <a:solidFill>
                  <a:prstClr val="black">
                    <a:lumMod val="50000"/>
                    <a:lumOff val="50000"/>
                  </a:prstClr>
                </a:solidFill>
                <a:effectLst/>
                <a:uLnTx/>
                <a:uFillTx/>
                <a:latin typeface="Segoe UI Light"/>
                <a:ea typeface="+mn-ea"/>
                <a:cs typeface="Segoe UI" panose="020B0502040204020203" pitchFamily="34" charset="0"/>
              </a:rPr>
              <a:t>Apps</a:t>
            </a:r>
            <a:endParaRPr kumimoji="0" lang="en-US" sz="918" b="1" i="0" u="none" strike="noStrike" kern="0" cap="none" spc="0" normalizeH="0" baseline="0" noProof="0" dirty="0">
              <a:ln>
                <a:noFill/>
              </a:ln>
              <a:solidFill>
                <a:prstClr val="black">
                  <a:lumMod val="50000"/>
                  <a:lumOff val="50000"/>
                </a:prstClr>
              </a:solidFill>
              <a:effectLst/>
              <a:uLnTx/>
              <a:uFillTx/>
              <a:latin typeface="Segoe UI Light"/>
              <a:ea typeface="+mn-ea"/>
              <a:cs typeface="Segoe UI" panose="020B0502040204020203" pitchFamily="34" charset="0"/>
            </a:endParaRPr>
          </a:p>
        </p:txBody>
      </p:sp>
      <p:grpSp>
        <p:nvGrpSpPr>
          <p:cNvPr id="305" name="Group 304">
            <a:extLst/>
          </p:cNvPr>
          <p:cNvGrpSpPr>
            <a:grpSpLocks noChangeAspect="1"/>
          </p:cNvGrpSpPr>
          <p:nvPr/>
        </p:nvGrpSpPr>
        <p:grpSpPr>
          <a:xfrm>
            <a:off x="9649546" y="3106373"/>
            <a:ext cx="1437330" cy="954139"/>
            <a:chOff x="-12022284" y="-5000314"/>
            <a:chExt cx="8767064" cy="5979582"/>
          </a:xfrm>
        </p:grpSpPr>
        <p:sp>
          <p:nvSpPr>
            <p:cNvPr id="306" name="Freeform 29">
              <a:extLst/>
            </p:cNvPr>
            <p:cNvSpPr/>
            <p:nvPr/>
          </p:nvSpPr>
          <p:spPr bwMode="auto">
            <a:xfrm>
              <a:off x="-12022284" y="-5000217"/>
              <a:ext cx="8766916" cy="5979485"/>
            </a:xfrm>
            <a:custGeom>
              <a:avLst/>
              <a:gdLst>
                <a:gd name="connsiteX0" fmla="*/ 4216982 w 8766916"/>
                <a:gd name="connsiteY0" fmla="*/ 5580888 h 5979485"/>
                <a:gd name="connsiteX1" fmla="*/ 4178255 w 8766916"/>
                <a:gd name="connsiteY1" fmla="*/ 5596930 h 5979485"/>
                <a:gd name="connsiteX2" fmla="*/ 4162214 w 8766916"/>
                <a:gd name="connsiteY2" fmla="*/ 5635657 h 5979485"/>
                <a:gd name="connsiteX3" fmla="*/ 4162213 w 8766916"/>
                <a:gd name="connsiteY3" fmla="*/ 5635656 h 5979485"/>
                <a:gd name="connsiteX4" fmla="*/ 4162213 w 8766916"/>
                <a:gd name="connsiteY4" fmla="*/ 5635657 h 5979485"/>
                <a:gd name="connsiteX5" fmla="*/ 4162214 w 8766916"/>
                <a:gd name="connsiteY5" fmla="*/ 5635657 h 5979485"/>
                <a:gd name="connsiteX6" fmla="*/ 4178255 w 8766916"/>
                <a:gd name="connsiteY6" fmla="*/ 5674384 h 5979485"/>
                <a:gd name="connsiteX7" fmla="*/ 4216982 w 8766916"/>
                <a:gd name="connsiteY7" fmla="*/ 5690425 h 5979485"/>
                <a:gd name="connsiteX8" fmla="*/ 4549934 w 8766916"/>
                <a:gd name="connsiteY8" fmla="*/ 5690426 h 5979485"/>
                <a:gd name="connsiteX9" fmla="*/ 4604703 w 8766916"/>
                <a:gd name="connsiteY9" fmla="*/ 5635657 h 5979485"/>
                <a:gd name="connsiteX10" fmla="*/ 4604704 w 8766916"/>
                <a:gd name="connsiteY10" fmla="*/ 5635657 h 5979485"/>
                <a:gd name="connsiteX11" fmla="*/ 4549935 w 8766916"/>
                <a:gd name="connsiteY11" fmla="*/ 5580888 h 5979485"/>
                <a:gd name="connsiteX12" fmla="*/ 3969048 w 8766916"/>
                <a:gd name="connsiteY12" fmla="*/ 99945 h 5979485"/>
                <a:gd name="connsiteX13" fmla="*/ 3930321 w 8766916"/>
                <a:gd name="connsiteY13" fmla="*/ 115987 h 5979485"/>
                <a:gd name="connsiteX14" fmla="*/ 3914280 w 8766916"/>
                <a:gd name="connsiteY14" fmla="*/ 154714 h 5979485"/>
                <a:gd name="connsiteX15" fmla="*/ 3914279 w 8766916"/>
                <a:gd name="connsiteY15" fmla="*/ 154713 h 5979485"/>
                <a:gd name="connsiteX16" fmla="*/ 3914279 w 8766916"/>
                <a:gd name="connsiteY16" fmla="*/ 154714 h 5979485"/>
                <a:gd name="connsiteX17" fmla="*/ 3914280 w 8766916"/>
                <a:gd name="connsiteY17" fmla="*/ 154714 h 5979485"/>
                <a:gd name="connsiteX18" fmla="*/ 3930321 w 8766916"/>
                <a:gd name="connsiteY18" fmla="*/ 193441 h 5979485"/>
                <a:gd name="connsiteX19" fmla="*/ 3969048 w 8766916"/>
                <a:gd name="connsiteY19" fmla="*/ 209482 h 5979485"/>
                <a:gd name="connsiteX20" fmla="*/ 4797868 w 8766916"/>
                <a:gd name="connsiteY20" fmla="*/ 209483 h 5979485"/>
                <a:gd name="connsiteX21" fmla="*/ 4852637 w 8766916"/>
                <a:gd name="connsiteY21" fmla="*/ 154714 h 5979485"/>
                <a:gd name="connsiteX22" fmla="*/ 4852638 w 8766916"/>
                <a:gd name="connsiteY22" fmla="*/ 154714 h 5979485"/>
                <a:gd name="connsiteX23" fmla="*/ 4797869 w 8766916"/>
                <a:gd name="connsiteY23" fmla="*/ 99945 h 5979485"/>
                <a:gd name="connsiteX24" fmla="*/ 442123 w 8766916"/>
                <a:gd name="connsiteY24" fmla="*/ 0 h 5979485"/>
                <a:gd name="connsiteX25" fmla="*/ 8324793 w 8766916"/>
                <a:gd name="connsiteY25" fmla="*/ 0 h 5979485"/>
                <a:gd name="connsiteX26" fmla="*/ 8766916 w 8766916"/>
                <a:gd name="connsiteY26" fmla="*/ 442123 h 5979485"/>
                <a:gd name="connsiteX27" fmla="*/ 8766916 w 8766916"/>
                <a:gd name="connsiteY27" fmla="*/ 5537362 h 5979485"/>
                <a:gd name="connsiteX28" fmla="*/ 8324793 w 8766916"/>
                <a:gd name="connsiteY28" fmla="*/ 5979485 h 5979485"/>
                <a:gd name="connsiteX29" fmla="*/ 442123 w 8766916"/>
                <a:gd name="connsiteY29" fmla="*/ 5979485 h 5979485"/>
                <a:gd name="connsiteX30" fmla="*/ 0 w 8766916"/>
                <a:gd name="connsiteY30" fmla="*/ 5537362 h 5979485"/>
                <a:gd name="connsiteX31" fmla="*/ 0 w 8766916"/>
                <a:gd name="connsiteY31" fmla="*/ 442123 h 5979485"/>
                <a:gd name="connsiteX32" fmla="*/ 442123 w 8766916"/>
                <a:gd name="connsiteY32" fmla="*/ 0 h 5979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766916" h="5979485">
                  <a:moveTo>
                    <a:pt x="4216982" y="5580888"/>
                  </a:moveTo>
                  <a:cubicBezTo>
                    <a:pt x="4201858" y="5580888"/>
                    <a:pt x="4188166" y="5587018"/>
                    <a:pt x="4178255" y="5596930"/>
                  </a:cubicBezTo>
                  <a:lnTo>
                    <a:pt x="4162214" y="5635657"/>
                  </a:lnTo>
                  <a:lnTo>
                    <a:pt x="4162213" y="5635656"/>
                  </a:lnTo>
                  <a:lnTo>
                    <a:pt x="4162213" y="5635657"/>
                  </a:lnTo>
                  <a:lnTo>
                    <a:pt x="4162214" y="5635657"/>
                  </a:lnTo>
                  <a:lnTo>
                    <a:pt x="4178255" y="5674384"/>
                  </a:lnTo>
                  <a:cubicBezTo>
                    <a:pt x="4188166" y="5684295"/>
                    <a:pt x="4201858" y="5690425"/>
                    <a:pt x="4216982" y="5690425"/>
                  </a:cubicBezTo>
                  <a:lnTo>
                    <a:pt x="4549934" y="5690426"/>
                  </a:lnTo>
                  <a:cubicBezTo>
                    <a:pt x="4580182" y="5690426"/>
                    <a:pt x="4604703" y="5665905"/>
                    <a:pt x="4604703" y="5635657"/>
                  </a:cubicBezTo>
                  <a:lnTo>
                    <a:pt x="4604704" y="5635657"/>
                  </a:lnTo>
                  <a:cubicBezTo>
                    <a:pt x="4604704" y="5605409"/>
                    <a:pt x="4580183" y="5580888"/>
                    <a:pt x="4549935" y="5580888"/>
                  </a:cubicBezTo>
                  <a:close/>
                  <a:moveTo>
                    <a:pt x="3969048" y="99945"/>
                  </a:moveTo>
                  <a:cubicBezTo>
                    <a:pt x="3953924" y="99945"/>
                    <a:pt x="3940232" y="106076"/>
                    <a:pt x="3930321" y="115987"/>
                  </a:cubicBezTo>
                  <a:lnTo>
                    <a:pt x="3914280" y="154714"/>
                  </a:lnTo>
                  <a:lnTo>
                    <a:pt x="3914279" y="154713"/>
                  </a:lnTo>
                  <a:lnTo>
                    <a:pt x="3914279" y="154714"/>
                  </a:lnTo>
                  <a:lnTo>
                    <a:pt x="3914280" y="154714"/>
                  </a:lnTo>
                  <a:lnTo>
                    <a:pt x="3930321" y="193441"/>
                  </a:lnTo>
                  <a:cubicBezTo>
                    <a:pt x="3940232" y="203352"/>
                    <a:pt x="3953924" y="209482"/>
                    <a:pt x="3969048" y="209482"/>
                  </a:cubicBezTo>
                  <a:lnTo>
                    <a:pt x="4797868" y="209483"/>
                  </a:lnTo>
                  <a:cubicBezTo>
                    <a:pt x="4828116" y="209483"/>
                    <a:pt x="4852637" y="184962"/>
                    <a:pt x="4852637" y="154714"/>
                  </a:cubicBezTo>
                  <a:lnTo>
                    <a:pt x="4852638" y="154714"/>
                  </a:lnTo>
                  <a:cubicBezTo>
                    <a:pt x="4852638" y="124466"/>
                    <a:pt x="4828117" y="99945"/>
                    <a:pt x="4797869" y="99945"/>
                  </a:cubicBezTo>
                  <a:close/>
                  <a:moveTo>
                    <a:pt x="442123" y="0"/>
                  </a:moveTo>
                  <a:lnTo>
                    <a:pt x="8324793" y="0"/>
                  </a:lnTo>
                  <a:cubicBezTo>
                    <a:pt x="8568971" y="0"/>
                    <a:pt x="8766916" y="197945"/>
                    <a:pt x="8766916" y="442123"/>
                  </a:cubicBezTo>
                  <a:lnTo>
                    <a:pt x="8766916" y="5537362"/>
                  </a:lnTo>
                  <a:cubicBezTo>
                    <a:pt x="8766916" y="5781540"/>
                    <a:pt x="8568971" y="5979485"/>
                    <a:pt x="8324793" y="5979485"/>
                  </a:cubicBezTo>
                  <a:lnTo>
                    <a:pt x="442123" y="5979485"/>
                  </a:lnTo>
                  <a:cubicBezTo>
                    <a:pt x="197945" y="5979485"/>
                    <a:pt x="0" y="5781540"/>
                    <a:pt x="0" y="5537362"/>
                  </a:cubicBezTo>
                  <a:lnTo>
                    <a:pt x="0" y="442123"/>
                  </a:lnTo>
                  <a:cubicBezTo>
                    <a:pt x="0" y="197945"/>
                    <a:pt x="197945" y="0"/>
                    <a:pt x="442123"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7" name="Rounded Rectangle 30">
              <a:extLst/>
            </p:cNvPr>
            <p:cNvSpPr/>
            <p:nvPr/>
          </p:nvSpPr>
          <p:spPr bwMode="auto">
            <a:xfrm>
              <a:off x="-11714679" y="-4647716"/>
              <a:ext cx="8151695" cy="5026771"/>
            </a:xfrm>
            <a:prstGeom prst="roundRect">
              <a:avLst>
                <a:gd name="adj" fmla="val 3154"/>
              </a:avLst>
            </a:prstGeom>
            <a:solidFill>
              <a:srgbClr val="A4D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308" name="Group 307">
              <a:extLst/>
            </p:cNvPr>
            <p:cNvGrpSpPr/>
            <p:nvPr/>
          </p:nvGrpSpPr>
          <p:grpSpPr>
            <a:xfrm>
              <a:off x="-11264057" y="-1772551"/>
              <a:ext cx="7136246" cy="1854743"/>
              <a:chOff x="-2260600" y="-1854743"/>
              <a:chExt cx="7136246" cy="1854743"/>
            </a:xfrm>
          </p:grpSpPr>
          <p:sp>
            <p:nvSpPr>
              <p:cNvPr id="344" name="Rectangle 343">
                <a:extLst/>
              </p:cNvPr>
              <p:cNvSpPr/>
              <p:nvPr/>
            </p:nvSpPr>
            <p:spPr bwMode="auto">
              <a:xfrm>
                <a:off x="-1574362" y="-1854743"/>
                <a:ext cx="535215" cy="1792224"/>
              </a:xfrm>
              <a:prstGeom prst="rect">
                <a:avLst/>
              </a:prstGeom>
              <a:solidFill>
                <a:srgbClr val="7FBA4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5" name="Rectangle 344">
                <a:extLst/>
              </p:cNvPr>
              <p:cNvSpPr/>
              <p:nvPr/>
            </p:nvSpPr>
            <p:spPr bwMode="auto">
              <a:xfrm>
                <a:off x="-714156" y="-1854743"/>
                <a:ext cx="535215" cy="1792224"/>
              </a:xfrm>
              <a:prstGeom prst="rect">
                <a:avLst/>
              </a:prstGeom>
              <a:solidFill>
                <a:srgbClr val="7FBA4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6" name="Rectangle 345">
                <a:extLst/>
              </p:cNvPr>
              <p:cNvSpPr/>
              <p:nvPr/>
            </p:nvSpPr>
            <p:spPr bwMode="auto">
              <a:xfrm>
                <a:off x="170239" y="-1854743"/>
                <a:ext cx="535215" cy="1792224"/>
              </a:xfrm>
              <a:prstGeom prst="rect">
                <a:avLst/>
              </a:prstGeom>
              <a:solidFill>
                <a:srgbClr val="7FBA4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7" name="Rectangle 346">
                <a:extLst/>
              </p:cNvPr>
              <p:cNvSpPr/>
              <p:nvPr/>
            </p:nvSpPr>
            <p:spPr bwMode="auto">
              <a:xfrm>
                <a:off x="1064969" y="-1854743"/>
                <a:ext cx="535215" cy="1792224"/>
              </a:xfrm>
              <a:prstGeom prst="rect">
                <a:avLst/>
              </a:prstGeom>
              <a:solidFill>
                <a:srgbClr val="7FBA4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8" name="Rectangle 347">
                <a:extLst/>
              </p:cNvPr>
              <p:cNvSpPr/>
              <p:nvPr/>
            </p:nvSpPr>
            <p:spPr bwMode="auto">
              <a:xfrm>
                <a:off x="1949364" y="-1854743"/>
                <a:ext cx="535215" cy="1792224"/>
              </a:xfrm>
              <a:prstGeom prst="rect">
                <a:avLst/>
              </a:prstGeom>
              <a:solidFill>
                <a:srgbClr val="7FBA4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9" name="Rectangle 348">
                <a:extLst/>
              </p:cNvPr>
              <p:cNvSpPr/>
              <p:nvPr/>
            </p:nvSpPr>
            <p:spPr bwMode="auto">
              <a:xfrm>
                <a:off x="3710240" y="-1854743"/>
                <a:ext cx="535215" cy="1796007"/>
              </a:xfrm>
              <a:prstGeom prst="rect">
                <a:avLst/>
              </a:prstGeom>
              <a:solidFill>
                <a:srgbClr val="7FBA4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0" name="Rectangle 349">
                <a:extLst/>
              </p:cNvPr>
              <p:cNvSpPr/>
              <p:nvPr/>
            </p:nvSpPr>
            <p:spPr bwMode="auto">
              <a:xfrm>
                <a:off x="-1574362" y="-1498600"/>
                <a:ext cx="535215" cy="1498600"/>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1" name="Rectangle 350">
                <a:extLst/>
              </p:cNvPr>
              <p:cNvSpPr/>
              <p:nvPr/>
            </p:nvSpPr>
            <p:spPr bwMode="auto">
              <a:xfrm>
                <a:off x="-714156" y="-1390650"/>
                <a:ext cx="535215" cy="1390650"/>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2" name="Rectangle 351">
                <a:extLst/>
              </p:cNvPr>
              <p:cNvSpPr/>
              <p:nvPr/>
            </p:nvSpPr>
            <p:spPr bwMode="auto">
              <a:xfrm>
                <a:off x="170239" y="-1193800"/>
                <a:ext cx="535215" cy="1193800"/>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3" name="Rectangle 352">
                <a:extLst/>
              </p:cNvPr>
              <p:cNvSpPr/>
              <p:nvPr/>
            </p:nvSpPr>
            <p:spPr bwMode="auto">
              <a:xfrm>
                <a:off x="2833289" y="-1854743"/>
                <a:ext cx="535215" cy="1792224"/>
              </a:xfrm>
              <a:prstGeom prst="rect">
                <a:avLst/>
              </a:prstGeom>
              <a:solidFill>
                <a:srgbClr val="7FBA4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4" name="Rectangle 353">
                <a:extLst/>
              </p:cNvPr>
              <p:cNvSpPr/>
              <p:nvPr/>
            </p:nvSpPr>
            <p:spPr bwMode="auto">
              <a:xfrm>
                <a:off x="1064969" y="-831850"/>
                <a:ext cx="535215" cy="831850"/>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5" name="Rectangle 354">
                <a:extLst/>
              </p:cNvPr>
              <p:cNvSpPr/>
              <p:nvPr/>
            </p:nvSpPr>
            <p:spPr bwMode="auto">
              <a:xfrm>
                <a:off x="1949364" y="-622300"/>
                <a:ext cx="535215" cy="622300"/>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6" name="Rectangle 355">
                <a:extLst/>
              </p:cNvPr>
              <p:cNvSpPr/>
              <p:nvPr/>
            </p:nvSpPr>
            <p:spPr bwMode="auto">
              <a:xfrm>
                <a:off x="2833289" y="-434338"/>
                <a:ext cx="535215" cy="434338"/>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7" name="Rectangle 356">
                <a:extLst/>
              </p:cNvPr>
              <p:cNvSpPr/>
              <p:nvPr/>
            </p:nvSpPr>
            <p:spPr bwMode="auto">
              <a:xfrm>
                <a:off x="3710240" y="-476999"/>
                <a:ext cx="535215" cy="476999"/>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8" name="Rectangle 357">
                <a:extLst/>
              </p:cNvPr>
              <p:cNvSpPr/>
              <p:nvPr/>
            </p:nvSpPr>
            <p:spPr bwMode="auto">
              <a:xfrm>
                <a:off x="-2260600" y="-89935"/>
                <a:ext cx="7136246" cy="8993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309" name="Round Single Corner Rectangle 32">
              <a:extLst/>
            </p:cNvPr>
            <p:cNvSpPr/>
            <p:nvPr/>
          </p:nvSpPr>
          <p:spPr bwMode="auto">
            <a:xfrm flipH="1">
              <a:off x="-11714678" y="-4647717"/>
              <a:ext cx="4159689" cy="2355478"/>
            </a:xfrm>
            <a:prstGeom prst="round1Rect">
              <a:avLst>
                <a:gd name="adj" fmla="val 5061"/>
              </a:avLst>
            </a:prstGeom>
            <a:solidFill>
              <a:srgbClr val="AFE5F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310" name="Group 309">
              <a:extLst/>
            </p:cNvPr>
            <p:cNvGrpSpPr/>
            <p:nvPr/>
          </p:nvGrpSpPr>
          <p:grpSpPr>
            <a:xfrm>
              <a:off x="-11310193" y="-4350245"/>
              <a:ext cx="3103562" cy="1807544"/>
              <a:chOff x="-2306944" y="-4514537"/>
              <a:chExt cx="3103562" cy="1807544"/>
            </a:xfrm>
          </p:grpSpPr>
          <p:sp>
            <p:nvSpPr>
              <p:cNvPr id="325" name="Rectangle 324">
                <a:extLst/>
              </p:cNvPr>
              <p:cNvSpPr/>
              <p:nvPr/>
            </p:nvSpPr>
            <p:spPr bwMode="auto">
              <a:xfrm rot="7607389">
                <a:off x="-2126709" y="-3420315"/>
                <a:ext cx="822960" cy="612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326" name="Group 325">
                <a:extLst/>
              </p:cNvPr>
              <p:cNvGrpSpPr/>
              <p:nvPr/>
            </p:nvGrpSpPr>
            <p:grpSpPr>
              <a:xfrm>
                <a:off x="-1734540" y="-3948849"/>
                <a:ext cx="522022" cy="522022"/>
                <a:chOff x="-2295617" y="-3234179"/>
                <a:chExt cx="522022" cy="522022"/>
              </a:xfrm>
            </p:grpSpPr>
            <p:sp>
              <p:nvSpPr>
                <p:cNvPr id="342" name="Oval 341">
                  <a:extLst/>
                </p:cNvPr>
                <p:cNvSpPr/>
                <p:nvPr/>
              </p:nvSpPr>
              <p:spPr bwMode="auto">
                <a:xfrm>
                  <a:off x="-2295617" y="-3234179"/>
                  <a:ext cx="522022" cy="522022"/>
                </a:xfrm>
                <a:prstGeom prst="ellipse">
                  <a:avLst/>
                </a:prstGeom>
                <a:solidFill>
                  <a:schemeClr val="bg1">
                    <a:lumMod val="95000"/>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3" name="Oval 342">
                  <a:extLst/>
                </p:cNvPr>
                <p:cNvSpPr/>
                <p:nvPr/>
              </p:nvSpPr>
              <p:spPr bwMode="auto">
                <a:xfrm>
                  <a:off x="-2170216" y="-3108778"/>
                  <a:ext cx="271220" cy="27122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327" name="Rectangle 326">
                <a:extLst/>
              </p:cNvPr>
              <p:cNvSpPr/>
              <p:nvPr/>
            </p:nvSpPr>
            <p:spPr bwMode="auto">
              <a:xfrm rot="7275383">
                <a:off x="-1222158" y="-3724309"/>
                <a:ext cx="1188720" cy="612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8" name="Rectangle 327">
                <a:extLst/>
              </p:cNvPr>
              <p:cNvSpPr/>
              <p:nvPr/>
            </p:nvSpPr>
            <p:spPr bwMode="auto">
              <a:xfrm rot="3363411">
                <a:off x="-590597" y="-3622579"/>
                <a:ext cx="1463040" cy="612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329" name="Group 328">
                <a:extLst/>
              </p:cNvPr>
              <p:cNvGrpSpPr/>
              <p:nvPr/>
            </p:nvGrpSpPr>
            <p:grpSpPr>
              <a:xfrm>
                <a:off x="-2306944" y="-3280741"/>
                <a:ext cx="522022" cy="522022"/>
                <a:chOff x="-2295617" y="-3234179"/>
                <a:chExt cx="522022" cy="522022"/>
              </a:xfrm>
            </p:grpSpPr>
            <p:sp>
              <p:nvSpPr>
                <p:cNvPr id="340" name="Oval 339">
                  <a:extLst/>
                </p:cNvPr>
                <p:cNvSpPr/>
                <p:nvPr/>
              </p:nvSpPr>
              <p:spPr bwMode="auto">
                <a:xfrm>
                  <a:off x="-2295617" y="-3234179"/>
                  <a:ext cx="522022" cy="522022"/>
                </a:xfrm>
                <a:prstGeom prst="ellipse">
                  <a:avLst/>
                </a:prstGeom>
                <a:solidFill>
                  <a:schemeClr val="bg1">
                    <a:lumMod val="95000"/>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1" name="Oval 340">
                  <a:extLst/>
                </p:cNvPr>
                <p:cNvSpPr/>
                <p:nvPr/>
              </p:nvSpPr>
              <p:spPr bwMode="auto">
                <a:xfrm>
                  <a:off x="-2170216" y="-3108778"/>
                  <a:ext cx="271220" cy="27122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330" name="Group 329">
                <a:extLst/>
              </p:cNvPr>
              <p:cNvGrpSpPr/>
              <p:nvPr/>
            </p:nvGrpSpPr>
            <p:grpSpPr>
              <a:xfrm>
                <a:off x="-1149818" y="-3552228"/>
                <a:ext cx="522022" cy="522022"/>
                <a:chOff x="-2295617" y="-3234179"/>
                <a:chExt cx="522022" cy="522022"/>
              </a:xfrm>
            </p:grpSpPr>
            <p:sp>
              <p:nvSpPr>
                <p:cNvPr id="338" name="Oval 337">
                  <a:extLst/>
                </p:cNvPr>
                <p:cNvSpPr/>
                <p:nvPr/>
              </p:nvSpPr>
              <p:spPr bwMode="auto">
                <a:xfrm>
                  <a:off x="-2295617" y="-3234179"/>
                  <a:ext cx="522022" cy="522022"/>
                </a:xfrm>
                <a:prstGeom prst="ellipse">
                  <a:avLst/>
                </a:prstGeom>
                <a:solidFill>
                  <a:schemeClr val="bg1">
                    <a:lumMod val="95000"/>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9" name="Oval 338">
                  <a:extLst/>
                </p:cNvPr>
                <p:cNvSpPr/>
                <p:nvPr/>
              </p:nvSpPr>
              <p:spPr bwMode="auto">
                <a:xfrm>
                  <a:off x="-2170216" y="-3108778"/>
                  <a:ext cx="271220" cy="27122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331" name="Group 330">
                <a:extLst/>
              </p:cNvPr>
              <p:cNvGrpSpPr/>
              <p:nvPr/>
            </p:nvGrpSpPr>
            <p:grpSpPr>
              <a:xfrm>
                <a:off x="-564028" y="-4514537"/>
                <a:ext cx="522022" cy="522022"/>
                <a:chOff x="-2295617" y="-3234179"/>
                <a:chExt cx="522022" cy="522022"/>
              </a:xfrm>
            </p:grpSpPr>
            <p:sp>
              <p:nvSpPr>
                <p:cNvPr id="336" name="Oval 335">
                  <a:extLst/>
                </p:cNvPr>
                <p:cNvSpPr/>
                <p:nvPr/>
              </p:nvSpPr>
              <p:spPr bwMode="auto">
                <a:xfrm>
                  <a:off x="-2295617" y="-3234179"/>
                  <a:ext cx="522022" cy="522022"/>
                </a:xfrm>
                <a:prstGeom prst="ellipse">
                  <a:avLst/>
                </a:prstGeom>
                <a:solidFill>
                  <a:schemeClr val="bg1">
                    <a:lumMod val="95000"/>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7" name="Oval 336">
                  <a:extLst/>
                </p:cNvPr>
                <p:cNvSpPr/>
                <p:nvPr/>
              </p:nvSpPr>
              <p:spPr bwMode="auto">
                <a:xfrm>
                  <a:off x="-2170216" y="-3108778"/>
                  <a:ext cx="271220" cy="27122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332" name="Group 331">
                <a:extLst/>
              </p:cNvPr>
              <p:cNvGrpSpPr/>
              <p:nvPr/>
            </p:nvGrpSpPr>
            <p:grpSpPr>
              <a:xfrm>
                <a:off x="274596" y="-3229015"/>
                <a:ext cx="522022" cy="522022"/>
                <a:chOff x="-2295617" y="-3234179"/>
                <a:chExt cx="522022" cy="522022"/>
              </a:xfrm>
            </p:grpSpPr>
            <p:sp>
              <p:nvSpPr>
                <p:cNvPr id="334" name="Oval 333">
                  <a:extLst/>
                </p:cNvPr>
                <p:cNvSpPr/>
                <p:nvPr/>
              </p:nvSpPr>
              <p:spPr bwMode="auto">
                <a:xfrm>
                  <a:off x="-2295617" y="-3234179"/>
                  <a:ext cx="522022" cy="522022"/>
                </a:xfrm>
                <a:prstGeom prst="ellipse">
                  <a:avLst/>
                </a:prstGeom>
                <a:solidFill>
                  <a:schemeClr val="bg1">
                    <a:lumMod val="95000"/>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5" name="Oval 334">
                  <a:extLst/>
                </p:cNvPr>
                <p:cNvSpPr/>
                <p:nvPr/>
              </p:nvSpPr>
              <p:spPr bwMode="auto">
                <a:xfrm>
                  <a:off x="-2170216" y="-3108778"/>
                  <a:ext cx="271220" cy="27122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333" name="Rectangle 332">
                <a:extLst/>
              </p:cNvPr>
              <p:cNvSpPr/>
              <p:nvPr/>
            </p:nvSpPr>
            <p:spPr bwMode="auto">
              <a:xfrm rot="2257840">
                <a:off x="-1579614" y="-3506503"/>
                <a:ext cx="822960" cy="612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311" name="Round Single Corner Rectangle 34">
              <a:extLst/>
            </p:cNvPr>
            <p:cNvSpPr/>
            <p:nvPr/>
          </p:nvSpPr>
          <p:spPr bwMode="auto">
            <a:xfrm>
              <a:off x="-7706955" y="-4647717"/>
              <a:ext cx="4159689" cy="2355478"/>
            </a:xfrm>
            <a:prstGeom prst="round1Rect">
              <a:avLst>
                <a:gd name="adj" fmla="val 5061"/>
              </a:avLst>
            </a:prstGeom>
            <a:solidFill>
              <a:srgbClr val="6BC6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312" name="Group 311">
              <a:extLst/>
            </p:cNvPr>
            <p:cNvGrpSpPr/>
            <p:nvPr/>
          </p:nvGrpSpPr>
          <p:grpSpPr>
            <a:xfrm>
              <a:off x="-7026128" y="-4194358"/>
              <a:ext cx="2979313" cy="1448760"/>
              <a:chOff x="-161511" y="-2374431"/>
              <a:chExt cx="2979313" cy="1448760"/>
            </a:xfrm>
          </p:grpSpPr>
          <p:sp>
            <p:nvSpPr>
              <p:cNvPr id="315" name="Rectangle 314">
                <a:extLst/>
              </p:cNvPr>
              <p:cNvSpPr/>
              <p:nvPr/>
            </p:nvSpPr>
            <p:spPr bwMode="auto">
              <a:xfrm>
                <a:off x="-161511" y="-2374431"/>
                <a:ext cx="107108" cy="14487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6" name="Rectangle 315">
                <a:extLst/>
              </p:cNvPr>
              <p:cNvSpPr/>
              <p:nvPr/>
            </p:nvSpPr>
            <p:spPr bwMode="auto">
              <a:xfrm>
                <a:off x="377332" y="-2249740"/>
                <a:ext cx="155201" cy="3378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7" name="Rectangle 316">
                <a:extLst/>
              </p:cNvPr>
              <p:cNvSpPr/>
              <p:nvPr/>
            </p:nvSpPr>
            <p:spPr bwMode="auto">
              <a:xfrm>
                <a:off x="-54403" y="-2145777"/>
                <a:ext cx="511602" cy="12988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8" name="Rectangle 317">
                <a:extLst/>
              </p:cNvPr>
              <p:cNvSpPr/>
              <p:nvPr/>
            </p:nvSpPr>
            <p:spPr bwMode="auto">
              <a:xfrm>
                <a:off x="531802" y="-2107966"/>
                <a:ext cx="2286000" cy="7008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9" name="Rectangle 318">
                <a:extLst/>
              </p:cNvPr>
              <p:cNvSpPr/>
              <p:nvPr/>
            </p:nvSpPr>
            <p:spPr bwMode="auto">
              <a:xfrm>
                <a:off x="1202549" y="-1735369"/>
                <a:ext cx="1615253" cy="7008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0" name="Rectangle 319">
                <a:extLst/>
              </p:cNvPr>
              <p:cNvSpPr/>
              <p:nvPr/>
            </p:nvSpPr>
            <p:spPr bwMode="auto">
              <a:xfrm>
                <a:off x="1171882" y="-1326710"/>
                <a:ext cx="1645920" cy="7008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1" name="Rectangle 320">
                <a:extLst/>
              </p:cNvPr>
              <p:cNvSpPr/>
              <p:nvPr/>
            </p:nvSpPr>
            <p:spPr bwMode="auto">
              <a:xfrm>
                <a:off x="1517971" y="-1855012"/>
                <a:ext cx="155201" cy="3378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2" name="Rectangle 321">
                <a:extLst/>
              </p:cNvPr>
              <p:cNvSpPr/>
              <p:nvPr/>
            </p:nvSpPr>
            <p:spPr bwMode="auto">
              <a:xfrm>
                <a:off x="1130909" y="-1446353"/>
                <a:ext cx="155201" cy="3378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3" name="Rectangle 322">
                <a:extLst/>
              </p:cNvPr>
              <p:cNvSpPr/>
              <p:nvPr/>
            </p:nvSpPr>
            <p:spPr bwMode="auto">
              <a:xfrm>
                <a:off x="-54404" y="-1751049"/>
                <a:ext cx="1615253" cy="12988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4" name="Rectangle 323">
                <a:extLst/>
              </p:cNvPr>
              <p:cNvSpPr/>
              <p:nvPr/>
            </p:nvSpPr>
            <p:spPr bwMode="auto">
              <a:xfrm>
                <a:off x="-54404" y="-1342390"/>
                <a:ext cx="1229189" cy="12988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313" name="Freeform 42">
              <a:extLst/>
            </p:cNvPr>
            <p:cNvSpPr/>
            <p:nvPr/>
          </p:nvSpPr>
          <p:spPr bwMode="auto">
            <a:xfrm>
              <a:off x="-8975288" y="-5000314"/>
              <a:ext cx="5720068" cy="5747841"/>
            </a:xfrm>
            <a:custGeom>
              <a:avLst/>
              <a:gdLst>
                <a:gd name="connsiteX0" fmla="*/ 5876818 w 5969286"/>
                <a:gd name="connsiteY0" fmla="*/ 5876818 h 5876818"/>
                <a:gd name="connsiteX1" fmla="*/ 0 w 5969286"/>
                <a:gd name="connsiteY1" fmla="*/ 0 h 5876818"/>
                <a:gd name="connsiteX2" fmla="*/ 1839075 w 5969286"/>
                <a:gd name="connsiteY2" fmla="*/ 0 h 5876818"/>
                <a:gd name="connsiteX3" fmla="*/ 5969286 w 5969286"/>
                <a:gd name="connsiteY3" fmla="*/ 4212404 h 5876818"/>
                <a:gd name="connsiteX4" fmla="*/ 5876818 w 5969286"/>
                <a:gd name="connsiteY4" fmla="*/ 5876818 h 5876818"/>
                <a:gd name="connsiteX0" fmla="*/ 5804898 w 5969286"/>
                <a:gd name="connsiteY0" fmla="*/ 5907641 h 5907641"/>
                <a:gd name="connsiteX1" fmla="*/ 0 w 5969286"/>
                <a:gd name="connsiteY1" fmla="*/ 0 h 5907641"/>
                <a:gd name="connsiteX2" fmla="*/ 1839075 w 5969286"/>
                <a:gd name="connsiteY2" fmla="*/ 0 h 5907641"/>
                <a:gd name="connsiteX3" fmla="*/ 5969286 w 5969286"/>
                <a:gd name="connsiteY3" fmla="*/ 4212404 h 5907641"/>
                <a:gd name="connsiteX4" fmla="*/ 5804898 w 5969286"/>
                <a:gd name="connsiteY4" fmla="*/ 5907641 h 5907641"/>
                <a:gd name="connsiteX0" fmla="*/ 5804898 w 5804898"/>
                <a:gd name="connsiteY0" fmla="*/ 5907641 h 5907641"/>
                <a:gd name="connsiteX1" fmla="*/ 0 w 5804898"/>
                <a:gd name="connsiteY1" fmla="*/ 0 h 5907641"/>
                <a:gd name="connsiteX2" fmla="*/ 1839075 w 5804898"/>
                <a:gd name="connsiteY2" fmla="*/ 0 h 5907641"/>
                <a:gd name="connsiteX3" fmla="*/ 5767673 w 5804898"/>
                <a:gd name="connsiteY3" fmla="*/ 4036191 h 5907641"/>
                <a:gd name="connsiteX4" fmla="*/ 5804898 w 5804898"/>
                <a:gd name="connsiteY4" fmla="*/ 5907641 h 5907641"/>
                <a:gd name="connsiteX0" fmla="*/ 5769973 w 5769973"/>
                <a:gd name="connsiteY0" fmla="*/ 5823504 h 5823504"/>
                <a:gd name="connsiteX1" fmla="*/ 0 w 5769973"/>
                <a:gd name="connsiteY1" fmla="*/ 0 h 5823504"/>
                <a:gd name="connsiteX2" fmla="*/ 1839075 w 5769973"/>
                <a:gd name="connsiteY2" fmla="*/ 0 h 5823504"/>
                <a:gd name="connsiteX3" fmla="*/ 5767673 w 5769973"/>
                <a:gd name="connsiteY3" fmla="*/ 4036191 h 5823504"/>
                <a:gd name="connsiteX4" fmla="*/ 5769973 w 5769973"/>
                <a:gd name="connsiteY4" fmla="*/ 5823504 h 5823504"/>
                <a:gd name="connsiteX0" fmla="*/ 5769973 w 5769973"/>
                <a:gd name="connsiteY0" fmla="*/ 5823504 h 5823504"/>
                <a:gd name="connsiteX1" fmla="*/ 0 w 5769973"/>
                <a:gd name="connsiteY1" fmla="*/ 0 h 5823504"/>
                <a:gd name="connsiteX2" fmla="*/ 1908299 w 5769973"/>
                <a:gd name="connsiteY2" fmla="*/ 77273 h 5823504"/>
                <a:gd name="connsiteX3" fmla="*/ 5767673 w 5769973"/>
                <a:gd name="connsiteY3" fmla="*/ 4036191 h 5823504"/>
                <a:gd name="connsiteX4" fmla="*/ 5769973 w 5769973"/>
                <a:gd name="connsiteY4" fmla="*/ 5823504 h 5823504"/>
                <a:gd name="connsiteX0" fmla="*/ 5720068 w 5720068"/>
                <a:gd name="connsiteY0" fmla="*/ 5747841 h 5747841"/>
                <a:gd name="connsiteX1" fmla="*/ 0 w 5720068"/>
                <a:gd name="connsiteY1" fmla="*/ 0 h 5747841"/>
                <a:gd name="connsiteX2" fmla="*/ 1858394 w 5720068"/>
                <a:gd name="connsiteY2" fmla="*/ 1610 h 5747841"/>
                <a:gd name="connsiteX3" fmla="*/ 5717768 w 5720068"/>
                <a:gd name="connsiteY3" fmla="*/ 3960528 h 5747841"/>
                <a:gd name="connsiteX4" fmla="*/ 5720068 w 5720068"/>
                <a:gd name="connsiteY4" fmla="*/ 5747841 h 5747841"/>
                <a:gd name="connsiteX0" fmla="*/ 5720068 w 5720068"/>
                <a:gd name="connsiteY0" fmla="*/ 5747841 h 5747841"/>
                <a:gd name="connsiteX1" fmla="*/ 0 w 5720068"/>
                <a:gd name="connsiteY1" fmla="*/ 0 h 5747841"/>
                <a:gd name="connsiteX2" fmla="*/ 1858394 w 5720068"/>
                <a:gd name="connsiteY2" fmla="*/ 1610 h 5747841"/>
                <a:gd name="connsiteX3" fmla="*/ 5717768 w 5720068"/>
                <a:gd name="connsiteY3" fmla="*/ 3960528 h 5747841"/>
                <a:gd name="connsiteX4" fmla="*/ 5720068 w 5720068"/>
                <a:gd name="connsiteY4" fmla="*/ 5747841 h 5747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0068" h="5747841">
                  <a:moveTo>
                    <a:pt x="5720068" y="5747841"/>
                  </a:moveTo>
                  <a:lnTo>
                    <a:pt x="0" y="0"/>
                  </a:lnTo>
                  <a:lnTo>
                    <a:pt x="1858394" y="1610"/>
                  </a:lnTo>
                  <a:lnTo>
                    <a:pt x="5717768" y="3960528"/>
                  </a:lnTo>
                  <a:cubicBezTo>
                    <a:pt x="5718535" y="4556299"/>
                    <a:pt x="5719301" y="5152070"/>
                    <a:pt x="5720068" y="5747841"/>
                  </a:cubicBezTo>
                  <a:close/>
                </a:path>
              </a:pathLst>
            </a:custGeom>
            <a:solidFill>
              <a:schemeClr val="bg1">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4" name="Freeform 43">
              <a:extLst/>
            </p:cNvPr>
            <p:cNvSpPr/>
            <p:nvPr/>
          </p:nvSpPr>
          <p:spPr bwMode="auto">
            <a:xfrm>
              <a:off x="-6570433" y="-4999880"/>
              <a:ext cx="3314964" cy="3404325"/>
            </a:xfrm>
            <a:custGeom>
              <a:avLst/>
              <a:gdLst>
                <a:gd name="connsiteX0" fmla="*/ 0 w 3493213"/>
                <a:gd name="connsiteY0" fmla="*/ 30823 h 3616504"/>
                <a:gd name="connsiteX1" fmla="*/ 3493213 w 3493213"/>
                <a:gd name="connsiteY1" fmla="*/ 3616504 h 3616504"/>
                <a:gd name="connsiteX2" fmla="*/ 3493213 w 3493213"/>
                <a:gd name="connsiteY2" fmla="*/ 2825393 h 3616504"/>
                <a:gd name="connsiteX3" fmla="*/ 667820 w 3493213"/>
                <a:gd name="connsiteY3" fmla="*/ 0 h 3616504"/>
                <a:gd name="connsiteX4" fmla="*/ 0 w 3493213"/>
                <a:gd name="connsiteY4" fmla="*/ 30823 h 3616504"/>
                <a:gd name="connsiteX0" fmla="*/ 0 w 3493213"/>
                <a:gd name="connsiteY0" fmla="*/ 30823 h 3616504"/>
                <a:gd name="connsiteX1" fmla="*/ 3493213 w 3493213"/>
                <a:gd name="connsiteY1" fmla="*/ 3616504 h 3616504"/>
                <a:gd name="connsiteX2" fmla="*/ 3345575 w 3493213"/>
                <a:gd name="connsiteY2" fmla="*/ 2820631 h 3616504"/>
                <a:gd name="connsiteX3" fmla="*/ 667820 w 3493213"/>
                <a:gd name="connsiteY3" fmla="*/ 0 h 3616504"/>
                <a:gd name="connsiteX4" fmla="*/ 0 w 3493213"/>
                <a:gd name="connsiteY4" fmla="*/ 30823 h 3616504"/>
                <a:gd name="connsiteX0" fmla="*/ 0 w 3345575"/>
                <a:gd name="connsiteY0" fmla="*/ 30823 h 3462516"/>
                <a:gd name="connsiteX1" fmla="*/ 3345575 w 3345575"/>
                <a:gd name="connsiteY1" fmla="*/ 3462516 h 3462516"/>
                <a:gd name="connsiteX2" fmla="*/ 3345575 w 3345575"/>
                <a:gd name="connsiteY2" fmla="*/ 2820631 h 3462516"/>
                <a:gd name="connsiteX3" fmla="*/ 667820 w 3345575"/>
                <a:gd name="connsiteY3" fmla="*/ 0 h 3462516"/>
                <a:gd name="connsiteX4" fmla="*/ 0 w 3345575"/>
                <a:gd name="connsiteY4" fmla="*/ 30823 h 3462516"/>
                <a:gd name="connsiteX0" fmla="*/ 0 w 3347162"/>
                <a:gd name="connsiteY0" fmla="*/ 30823 h 3462516"/>
                <a:gd name="connsiteX1" fmla="*/ 3345575 w 3347162"/>
                <a:gd name="connsiteY1" fmla="*/ 3462516 h 3462516"/>
                <a:gd name="connsiteX2" fmla="*/ 3347162 w 3347162"/>
                <a:gd name="connsiteY2" fmla="*/ 2823806 h 3462516"/>
                <a:gd name="connsiteX3" fmla="*/ 667820 w 3347162"/>
                <a:gd name="connsiteY3" fmla="*/ 0 h 3462516"/>
                <a:gd name="connsiteX4" fmla="*/ 0 w 3347162"/>
                <a:gd name="connsiteY4" fmla="*/ 30823 h 3462516"/>
                <a:gd name="connsiteX0" fmla="*/ 0 w 3308525"/>
                <a:gd name="connsiteY0" fmla="*/ 64630 h 3462516"/>
                <a:gd name="connsiteX1" fmla="*/ 3306938 w 3308525"/>
                <a:gd name="connsiteY1" fmla="*/ 3462516 h 3462516"/>
                <a:gd name="connsiteX2" fmla="*/ 3308525 w 3308525"/>
                <a:gd name="connsiteY2" fmla="*/ 2823806 h 3462516"/>
                <a:gd name="connsiteX3" fmla="*/ 629183 w 3308525"/>
                <a:gd name="connsiteY3" fmla="*/ 0 h 3462516"/>
                <a:gd name="connsiteX4" fmla="*/ 0 w 3308525"/>
                <a:gd name="connsiteY4" fmla="*/ 64630 h 3462516"/>
                <a:gd name="connsiteX0" fmla="*/ 0 w 3308525"/>
                <a:gd name="connsiteY0" fmla="*/ 5065 h 3402951"/>
                <a:gd name="connsiteX1" fmla="*/ 3306938 w 3308525"/>
                <a:gd name="connsiteY1" fmla="*/ 3402951 h 3402951"/>
                <a:gd name="connsiteX2" fmla="*/ 3308525 w 3308525"/>
                <a:gd name="connsiteY2" fmla="*/ 2764241 h 3402951"/>
                <a:gd name="connsiteX3" fmla="*/ 672650 w 3308525"/>
                <a:gd name="connsiteY3" fmla="*/ 0 h 3402951"/>
                <a:gd name="connsiteX4" fmla="*/ 0 w 3308525"/>
                <a:gd name="connsiteY4" fmla="*/ 5065 h 3402951"/>
                <a:gd name="connsiteX0" fmla="*/ 0 w 3314964"/>
                <a:gd name="connsiteY0" fmla="*/ 0 h 3409155"/>
                <a:gd name="connsiteX1" fmla="*/ 3313377 w 3314964"/>
                <a:gd name="connsiteY1" fmla="*/ 3409155 h 3409155"/>
                <a:gd name="connsiteX2" fmla="*/ 3314964 w 3314964"/>
                <a:gd name="connsiteY2" fmla="*/ 2770445 h 3409155"/>
                <a:gd name="connsiteX3" fmla="*/ 679089 w 3314964"/>
                <a:gd name="connsiteY3" fmla="*/ 6204 h 3409155"/>
                <a:gd name="connsiteX4" fmla="*/ 0 w 3314964"/>
                <a:gd name="connsiteY4" fmla="*/ 0 h 3409155"/>
                <a:gd name="connsiteX0" fmla="*/ 0 w 3314964"/>
                <a:gd name="connsiteY0" fmla="*/ 0 h 3409155"/>
                <a:gd name="connsiteX1" fmla="*/ 3313377 w 3314964"/>
                <a:gd name="connsiteY1" fmla="*/ 3409155 h 3409155"/>
                <a:gd name="connsiteX2" fmla="*/ 3314964 w 3314964"/>
                <a:gd name="connsiteY2" fmla="*/ 2770445 h 3409155"/>
                <a:gd name="connsiteX3" fmla="*/ 679089 w 3314964"/>
                <a:gd name="connsiteY3" fmla="*/ 6204 h 3409155"/>
                <a:gd name="connsiteX4" fmla="*/ 0 w 3314964"/>
                <a:gd name="connsiteY4" fmla="*/ 0 h 3409155"/>
                <a:gd name="connsiteX0" fmla="*/ 0 w 3314964"/>
                <a:gd name="connsiteY0" fmla="*/ 0 h 3404325"/>
                <a:gd name="connsiteX1" fmla="*/ 3313377 w 3314964"/>
                <a:gd name="connsiteY1" fmla="*/ 3404325 h 3404325"/>
                <a:gd name="connsiteX2" fmla="*/ 3314964 w 3314964"/>
                <a:gd name="connsiteY2" fmla="*/ 2765615 h 3404325"/>
                <a:gd name="connsiteX3" fmla="*/ 679089 w 3314964"/>
                <a:gd name="connsiteY3" fmla="*/ 1374 h 3404325"/>
                <a:gd name="connsiteX4" fmla="*/ 0 w 3314964"/>
                <a:gd name="connsiteY4" fmla="*/ 0 h 340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964" h="3404325">
                  <a:moveTo>
                    <a:pt x="0" y="0"/>
                  </a:moveTo>
                  <a:lnTo>
                    <a:pt x="3313377" y="3404325"/>
                  </a:lnTo>
                  <a:lnTo>
                    <a:pt x="3314964" y="2765615"/>
                  </a:lnTo>
                  <a:lnTo>
                    <a:pt x="679089" y="1374"/>
                  </a:lnTo>
                  <a:lnTo>
                    <a:pt x="0" y="0"/>
                  </a:lnTo>
                  <a:close/>
                </a:path>
              </a:pathLst>
            </a:custGeom>
            <a:solidFill>
              <a:schemeClr val="bg1">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359" name="Group 358">
            <a:extLst/>
          </p:cNvPr>
          <p:cNvGrpSpPr/>
          <p:nvPr/>
        </p:nvGrpSpPr>
        <p:grpSpPr>
          <a:xfrm>
            <a:off x="9711028" y="870085"/>
            <a:ext cx="1598983" cy="1124587"/>
            <a:chOff x="3556802" y="616382"/>
            <a:chExt cx="1226736" cy="862779"/>
          </a:xfrm>
        </p:grpSpPr>
        <p:grpSp>
          <p:nvGrpSpPr>
            <p:cNvPr id="360" name="Group 359">
              <a:extLst/>
            </p:cNvPr>
            <p:cNvGrpSpPr/>
            <p:nvPr/>
          </p:nvGrpSpPr>
          <p:grpSpPr>
            <a:xfrm>
              <a:off x="3581047" y="644470"/>
              <a:ext cx="585166" cy="432145"/>
              <a:chOff x="9660420" y="2894132"/>
              <a:chExt cx="714056" cy="640828"/>
            </a:xfrm>
          </p:grpSpPr>
          <p:grpSp>
            <p:nvGrpSpPr>
              <p:cNvPr id="368" name="Group 367">
                <a:extLst/>
              </p:cNvPr>
              <p:cNvGrpSpPr/>
              <p:nvPr/>
            </p:nvGrpSpPr>
            <p:grpSpPr>
              <a:xfrm>
                <a:off x="9660420" y="2894132"/>
                <a:ext cx="714056" cy="640828"/>
                <a:chOff x="3393735" y="1575630"/>
                <a:chExt cx="335303" cy="300917"/>
              </a:xfrm>
            </p:grpSpPr>
            <p:sp>
              <p:nvSpPr>
                <p:cNvPr id="371" name="Rounded Rectangle 491">
                  <a:extLst/>
                </p:cNvPr>
                <p:cNvSpPr/>
                <p:nvPr/>
              </p:nvSpPr>
              <p:spPr>
                <a:xfrm>
                  <a:off x="3393735" y="1577644"/>
                  <a:ext cx="335303" cy="298903"/>
                </a:xfrm>
                <a:prstGeom prst="roundRect">
                  <a:avLst>
                    <a:gd name="adj" fmla="val 7107"/>
                  </a:avLst>
                </a:prstGeom>
                <a:solidFill>
                  <a:srgbClr val="1A80C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sp>
              <p:nvSpPr>
                <p:cNvPr id="372" name="Round Same Side Corner Rectangle 492">
                  <a:extLst/>
                </p:cNvPr>
                <p:cNvSpPr/>
                <p:nvPr/>
              </p:nvSpPr>
              <p:spPr>
                <a:xfrm>
                  <a:off x="3393735" y="1577644"/>
                  <a:ext cx="335303" cy="50709"/>
                </a:xfrm>
                <a:prstGeom prst="round2SameRect">
                  <a:avLst>
                    <a:gd name="adj1" fmla="val 26060"/>
                    <a:gd name="adj2" fmla="val 0"/>
                  </a:avLst>
                </a:prstGeom>
                <a:solidFill>
                  <a:srgbClr val="B9B9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sp>
              <p:nvSpPr>
                <p:cNvPr id="373" name="Freeform 493">
                  <a:extLst/>
                </p:cNvPr>
                <p:cNvSpPr/>
                <p:nvPr/>
              </p:nvSpPr>
              <p:spPr>
                <a:xfrm>
                  <a:off x="3519380" y="1575630"/>
                  <a:ext cx="209658" cy="298903"/>
                </a:xfrm>
                <a:custGeom>
                  <a:avLst/>
                  <a:gdLst>
                    <a:gd name="connsiteX0" fmla="*/ 146969 w 209658"/>
                    <a:gd name="connsiteY0" fmla="*/ 0 h 298903"/>
                    <a:gd name="connsiteX1" fmla="*/ 188415 w 209658"/>
                    <a:gd name="connsiteY1" fmla="*/ 0 h 298903"/>
                    <a:gd name="connsiteX2" fmla="*/ 209658 w 209658"/>
                    <a:gd name="connsiteY2" fmla="*/ 21243 h 298903"/>
                    <a:gd name="connsiteX3" fmla="*/ 209658 w 209658"/>
                    <a:gd name="connsiteY3" fmla="*/ 277660 h 298903"/>
                    <a:gd name="connsiteX4" fmla="*/ 188415 w 209658"/>
                    <a:gd name="connsiteY4" fmla="*/ 298903 h 298903"/>
                    <a:gd name="connsiteX5" fmla="*/ 0 w 209658"/>
                    <a:gd name="connsiteY5" fmla="*/ 298903 h 2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658" h="298903">
                      <a:moveTo>
                        <a:pt x="146969" y="0"/>
                      </a:moveTo>
                      <a:lnTo>
                        <a:pt x="188415" y="0"/>
                      </a:lnTo>
                      <a:cubicBezTo>
                        <a:pt x="200147" y="0"/>
                        <a:pt x="209658" y="9511"/>
                        <a:pt x="209658" y="21243"/>
                      </a:cubicBezTo>
                      <a:lnTo>
                        <a:pt x="209658" y="277660"/>
                      </a:lnTo>
                      <a:cubicBezTo>
                        <a:pt x="209658" y="289392"/>
                        <a:pt x="200147" y="298903"/>
                        <a:pt x="188415" y="298903"/>
                      </a:cubicBezTo>
                      <a:lnTo>
                        <a:pt x="0" y="298903"/>
                      </a:lnTo>
                      <a:close/>
                    </a:path>
                  </a:pathLst>
                </a:custGeom>
                <a:solidFill>
                  <a:srgbClr val="000000">
                    <a:alpha val="16863"/>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grpSp>
          <p:sp>
            <p:nvSpPr>
              <p:cNvPr id="369" name="Chevron 489">
                <a:extLst/>
              </p:cNvPr>
              <p:cNvSpPr/>
              <p:nvPr/>
            </p:nvSpPr>
            <p:spPr bwMode="auto">
              <a:xfrm>
                <a:off x="9734477" y="3249074"/>
                <a:ext cx="159183" cy="169039"/>
              </a:xfrm>
              <a:prstGeom prst="chevron">
                <a:avLst>
                  <a:gd name="adj" fmla="val 78266"/>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0" name="Rectangle 369">
                <a:extLst/>
              </p:cNvPr>
              <p:cNvSpPr/>
              <p:nvPr/>
            </p:nvSpPr>
            <p:spPr bwMode="auto">
              <a:xfrm flipV="1">
                <a:off x="9893660" y="3457727"/>
                <a:ext cx="214814" cy="1828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61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361" name="Freeform 494">
              <a:extLst/>
            </p:cNvPr>
            <p:cNvSpPr/>
            <p:nvPr/>
          </p:nvSpPr>
          <p:spPr bwMode="auto">
            <a:xfrm>
              <a:off x="4278372" y="616382"/>
              <a:ext cx="382060" cy="554609"/>
            </a:xfrm>
            <a:custGeom>
              <a:avLst/>
              <a:gdLst>
                <a:gd name="connsiteX0" fmla="*/ 363538 w 363538"/>
                <a:gd name="connsiteY0" fmla="*/ 231775 h 442913"/>
                <a:gd name="connsiteX1" fmla="*/ 363538 w 363538"/>
                <a:gd name="connsiteY1" fmla="*/ 79375 h 442913"/>
                <a:gd name="connsiteX2" fmla="*/ 187325 w 363538"/>
                <a:gd name="connsiteY2" fmla="*/ 79375 h 442913"/>
                <a:gd name="connsiteX3" fmla="*/ 187325 w 363538"/>
                <a:gd name="connsiteY3" fmla="*/ 442913 h 442913"/>
                <a:gd name="connsiteX4" fmla="*/ 0 w 363538"/>
                <a:gd name="connsiteY4" fmla="*/ 442913 h 442913"/>
                <a:gd name="connsiteX5" fmla="*/ 0 w 363538"/>
                <a:gd name="connsiteY5" fmla="*/ 0 h 442913"/>
                <a:gd name="connsiteX0" fmla="*/ 363538 w 366360"/>
                <a:gd name="connsiteY0" fmla="*/ 231775 h 442913"/>
                <a:gd name="connsiteX1" fmla="*/ 363538 w 366360"/>
                <a:gd name="connsiteY1" fmla="*/ 79375 h 442913"/>
                <a:gd name="connsiteX2" fmla="*/ 187325 w 366360"/>
                <a:gd name="connsiteY2" fmla="*/ 79375 h 442913"/>
                <a:gd name="connsiteX3" fmla="*/ 187325 w 366360"/>
                <a:gd name="connsiteY3" fmla="*/ 442913 h 442913"/>
                <a:gd name="connsiteX4" fmla="*/ 0 w 366360"/>
                <a:gd name="connsiteY4" fmla="*/ 442913 h 442913"/>
                <a:gd name="connsiteX5" fmla="*/ 0 w 366360"/>
                <a:gd name="connsiteY5" fmla="*/ 0 h 442913"/>
                <a:gd name="connsiteX0" fmla="*/ 363538 w 363673"/>
                <a:gd name="connsiteY0" fmla="*/ 231775 h 442913"/>
                <a:gd name="connsiteX1" fmla="*/ 363538 w 363673"/>
                <a:gd name="connsiteY1" fmla="*/ 79375 h 442913"/>
                <a:gd name="connsiteX2" fmla="*/ 187325 w 363673"/>
                <a:gd name="connsiteY2" fmla="*/ 79375 h 442913"/>
                <a:gd name="connsiteX3" fmla="*/ 187325 w 363673"/>
                <a:gd name="connsiteY3" fmla="*/ 442913 h 442913"/>
                <a:gd name="connsiteX4" fmla="*/ 0 w 363673"/>
                <a:gd name="connsiteY4" fmla="*/ 442913 h 442913"/>
                <a:gd name="connsiteX5" fmla="*/ 0 w 363673"/>
                <a:gd name="connsiteY5" fmla="*/ 0 h 442913"/>
                <a:gd name="connsiteX0" fmla="*/ 363538 w 363631"/>
                <a:gd name="connsiteY0" fmla="*/ 231775 h 442913"/>
                <a:gd name="connsiteX1" fmla="*/ 363538 w 363631"/>
                <a:gd name="connsiteY1" fmla="*/ 79375 h 442913"/>
                <a:gd name="connsiteX2" fmla="*/ 187325 w 363631"/>
                <a:gd name="connsiteY2" fmla="*/ 79375 h 442913"/>
                <a:gd name="connsiteX3" fmla="*/ 187325 w 363631"/>
                <a:gd name="connsiteY3" fmla="*/ 442913 h 442913"/>
                <a:gd name="connsiteX4" fmla="*/ 0 w 363631"/>
                <a:gd name="connsiteY4" fmla="*/ 442913 h 442913"/>
                <a:gd name="connsiteX5" fmla="*/ 0 w 363631"/>
                <a:gd name="connsiteY5" fmla="*/ 0 h 442913"/>
                <a:gd name="connsiteX0" fmla="*/ 363538 w 363630"/>
                <a:gd name="connsiteY0" fmla="*/ 231775 h 442913"/>
                <a:gd name="connsiteX1" fmla="*/ 363538 w 363630"/>
                <a:gd name="connsiteY1" fmla="*/ 79375 h 442913"/>
                <a:gd name="connsiteX2" fmla="*/ 187325 w 363630"/>
                <a:gd name="connsiteY2" fmla="*/ 79375 h 442913"/>
                <a:gd name="connsiteX3" fmla="*/ 187325 w 363630"/>
                <a:gd name="connsiteY3" fmla="*/ 442913 h 442913"/>
                <a:gd name="connsiteX4" fmla="*/ 0 w 363630"/>
                <a:gd name="connsiteY4" fmla="*/ 442913 h 442913"/>
                <a:gd name="connsiteX5" fmla="*/ 0 w 363630"/>
                <a:gd name="connsiteY5" fmla="*/ 0 h 442913"/>
                <a:gd name="connsiteX0" fmla="*/ 363538 w 365654"/>
                <a:gd name="connsiteY0" fmla="*/ 231775 h 442913"/>
                <a:gd name="connsiteX1" fmla="*/ 363538 w 365654"/>
                <a:gd name="connsiteY1" fmla="*/ 79375 h 442913"/>
                <a:gd name="connsiteX2" fmla="*/ 187325 w 365654"/>
                <a:gd name="connsiteY2" fmla="*/ 79375 h 442913"/>
                <a:gd name="connsiteX3" fmla="*/ 187325 w 365654"/>
                <a:gd name="connsiteY3" fmla="*/ 442913 h 442913"/>
                <a:gd name="connsiteX4" fmla="*/ 0 w 365654"/>
                <a:gd name="connsiteY4" fmla="*/ 442913 h 442913"/>
                <a:gd name="connsiteX5" fmla="*/ 0 w 365654"/>
                <a:gd name="connsiteY5" fmla="*/ 0 h 442913"/>
                <a:gd name="connsiteX0" fmla="*/ 363538 w 365654"/>
                <a:gd name="connsiteY0" fmla="*/ 231775 h 465490"/>
                <a:gd name="connsiteX1" fmla="*/ 363538 w 365654"/>
                <a:gd name="connsiteY1" fmla="*/ 79375 h 465490"/>
                <a:gd name="connsiteX2" fmla="*/ 187325 w 365654"/>
                <a:gd name="connsiteY2" fmla="*/ 79375 h 465490"/>
                <a:gd name="connsiteX3" fmla="*/ 187325 w 365654"/>
                <a:gd name="connsiteY3" fmla="*/ 442913 h 465490"/>
                <a:gd name="connsiteX4" fmla="*/ 0 w 365654"/>
                <a:gd name="connsiteY4" fmla="*/ 442913 h 465490"/>
                <a:gd name="connsiteX5" fmla="*/ 0 w 365654"/>
                <a:gd name="connsiteY5" fmla="*/ 0 h 465490"/>
                <a:gd name="connsiteX0" fmla="*/ 363773 w 365889"/>
                <a:gd name="connsiteY0" fmla="*/ 231775 h 483429"/>
                <a:gd name="connsiteX1" fmla="*/ 363773 w 365889"/>
                <a:gd name="connsiteY1" fmla="*/ 79375 h 483429"/>
                <a:gd name="connsiteX2" fmla="*/ 187560 w 365889"/>
                <a:gd name="connsiteY2" fmla="*/ 79375 h 483429"/>
                <a:gd name="connsiteX3" fmla="*/ 187560 w 365889"/>
                <a:gd name="connsiteY3" fmla="*/ 442913 h 483429"/>
                <a:gd name="connsiteX4" fmla="*/ 235 w 365889"/>
                <a:gd name="connsiteY4" fmla="*/ 442913 h 483429"/>
                <a:gd name="connsiteX5" fmla="*/ 235 w 365889"/>
                <a:gd name="connsiteY5" fmla="*/ 0 h 483429"/>
                <a:gd name="connsiteX0" fmla="*/ 363773 w 365889"/>
                <a:gd name="connsiteY0" fmla="*/ 231775 h 501587"/>
                <a:gd name="connsiteX1" fmla="*/ 363773 w 365889"/>
                <a:gd name="connsiteY1" fmla="*/ 79375 h 501587"/>
                <a:gd name="connsiteX2" fmla="*/ 187560 w 365889"/>
                <a:gd name="connsiteY2" fmla="*/ 79375 h 501587"/>
                <a:gd name="connsiteX3" fmla="*/ 187560 w 365889"/>
                <a:gd name="connsiteY3" fmla="*/ 442913 h 501587"/>
                <a:gd name="connsiteX4" fmla="*/ 235 w 365889"/>
                <a:gd name="connsiteY4" fmla="*/ 442913 h 501587"/>
                <a:gd name="connsiteX5" fmla="*/ 235 w 365889"/>
                <a:gd name="connsiteY5" fmla="*/ 0 h 501587"/>
                <a:gd name="connsiteX0" fmla="*/ 363773 w 365889"/>
                <a:gd name="connsiteY0" fmla="*/ 231775 h 524088"/>
                <a:gd name="connsiteX1" fmla="*/ 363773 w 365889"/>
                <a:gd name="connsiteY1" fmla="*/ 79375 h 524088"/>
                <a:gd name="connsiteX2" fmla="*/ 187560 w 365889"/>
                <a:gd name="connsiteY2" fmla="*/ 79375 h 524088"/>
                <a:gd name="connsiteX3" fmla="*/ 187560 w 365889"/>
                <a:gd name="connsiteY3" fmla="*/ 442913 h 524088"/>
                <a:gd name="connsiteX4" fmla="*/ 235 w 365889"/>
                <a:gd name="connsiteY4" fmla="*/ 442913 h 524088"/>
                <a:gd name="connsiteX5" fmla="*/ 235 w 365889"/>
                <a:gd name="connsiteY5" fmla="*/ 0 h 524088"/>
                <a:gd name="connsiteX0" fmla="*/ 363773 w 367301"/>
                <a:gd name="connsiteY0" fmla="*/ 233342 h 525655"/>
                <a:gd name="connsiteX1" fmla="*/ 363773 w 367301"/>
                <a:gd name="connsiteY1" fmla="*/ 80942 h 525655"/>
                <a:gd name="connsiteX2" fmla="*/ 187560 w 367301"/>
                <a:gd name="connsiteY2" fmla="*/ 80942 h 525655"/>
                <a:gd name="connsiteX3" fmla="*/ 187560 w 367301"/>
                <a:gd name="connsiteY3" fmla="*/ 444480 h 525655"/>
                <a:gd name="connsiteX4" fmla="*/ 235 w 367301"/>
                <a:gd name="connsiteY4" fmla="*/ 444480 h 525655"/>
                <a:gd name="connsiteX5" fmla="*/ 235 w 367301"/>
                <a:gd name="connsiteY5" fmla="*/ 1567 h 525655"/>
                <a:gd name="connsiteX0" fmla="*/ 363773 w 367301"/>
                <a:gd name="connsiteY0" fmla="*/ 244093 h 536406"/>
                <a:gd name="connsiteX1" fmla="*/ 363773 w 367301"/>
                <a:gd name="connsiteY1" fmla="*/ 91693 h 536406"/>
                <a:gd name="connsiteX2" fmla="*/ 187560 w 367301"/>
                <a:gd name="connsiteY2" fmla="*/ 91693 h 536406"/>
                <a:gd name="connsiteX3" fmla="*/ 187560 w 367301"/>
                <a:gd name="connsiteY3" fmla="*/ 455231 h 536406"/>
                <a:gd name="connsiteX4" fmla="*/ 235 w 367301"/>
                <a:gd name="connsiteY4" fmla="*/ 455231 h 536406"/>
                <a:gd name="connsiteX5" fmla="*/ 235 w 367301"/>
                <a:gd name="connsiteY5" fmla="*/ 12318 h 536406"/>
                <a:gd name="connsiteX0" fmla="*/ 364319 w 377009"/>
                <a:gd name="connsiteY0" fmla="*/ 231775 h 524088"/>
                <a:gd name="connsiteX1" fmla="*/ 363773 w 377009"/>
                <a:gd name="connsiteY1" fmla="*/ 79375 h 524088"/>
                <a:gd name="connsiteX2" fmla="*/ 187560 w 377009"/>
                <a:gd name="connsiteY2" fmla="*/ 79375 h 524088"/>
                <a:gd name="connsiteX3" fmla="*/ 187560 w 377009"/>
                <a:gd name="connsiteY3" fmla="*/ 442913 h 524088"/>
                <a:gd name="connsiteX4" fmla="*/ 235 w 377009"/>
                <a:gd name="connsiteY4" fmla="*/ 442913 h 524088"/>
                <a:gd name="connsiteX5" fmla="*/ 235 w 377009"/>
                <a:gd name="connsiteY5" fmla="*/ 0 h 524088"/>
                <a:gd name="connsiteX0" fmla="*/ 366501 w 377774"/>
                <a:gd name="connsiteY0" fmla="*/ 231775 h 524088"/>
                <a:gd name="connsiteX1" fmla="*/ 363773 w 377774"/>
                <a:gd name="connsiteY1" fmla="*/ 79375 h 524088"/>
                <a:gd name="connsiteX2" fmla="*/ 187560 w 377774"/>
                <a:gd name="connsiteY2" fmla="*/ 79375 h 524088"/>
                <a:gd name="connsiteX3" fmla="*/ 187560 w 377774"/>
                <a:gd name="connsiteY3" fmla="*/ 442913 h 524088"/>
                <a:gd name="connsiteX4" fmla="*/ 235 w 377774"/>
                <a:gd name="connsiteY4" fmla="*/ 442913 h 524088"/>
                <a:gd name="connsiteX5" fmla="*/ 235 w 377774"/>
                <a:gd name="connsiteY5" fmla="*/ 0 h 524088"/>
                <a:gd name="connsiteX0" fmla="*/ 366501 w 366501"/>
                <a:gd name="connsiteY0" fmla="*/ 231775 h 524088"/>
                <a:gd name="connsiteX1" fmla="*/ 363773 w 366501"/>
                <a:gd name="connsiteY1" fmla="*/ 79375 h 524088"/>
                <a:gd name="connsiteX2" fmla="*/ 187560 w 366501"/>
                <a:gd name="connsiteY2" fmla="*/ 79375 h 524088"/>
                <a:gd name="connsiteX3" fmla="*/ 187560 w 366501"/>
                <a:gd name="connsiteY3" fmla="*/ 442913 h 524088"/>
                <a:gd name="connsiteX4" fmla="*/ 235 w 366501"/>
                <a:gd name="connsiteY4" fmla="*/ 442913 h 524088"/>
                <a:gd name="connsiteX5" fmla="*/ 235 w 366501"/>
                <a:gd name="connsiteY5" fmla="*/ 0 h 524088"/>
                <a:gd name="connsiteX0" fmla="*/ 366501 w 366501"/>
                <a:gd name="connsiteY0" fmla="*/ 241968 h 534281"/>
                <a:gd name="connsiteX1" fmla="*/ 363773 w 366501"/>
                <a:gd name="connsiteY1" fmla="*/ 89568 h 534281"/>
                <a:gd name="connsiteX2" fmla="*/ 187560 w 366501"/>
                <a:gd name="connsiteY2" fmla="*/ 89568 h 534281"/>
                <a:gd name="connsiteX3" fmla="*/ 187560 w 366501"/>
                <a:gd name="connsiteY3" fmla="*/ 453106 h 534281"/>
                <a:gd name="connsiteX4" fmla="*/ 235 w 366501"/>
                <a:gd name="connsiteY4" fmla="*/ 453106 h 534281"/>
                <a:gd name="connsiteX5" fmla="*/ 235 w 366501"/>
                <a:gd name="connsiteY5" fmla="*/ 10193 h 534281"/>
                <a:gd name="connsiteX0" fmla="*/ 366501 w 366745"/>
                <a:gd name="connsiteY0" fmla="*/ 239729 h 532042"/>
                <a:gd name="connsiteX1" fmla="*/ 363773 w 366745"/>
                <a:gd name="connsiteY1" fmla="*/ 87329 h 532042"/>
                <a:gd name="connsiteX2" fmla="*/ 187560 w 366745"/>
                <a:gd name="connsiteY2" fmla="*/ 87329 h 532042"/>
                <a:gd name="connsiteX3" fmla="*/ 187560 w 366745"/>
                <a:gd name="connsiteY3" fmla="*/ 450867 h 532042"/>
                <a:gd name="connsiteX4" fmla="*/ 235 w 366745"/>
                <a:gd name="connsiteY4" fmla="*/ 450867 h 532042"/>
                <a:gd name="connsiteX5" fmla="*/ 235 w 366745"/>
                <a:gd name="connsiteY5" fmla="*/ 7954 h 532042"/>
                <a:gd name="connsiteX0" fmla="*/ 366501 w 366501"/>
                <a:gd name="connsiteY0" fmla="*/ 239729 h 532042"/>
                <a:gd name="connsiteX1" fmla="*/ 363773 w 366501"/>
                <a:gd name="connsiteY1" fmla="*/ 87329 h 532042"/>
                <a:gd name="connsiteX2" fmla="*/ 187560 w 366501"/>
                <a:gd name="connsiteY2" fmla="*/ 87329 h 532042"/>
                <a:gd name="connsiteX3" fmla="*/ 187560 w 366501"/>
                <a:gd name="connsiteY3" fmla="*/ 450867 h 532042"/>
                <a:gd name="connsiteX4" fmla="*/ 235 w 366501"/>
                <a:gd name="connsiteY4" fmla="*/ 450867 h 532042"/>
                <a:gd name="connsiteX5" fmla="*/ 235 w 366501"/>
                <a:gd name="connsiteY5" fmla="*/ 7954 h 532042"/>
                <a:gd name="connsiteX0" fmla="*/ 366501 w 366514"/>
                <a:gd name="connsiteY0" fmla="*/ 239729 h 532042"/>
                <a:gd name="connsiteX1" fmla="*/ 363773 w 366514"/>
                <a:gd name="connsiteY1" fmla="*/ 87329 h 532042"/>
                <a:gd name="connsiteX2" fmla="*/ 187560 w 366514"/>
                <a:gd name="connsiteY2" fmla="*/ 87329 h 532042"/>
                <a:gd name="connsiteX3" fmla="*/ 187560 w 366514"/>
                <a:gd name="connsiteY3" fmla="*/ 450867 h 532042"/>
                <a:gd name="connsiteX4" fmla="*/ 235 w 366514"/>
                <a:gd name="connsiteY4" fmla="*/ 450867 h 532042"/>
                <a:gd name="connsiteX5" fmla="*/ 235 w 366514"/>
                <a:gd name="connsiteY5" fmla="*/ 7954 h 53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6514" h="532042">
                  <a:moveTo>
                    <a:pt x="366501" y="239729"/>
                  </a:moveTo>
                  <a:cubicBezTo>
                    <a:pt x="365955" y="190020"/>
                    <a:pt x="367953" y="201114"/>
                    <a:pt x="363773" y="87329"/>
                  </a:cubicBezTo>
                  <a:cubicBezTo>
                    <a:pt x="359593" y="-26456"/>
                    <a:pt x="187561" y="-31733"/>
                    <a:pt x="187560" y="87329"/>
                  </a:cubicBezTo>
                  <a:cubicBezTo>
                    <a:pt x="187559" y="206391"/>
                    <a:pt x="188090" y="354029"/>
                    <a:pt x="187560" y="450867"/>
                  </a:cubicBezTo>
                  <a:cubicBezTo>
                    <a:pt x="187030" y="547705"/>
                    <a:pt x="765" y="569929"/>
                    <a:pt x="235" y="450867"/>
                  </a:cubicBezTo>
                  <a:cubicBezTo>
                    <a:pt x="-295" y="331805"/>
                    <a:pt x="235" y="155592"/>
                    <a:pt x="235" y="7954"/>
                  </a:cubicBezTo>
                </a:path>
              </a:pathLst>
            </a:custGeom>
            <a:noFill/>
            <a:ln>
              <a:solidFill>
                <a:srgbClr val="F1890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sp>
          <p:nvSpPr>
            <p:cNvPr id="362" name="Freeform 495">
              <a:extLst/>
            </p:cNvPr>
            <p:cNvSpPr/>
            <p:nvPr/>
          </p:nvSpPr>
          <p:spPr bwMode="auto">
            <a:xfrm>
              <a:off x="4541906" y="889170"/>
              <a:ext cx="241632" cy="296492"/>
            </a:xfrm>
            <a:custGeom>
              <a:avLst/>
              <a:gdLst>
                <a:gd name="connsiteX0" fmla="*/ 299 w 241632"/>
                <a:gd name="connsiteY0" fmla="*/ 142087 h 296492"/>
                <a:gd name="connsiteX1" fmla="*/ 241333 w 241632"/>
                <a:gd name="connsiteY1" fmla="*/ 142087 h 296492"/>
                <a:gd name="connsiteX2" fmla="*/ 241632 w 241632"/>
                <a:gd name="connsiteY2" fmla="*/ 148246 h 296492"/>
                <a:gd name="connsiteX3" fmla="*/ 120816 w 241632"/>
                <a:gd name="connsiteY3" fmla="*/ 296492 h 296492"/>
                <a:gd name="connsiteX4" fmla="*/ 0 w 241632"/>
                <a:gd name="connsiteY4" fmla="*/ 148246 h 296492"/>
                <a:gd name="connsiteX5" fmla="*/ 111672 w 241632"/>
                <a:gd name="connsiteY5" fmla="*/ 724 h 296492"/>
                <a:gd name="connsiteX6" fmla="*/ 111672 w 241632"/>
                <a:gd name="connsiteY6" fmla="*/ 132943 h 296492"/>
                <a:gd name="connsiteX7" fmla="*/ 742 w 241632"/>
                <a:gd name="connsiteY7" fmla="*/ 132943 h 296492"/>
                <a:gd name="connsiteX8" fmla="*/ 2797 w 241632"/>
                <a:gd name="connsiteY8" fmla="*/ 90542 h 296492"/>
                <a:gd name="connsiteX9" fmla="*/ 82794 w 241632"/>
                <a:gd name="connsiteY9" fmla="*/ 3012 h 296492"/>
                <a:gd name="connsiteX10" fmla="*/ 120816 w 241632"/>
                <a:gd name="connsiteY10" fmla="*/ 0 h 296492"/>
                <a:gd name="connsiteX11" fmla="*/ 238835 w 241632"/>
                <a:gd name="connsiteY11" fmla="*/ 90542 h 296492"/>
                <a:gd name="connsiteX12" fmla="*/ 240890 w 241632"/>
                <a:gd name="connsiteY12" fmla="*/ 132943 h 296492"/>
                <a:gd name="connsiteX13" fmla="*/ 120816 w 241632"/>
                <a:gd name="connsiteY13" fmla="*/ 132943 h 296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632" h="296492">
                  <a:moveTo>
                    <a:pt x="299" y="142087"/>
                  </a:moveTo>
                  <a:lnTo>
                    <a:pt x="241333" y="142087"/>
                  </a:lnTo>
                  <a:lnTo>
                    <a:pt x="241632" y="148246"/>
                  </a:lnTo>
                  <a:cubicBezTo>
                    <a:pt x="241632" y="230120"/>
                    <a:pt x="187541" y="296492"/>
                    <a:pt x="120816" y="296492"/>
                  </a:cubicBezTo>
                  <a:cubicBezTo>
                    <a:pt x="54091" y="296492"/>
                    <a:pt x="0" y="230120"/>
                    <a:pt x="0" y="148246"/>
                  </a:cubicBezTo>
                  <a:close/>
                  <a:moveTo>
                    <a:pt x="111672" y="724"/>
                  </a:moveTo>
                  <a:lnTo>
                    <a:pt x="111672" y="132943"/>
                  </a:lnTo>
                  <a:lnTo>
                    <a:pt x="742" y="132943"/>
                  </a:lnTo>
                  <a:lnTo>
                    <a:pt x="2797" y="90542"/>
                  </a:lnTo>
                  <a:cubicBezTo>
                    <a:pt x="8779" y="46202"/>
                    <a:pt x="27191" y="12886"/>
                    <a:pt x="82794" y="3012"/>
                  </a:cubicBezTo>
                  <a:close/>
                  <a:moveTo>
                    <a:pt x="120816" y="0"/>
                  </a:moveTo>
                  <a:cubicBezTo>
                    <a:pt x="206579" y="0"/>
                    <a:pt x="231656" y="37334"/>
                    <a:pt x="238835" y="90542"/>
                  </a:cubicBezTo>
                  <a:lnTo>
                    <a:pt x="240890" y="132943"/>
                  </a:lnTo>
                  <a:lnTo>
                    <a:pt x="120816" y="132943"/>
                  </a:lnTo>
                  <a:close/>
                </a:path>
              </a:pathLst>
            </a:custGeom>
            <a:solidFill>
              <a:srgbClr val="F1890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363" name="Group 362">
              <a:extLst/>
            </p:cNvPr>
            <p:cNvGrpSpPr/>
            <p:nvPr/>
          </p:nvGrpSpPr>
          <p:grpSpPr>
            <a:xfrm>
              <a:off x="3556802" y="1325390"/>
              <a:ext cx="1199536" cy="153771"/>
              <a:chOff x="9504074" y="2586906"/>
              <a:chExt cx="1199536" cy="153771"/>
            </a:xfrm>
          </p:grpSpPr>
          <p:sp>
            <p:nvSpPr>
              <p:cNvPr id="364" name="Freeform 497">
                <a:extLst/>
              </p:cNvPr>
              <p:cNvSpPr/>
              <p:nvPr/>
            </p:nvSpPr>
            <p:spPr bwMode="auto">
              <a:xfrm>
                <a:off x="9504074" y="2586906"/>
                <a:ext cx="525255" cy="153771"/>
              </a:xfrm>
              <a:custGeom>
                <a:avLst/>
                <a:gdLst>
                  <a:gd name="connsiteX0" fmla="*/ 372534 w 2242670"/>
                  <a:gd name="connsiteY0" fmla="*/ 7658 h 656554"/>
                  <a:gd name="connsiteX1" fmla="*/ 372534 w 2242670"/>
                  <a:gd name="connsiteY1" fmla="*/ 645613 h 656554"/>
                  <a:gd name="connsiteX2" fmla="*/ 0 w 2242670"/>
                  <a:gd name="connsiteY2" fmla="*/ 326635 h 656554"/>
                  <a:gd name="connsiteX3" fmla="*/ 2093977 w 2242670"/>
                  <a:gd name="connsiteY3" fmla="*/ 0 h 656554"/>
                  <a:gd name="connsiteX4" fmla="*/ 2242670 w 2242670"/>
                  <a:gd name="connsiteY4" fmla="*/ 0 h 656554"/>
                  <a:gd name="connsiteX5" fmla="*/ 2242670 w 2242670"/>
                  <a:gd name="connsiteY5" fmla="*/ 656554 h 656554"/>
                  <a:gd name="connsiteX6" fmla="*/ 2093977 w 2242670"/>
                  <a:gd name="connsiteY6" fmla="*/ 656554 h 656554"/>
                  <a:gd name="connsiteX7" fmla="*/ 2093977 w 2242670"/>
                  <a:gd name="connsiteY7" fmla="*/ 636968 h 656554"/>
                  <a:gd name="connsiteX8" fmla="*/ 2011817 w 2242670"/>
                  <a:gd name="connsiteY8" fmla="*/ 519780 h 656554"/>
                  <a:gd name="connsiteX9" fmla="*/ 1932684 w 2242670"/>
                  <a:gd name="connsiteY9" fmla="*/ 630077 h 656554"/>
                  <a:gd name="connsiteX10" fmla="*/ 1932684 w 2242670"/>
                  <a:gd name="connsiteY10" fmla="*/ 632524 h 656554"/>
                  <a:gd name="connsiteX11" fmla="*/ 373173 w 2242670"/>
                  <a:gd name="connsiteY11" fmla="*/ 632524 h 656554"/>
                  <a:gd name="connsiteX12" fmla="*/ 373173 w 2242670"/>
                  <a:gd name="connsiteY12" fmla="*/ 7257 h 656554"/>
                  <a:gd name="connsiteX13" fmla="*/ 1932684 w 2242670"/>
                  <a:gd name="connsiteY13" fmla="*/ 7257 h 656554"/>
                  <a:gd name="connsiteX14" fmla="*/ 1932684 w 2242670"/>
                  <a:gd name="connsiteY14" fmla="*/ 6667 h 656554"/>
                  <a:gd name="connsiteX15" fmla="*/ 2014317 w 2242670"/>
                  <a:gd name="connsiteY15" fmla="*/ 120448 h 656554"/>
                  <a:gd name="connsiteX16" fmla="*/ 2093977 w 2242670"/>
                  <a:gd name="connsiteY16" fmla="*/ 6826 h 656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42670" h="656554">
                    <a:moveTo>
                      <a:pt x="372534" y="7658"/>
                    </a:moveTo>
                    <a:lnTo>
                      <a:pt x="372534" y="645613"/>
                    </a:lnTo>
                    <a:lnTo>
                      <a:pt x="0" y="326635"/>
                    </a:lnTo>
                    <a:close/>
                    <a:moveTo>
                      <a:pt x="2093977" y="0"/>
                    </a:moveTo>
                    <a:lnTo>
                      <a:pt x="2242670" y="0"/>
                    </a:lnTo>
                    <a:lnTo>
                      <a:pt x="2242670" y="656554"/>
                    </a:lnTo>
                    <a:lnTo>
                      <a:pt x="2093977" y="656554"/>
                    </a:lnTo>
                    <a:lnTo>
                      <a:pt x="2093977" y="636968"/>
                    </a:lnTo>
                    <a:lnTo>
                      <a:pt x="2011817" y="519780"/>
                    </a:lnTo>
                    <a:lnTo>
                      <a:pt x="1932684" y="630077"/>
                    </a:lnTo>
                    <a:lnTo>
                      <a:pt x="1932684" y="632524"/>
                    </a:lnTo>
                    <a:lnTo>
                      <a:pt x="373173" y="632524"/>
                    </a:lnTo>
                    <a:lnTo>
                      <a:pt x="373173" y="7257"/>
                    </a:lnTo>
                    <a:lnTo>
                      <a:pt x="1932684" y="7257"/>
                    </a:lnTo>
                    <a:lnTo>
                      <a:pt x="1932684" y="6667"/>
                    </a:lnTo>
                    <a:lnTo>
                      <a:pt x="2014317" y="120448"/>
                    </a:lnTo>
                    <a:lnTo>
                      <a:pt x="2093977" y="6826"/>
                    </a:lnTo>
                    <a:close/>
                  </a:path>
                </a:pathLst>
              </a:custGeom>
              <a:solidFill>
                <a:srgbClr val="80B9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5" name="Rounded Rectangle 498">
                <a:extLst/>
              </p:cNvPr>
              <p:cNvSpPr/>
              <p:nvPr/>
            </p:nvSpPr>
            <p:spPr bwMode="auto">
              <a:xfrm>
                <a:off x="9642107" y="2616495"/>
                <a:ext cx="286998" cy="24769"/>
              </a:xfrm>
              <a:prstGeom prst="roundRect">
                <a:avLst>
                  <a:gd name="adj" fmla="val 50000"/>
                </a:avLst>
              </a:prstGeom>
              <a:solidFill>
                <a:srgbClr val="B6DD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04"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6" name="Rounded Rectangle 499">
                <a:extLst/>
              </p:cNvPr>
              <p:cNvSpPr/>
              <p:nvPr/>
            </p:nvSpPr>
            <p:spPr bwMode="auto">
              <a:xfrm>
                <a:off x="9642107" y="2680820"/>
                <a:ext cx="286998" cy="24769"/>
              </a:xfrm>
              <a:prstGeom prst="roundRect">
                <a:avLst>
                  <a:gd name="adj" fmla="val 50000"/>
                </a:avLst>
              </a:prstGeom>
              <a:solidFill>
                <a:srgbClr val="B6DD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04"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7" name="Freeform 500">
                <a:extLst/>
              </p:cNvPr>
              <p:cNvSpPr/>
              <p:nvPr/>
            </p:nvSpPr>
            <p:spPr bwMode="auto">
              <a:xfrm rot="5400000" flipH="1">
                <a:off x="10327596" y="2329655"/>
                <a:ext cx="79014" cy="673015"/>
              </a:xfrm>
              <a:custGeom>
                <a:avLst/>
                <a:gdLst>
                  <a:gd name="connsiteX0" fmla="*/ 0 w 486195"/>
                  <a:gd name="connsiteY0" fmla="*/ 740593 h 4141241"/>
                  <a:gd name="connsiteX1" fmla="*/ 1002 w 486195"/>
                  <a:gd name="connsiteY1" fmla="*/ 734488 h 4141241"/>
                  <a:gd name="connsiteX2" fmla="*/ 16 w 486195"/>
                  <a:gd name="connsiteY2" fmla="*/ 733535 h 4141241"/>
                  <a:gd name="connsiteX3" fmla="*/ 1158 w 486195"/>
                  <a:gd name="connsiteY3" fmla="*/ 733535 h 4141241"/>
                  <a:gd name="connsiteX4" fmla="*/ 121545 w 486195"/>
                  <a:gd name="connsiteY4" fmla="*/ 0 h 4141241"/>
                  <a:gd name="connsiteX5" fmla="*/ 364634 w 486195"/>
                  <a:gd name="connsiteY5" fmla="*/ 0 h 4141241"/>
                  <a:gd name="connsiteX6" fmla="*/ 485021 w 486195"/>
                  <a:gd name="connsiteY6" fmla="*/ 733535 h 4141241"/>
                  <a:gd name="connsiteX7" fmla="*/ 486195 w 486195"/>
                  <a:gd name="connsiteY7" fmla="*/ 733535 h 4141241"/>
                  <a:gd name="connsiteX8" fmla="*/ 485181 w 486195"/>
                  <a:gd name="connsiteY8" fmla="*/ 734513 h 4141241"/>
                  <a:gd name="connsiteX9" fmla="*/ 486179 w 486195"/>
                  <a:gd name="connsiteY9" fmla="*/ 740593 h 4141241"/>
                  <a:gd name="connsiteX10" fmla="*/ 478886 w 486195"/>
                  <a:gd name="connsiteY10" fmla="*/ 740593 h 4141241"/>
                  <a:gd name="connsiteX11" fmla="*/ 379250 w 486195"/>
                  <a:gd name="connsiteY11" fmla="*/ 836811 h 4141241"/>
                  <a:gd name="connsiteX12" fmla="*/ 379250 w 486195"/>
                  <a:gd name="connsiteY12" fmla="*/ 4141241 h 4141241"/>
                  <a:gd name="connsiteX13" fmla="*/ 103326 w 486195"/>
                  <a:gd name="connsiteY13" fmla="*/ 4141241 h 4141241"/>
                  <a:gd name="connsiteX14" fmla="*/ 103326 w 486195"/>
                  <a:gd name="connsiteY14" fmla="*/ 836037 h 4141241"/>
                  <a:gd name="connsiteX15" fmla="*/ 106159 w 486195"/>
                  <a:gd name="connsiteY15" fmla="*/ 836037 h 4141241"/>
                  <a:gd name="connsiteX16" fmla="*/ 7324 w 486195"/>
                  <a:gd name="connsiteY16" fmla="*/ 740593 h 4141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6195" h="4141241">
                    <a:moveTo>
                      <a:pt x="0" y="740593"/>
                    </a:moveTo>
                    <a:lnTo>
                      <a:pt x="1002" y="734488"/>
                    </a:lnTo>
                    <a:lnTo>
                      <a:pt x="16" y="733535"/>
                    </a:lnTo>
                    <a:lnTo>
                      <a:pt x="1158" y="733535"/>
                    </a:lnTo>
                    <a:lnTo>
                      <a:pt x="121545" y="0"/>
                    </a:lnTo>
                    <a:lnTo>
                      <a:pt x="364634" y="0"/>
                    </a:lnTo>
                    <a:lnTo>
                      <a:pt x="485021" y="733535"/>
                    </a:lnTo>
                    <a:lnTo>
                      <a:pt x="486195" y="733535"/>
                    </a:lnTo>
                    <a:lnTo>
                      <a:pt x="485181" y="734513"/>
                    </a:lnTo>
                    <a:lnTo>
                      <a:pt x="486179" y="740593"/>
                    </a:lnTo>
                    <a:lnTo>
                      <a:pt x="478886" y="740593"/>
                    </a:lnTo>
                    <a:lnTo>
                      <a:pt x="379250" y="836811"/>
                    </a:lnTo>
                    <a:lnTo>
                      <a:pt x="379250" y="4141241"/>
                    </a:lnTo>
                    <a:lnTo>
                      <a:pt x="103326" y="4141241"/>
                    </a:lnTo>
                    <a:lnTo>
                      <a:pt x="103326" y="836037"/>
                    </a:lnTo>
                    <a:lnTo>
                      <a:pt x="106159" y="836037"/>
                    </a:lnTo>
                    <a:lnTo>
                      <a:pt x="7324" y="740593"/>
                    </a:lnTo>
                    <a:close/>
                  </a:path>
                </a:pathLst>
              </a:custGeom>
              <a:solidFill>
                <a:srgbClr val="CBEB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grpSp>
        <p:nvGrpSpPr>
          <p:cNvPr id="396" name="Group 395">
            <a:extLst/>
          </p:cNvPr>
          <p:cNvGrpSpPr>
            <a:grpSpLocks noChangeAspect="1"/>
          </p:cNvGrpSpPr>
          <p:nvPr/>
        </p:nvGrpSpPr>
        <p:grpSpPr>
          <a:xfrm>
            <a:off x="9662304" y="5107720"/>
            <a:ext cx="1455969" cy="1151045"/>
            <a:chOff x="4236704" y="2125902"/>
            <a:chExt cx="3376132" cy="2669068"/>
          </a:xfrm>
        </p:grpSpPr>
        <p:sp>
          <p:nvSpPr>
            <p:cNvPr id="397" name="Freeform: Shape 396">
              <a:extLst/>
            </p:cNvPr>
            <p:cNvSpPr/>
            <p:nvPr/>
          </p:nvSpPr>
          <p:spPr>
            <a:xfrm>
              <a:off x="5177198" y="2868424"/>
              <a:ext cx="1525194" cy="1092200"/>
            </a:xfrm>
            <a:custGeom>
              <a:avLst/>
              <a:gdLst>
                <a:gd name="connsiteX0" fmla="*/ 660400 w 1555750"/>
                <a:gd name="connsiteY0" fmla="*/ 88900 h 1092200"/>
                <a:gd name="connsiteX1" fmla="*/ 641350 w 1555750"/>
                <a:gd name="connsiteY1" fmla="*/ 311150 h 1092200"/>
                <a:gd name="connsiteX2" fmla="*/ 501650 w 1555750"/>
                <a:gd name="connsiteY2" fmla="*/ 514350 h 1092200"/>
                <a:gd name="connsiteX3" fmla="*/ 209550 w 1555750"/>
                <a:gd name="connsiteY3" fmla="*/ 577850 h 1092200"/>
                <a:gd name="connsiteX4" fmla="*/ 0 w 1555750"/>
                <a:gd name="connsiteY4" fmla="*/ 1079500 h 1092200"/>
                <a:gd name="connsiteX5" fmla="*/ 171450 w 1555750"/>
                <a:gd name="connsiteY5" fmla="*/ 1079500 h 1092200"/>
                <a:gd name="connsiteX6" fmla="*/ 184150 w 1555750"/>
                <a:gd name="connsiteY6" fmla="*/ 876300 h 1092200"/>
                <a:gd name="connsiteX7" fmla="*/ 355600 w 1555750"/>
                <a:gd name="connsiteY7" fmla="*/ 685800 h 1092200"/>
                <a:gd name="connsiteX8" fmla="*/ 723900 w 1555750"/>
                <a:gd name="connsiteY8" fmla="*/ 533400 h 1092200"/>
                <a:gd name="connsiteX9" fmla="*/ 1187450 w 1555750"/>
                <a:gd name="connsiteY9" fmla="*/ 692150 h 1092200"/>
                <a:gd name="connsiteX10" fmla="*/ 1333500 w 1555750"/>
                <a:gd name="connsiteY10" fmla="*/ 1092200 h 1092200"/>
                <a:gd name="connsiteX11" fmla="*/ 1555750 w 1555750"/>
                <a:gd name="connsiteY11" fmla="*/ 1079500 h 1092200"/>
                <a:gd name="connsiteX12" fmla="*/ 1346200 w 1555750"/>
                <a:gd name="connsiteY12" fmla="*/ 565150 h 1092200"/>
                <a:gd name="connsiteX13" fmla="*/ 920750 w 1555750"/>
                <a:gd name="connsiteY13" fmla="*/ 450850 h 1092200"/>
                <a:gd name="connsiteX14" fmla="*/ 825500 w 1555750"/>
                <a:gd name="connsiteY14" fmla="*/ 311150 h 1092200"/>
                <a:gd name="connsiteX15" fmla="*/ 819150 w 1555750"/>
                <a:gd name="connsiteY15" fmla="*/ 0 h 1092200"/>
                <a:gd name="connsiteX16" fmla="*/ 660400 w 1555750"/>
                <a:gd name="connsiteY16" fmla="*/ 88900 h 1092200"/>
                <a:gd name="connsiteX0" fmla="*/ 660400 w 1555750"/>
                <a:gd name="connsiteY0" fmla="*/ 88900 h 1092200"/>
                <a:gd name="connsiteX1" fmla="*/ 641350 w 1555750"/>
                <a:gd name="connsiteY1" fmla="*/ 311150 h 1092200"/>
                <a:gd name="connsiteX2" fmla="*/ 501650 w 1555750"/>
                <a:gd name="connsiteY2" fmla="*/ 514350 h 1092200"/>
                <a:gd name="connsiteX3" fmla="*/ 182562 w 1555750"/>
                <a:gd name="connsiteY3" fmla="*/ 566737 h 1092200"/>
                <a:gd name="connsiteX4" fmla="*/ 0 w 1555750"/>
                <a:gd name="connsiteY4" fmla="*/ 1079500 h 1092200"/>
                <a:gd name="connsiteX5" fmla="*/ 171450 w 1555750"/>
                <a:gd name="connsiteY5" fmla="*/ 1079500 h 1092200"/>
                <a:gd name="connsiteX6" fmla="*/ 184150 w 1555750"/>
                <a:gd name="connsiteY6" fmla="*/ 876300 h 1092200"/>
                <a:gd name="connsiteX7" fmla="*/ 355600 w 1555750"/>
                <a:gd name="connsiteY7" fmla="*/ 685800 h 1092200"/>
                <a:gd name="connsiteX8" fmla="*/ 723900 w 1555750"/>
                <a:gd name="connsiteY8" fmla="*/ 533400 h 1092200"/>
                <a:gd name="connsiteX9" fmla="*/ 1187450 w 1555750"/>
                <a:gd name="connsiteY9" fmla="*/ 692150 h 1092200"/>
                <a:gd name="connsiteX10" fmla="*/ 1333500 w 1555750"/>
                <a:gd name="connsiteY10" fmla="*/ 1092200 h 1092200"/>
                <a:gd name="connsiteX11" fmla="*/ 1555750 w 1555750"/>
                <a:gd name="connsiteY11" fmla="*/ 1079500 h 1092200"/>
                <a:gd name="connsiteX12" fmla="*/ 1346200 w 1555750"/>
                <a:gd name="connsiteY12" fmla="*/ 565150 h 1092200"/>
                <a:gd name="connsiteX13" fmla="*/ 920750 w 1555750"/>
                <a:gd name="connsiteY13" fmla="*/ 450850 h 1092200"/>
                <a:gd name="connsiteX14" fmla="*/ 825500 w 1555750"/>
                <a:gd name="connsiteY14" fmla="*/ 311150 h 1092200"/>
                <a:gd name="connsiteX15" fmla="*/ 819150 w 1555750"/>
                <a:gd name="connsiteY15" fmla="*/ 0 h 1092200"/>
                <a:gd name="connsiteX16" fmla="*/ 660400 w 1555750"/>
                <a:gd name="connsiteY16" fmla="*/ 88900 h 1092200"/>
                <a:gd name="connsiteX0" fmla="*/ 660400 w 1555750"/>
                <a:gd name="connsiteY0" fmla="*/ 88900 h 1092200"/>
                <a:gd name="connsiteX1" fmla="*/ 641350 w 1555750"/>
                <a:gd name="connsiteY1" fmla="*/ 311150 h 1092200"/>
                <a:gd name="connsiteX2" fmla="*/ 501650 w 1555750"/>
                <a:gd name="connsiteY2" fmla="*/ 514350 h 1092200"/>
                <a:gd name="connsiteX3" fmla="*/ 182562 w 1555750"/>
                <a:gd name="connsiteY3" fmla="*/ 566737 h 1092200"/>
                <a:gd name="connsiteX4" fmla="*/ 0 w 1555750"/>
                <a:gd name="connsiteY4" fmla="*/ 1079500 h 1092200"/>
                <a:gd name="connsiteX5" fmla="*/ 171450 w 1555750"/>
                <a:gd name="connsiteY5" fmla="*/ 1079500 h 1092200"/>
                <a:gd name="connsiteX6" fmla="*/ 184150 w 1555750"/>
                <a:gd name="connsiteY6" fmla="*/ 876300 h 1092200"/>
                <a:gd name="connsiteX7" fmla="*/ 355600 w 1555750"/>
                <a:gd name="connsiteY7" fmla="*/ 685800 h 1092200"/>
                <a:gd name="connsiteX8" fmla="*/ 723900 w 1555750"/>
                <a:gd name="connsiteY8" fmla="*/ 533400 h 1092200"/>
                <a:gd name="connsiteX9" fmla="*/ 1187450 w 1555750"/>
                <a:gd name="connsiteY9" fmla="*/ 692150 h 1092200"/>
                <a:gd name="connsiteX10" fmla="*/ 1333500 w 1555750"/>
                <a:gd name="connsiteY10" fmla="*/ 1092200 h 1092200"/>
                <a:gd name="connsiteX11" fmla="*/ 1555750 w 1555750"/>
                <a:gd name="connsiteY11" fmla="*/ 1079500 h 1092200"/>
                <a:gd name="connsiteX12" fmla="*/ 1346200 w 1555750"/>
                <a:gd name="connsiteY12" fmla="*/ 565150 h 1092200"/>
                <a:gd name="connsiteX13" fmla="*/ 920750 w 1555750"/>
                <a:gd name="connsiteY13" fmla="*/ 450850 h 1092200"/>
                <a:gd name="connsiteX14" fmla="*/ 825500 w 1555750"/>
                <a:gd name="connsiteY14" fmla="*/ 311150 h 1092200"/>
                <a:gd name="connsiteX15" fmla="*/ 819150 w 1555750"/>
                <a:gd name="connsiteY15" fmla="*/ 0 h 1092200"/>
                <a:gd name="connsiteX16" fmla="*/ 660400 w 1555750"/>
                <a:gd name="connsiteY16" fmla="*/ 88900 h 1092200"/>
                <a:gd name="connsiteX0" fmla="*/ 666356 w 1561706"/>
                <a:gd name="connsiteY0" fmla="*/ 88900 h 1092200"/>
                <a:gd name="connsiteX1" fmla="*/ 647306 w 1561706"/>
                <a:gd name="connsiteY1" fmla="*/ 311150 h 1092200"/>
                <a:gd name="connsiteX2" fmla="*/ 507606 w 1561706"/>
                <a:gd name="connsiteY2" fmla="*/ 514350 h 1092200"/>
                <a:gd name="connsiteX3" fmla="*/ 188518 w 1561706"/>
                <a:gd name="connsiteY3" fmla="*/ 566737 h 1092200"/>
                <a:gd name="connsiteX4" fmla="*/ 5956 w 1561706"/>
                <a:gd name="connsiteY4" fmla="*/ 1079500 h 1092200"/>
                <a:gd name="connsiteX5" fmla="*/ 177406 w 1561706"/>
                <a:gd name="connsiteY5" fmla="*/ 1079500 h 1092200"/>
                <a:gd name="connsiteX6" fmla="*/ 190106 w 1561706"/>
                <a:gd name="connsiteY6" fmla="*/ 876300 h 1092200"/>
                <a:gd name="connsiteX7" fmla="*/ 361556 w 1561706"/>
                <a:gd name="connsiteY7" fmla="*/ 685800 h 1092200"/>
                <a:gd name="connsiteX8" fmla="*/ 729856 w 1561706"/>
                <a:gd name="connsiteY8" fmla="*/ 533400 h 1092200"/>
                <a:gd name="connsiteX9" fmla="*/ 1193406 w 1561706"/>
                <a:gd name="connsiteY9" fmla="*/ 692150 h 1092200"/>
                <a:gd name="connsiteX10" fmla="*/ 1339456 w 1561706"/>
                <a:gd name="connsiteY10" fmla="*/ 1092200 h 1092200"/>
                <a:gd name="connsiteX11" fmla="*/ 1561706 w 1561706"/>
                <a:gd name="connsiteY11" fmla="*/ 1079500 h 1092200"/>
                <a:gd name="connsiteX12" fmla="*/ 1352156 w 1561706"/>
                <a:gd name="connsiteY12" fmla="*/ 565150 h 1092200"/>
                <a:gd name="connsiteX13" fmla="*/ 926706 w 1561706"/>
                <a:gd name="connsiteY13" fmla="*/ 450850 h 1092200"/>
                <a:gd name="connsiteX14" fmla="*/ 831456 w 1561706"/>
                <a:gd name="connsiteY14" fmla="*/ 311150 h 1092200"/>
                <a:gd name="connsiteX15" fmla="*/ 825106 w 1561706"/>
                <a:gd name="connsiteY15" fmla="*/ 0 h 1092200"/>
                <a:gd name="connsiteX16" fmla="*/ 666356 w 1561706"/>
                <a:gd name="connsiteY16" fmla="*/ 88900 h 1092200"/>
                <a:gd name="connsiteX0" fmla="*/ 666356 w 1561706"/>
                <a:gd name="connsiteY0" fmla="*/ 88900 h 1092200"/>
                <a:gd name="connsiteX1" fmla="*/ 647306 w 1561706"/>
                <a:gd name="connsiteY1" fmla="*/ 311150 h 1092200"/>
                <a:gd name="connsiteX2" fmla="*/ 507606 w 1561706"/>
                <a:gd name="connsiteY2" fmla="*/ 514350 h 1092200"/>
                <a:gd name="connsiteX3" fmla="*/ 188518 w 1561706"/>
                <a:gd name="connsiteY3" fmla="*/ 566737 h 1092200"/>
                <a:gd name="connsiteX4" fmla="*/ 5956 w 1561706"/>
                <a:gd name="connsiteY4" fmla="*/ 1079500 h 1092200"/>
                <a:gd name="connsiteX5" fmla="*/ 177406 w 1561706"/>
                <a:gd name="connsiteY5" fmla="*/ 1079500 h 1092200"/>
                <a:gd name="connsiteX6" fmla="*/ 190106 w 1561706"/>
                <a:gd name="connsiteY6" fmla="*/ 876300 h 1092200"/>
                <a:gd name="connsiteX7" fmla="*/ 361556 w 1561706"/>
                <a:gd name="connsiteY7" fmla="*/ 685800 h 1092200"/>
                <a:gd name="connsiteX8" fmla="*/ 729856 w 1561706"/>
                <a:gd name="connsiteY8" fmla="*/ 533400 h 1092200"/>
                <a:gd name="connsiteX9" fmla="*/ 1193406 w 1561706"/>
                <a:gd name="connsiteY9" fmla="*/ 692150 h 1092200"/>
                <a:gd name="connsiteX10" fmla="*/ 1339456 w 1561706"/>
                <a:gd name="connsiteY10" fmla="*/ 1092200 h 1092200"/>
                <a:gd name="connsiteX11" fmla="*/ 1561706 w 1561706"/>
                <a:gd name="connsiteY11" fmla="*/ 1079500 h 1092200"/>
                <a:gd name="connsiteX12" fmla="*/ 1352156 w 1561706"/>
                <a:gd name="connsiteY12" fmla="*/ 565150 h 1092200"/>
                <a:gd name="connsiteX13" fmla="*/ 926706 w 1561706"/>
                <a:gd name="connsiteY13" fmla="*/ 450850 h 1092200"/>
                <a:gd name="connsiteX14" fmla="*/ 831456 w 1561706"/>
                <a:gd name="connsiteY14" fmla="*/ 311150 h 1092200"/>
                <a:gd name="connsiteX15" fmla="*/ 825106 w 1561706"/>
                <a:gd name="connsiteY15" fmla="*/ 0 h 1092200"/>
                <a:gd name="connsiteX16" fmla="*/ 666356 w 1561706"/>
                <a:gd name="connsiteY16" fmla="*/ 88900 h 1092200"/>
                <a:gd name="connsiteX0" fmla="*/ 666356 w 1561706"/>
                <a:gd name="connsiteY0" fmla="*/ 88900 h 1092200"/>
                <a:gd name="connsiteX1" fmla="*/ 647306 w 1561706"/>
                <a:gd name="connsiteY1" fmla="*/ 311150 h 1092200"/>
                <a:gd name="connsiteX2" fmla="*/ 507606 w 1561706"/>
                <a:gd name="connsiteY2" fmla="*/ 514350 h 1092200"/>
                <a:gd name="connsiteX3" fmla="*/ 188518 w 1561706"/>
                <a:gd name="connsiteY3" fmla="*/ 566737 h 1092200"/>
                <a:gd name="connsiteX4" fmla="*/ 5956 w 1561706"/>
                <a:gd name="connsiteY4" fmla="*/ 1079500 h 1092200"/>
                <a:gd name="connsiteX5" fmla="*/ 177406 w 1561706"/>
                <a:gd name="connsiteY5" fmla="*/ 1079500 h 1092200"/>
                <a:gd name="connsiteX6" fmla="*/ 190106 w 1561706"/>
                <a:gd name="connsiteY6" fmla="*/ 876300 h 1092200"/>
                <a:gd name="connsiteX7" fmla="*/ 361556 w 1561706"/>
                <a:gd name="connsiteY7" fmla="*/ 685800 h 1092200"/>
                <a:gd name="connsiteX8" fmla="*/ 729856 w 1561706"/>
                <a:gd name="connsiteY8" fmla="*/ 533400 h 1092200"/>
                <a:gd name="connsiteX9" fmla="*/ 1193406 w 1561706"/>
                <a:gd name="connsiteY9" fmla="*/ 692150 h 1092200"/>
                <a:gd name="connsiteX10" fmla="*/ 1339456 w 1561706"/>
                <a:gd name="connsiteY10" fmla="*/ 1092200 h 1092200"/>
                <a:gd name="connsiteX11" fmla="*/ 1561706 w 1561706"/>
                <a:gd name="connsiteY11" fmla="*/ 1079500 h 1092200"/>
                <a:gd name="connsiteX12" fmla="*/ 1352156 w 1561706"/>
                <a:gd name="connsiteY12" fmla="*/ 565150 h 1092200"/>
                <a:gd name="connsiteX13" fmla="*/ 926706 w 1561706"/>
                <a:gd name="connsiteY13" fmla="*/ 450850 h 1092200"/>
                <a:gd name="connsiteX14" fmla="*/ 831456 w 1561706"/>
                <a:gd name="connsiteY14" fmla="*/ 311150 h 1092200"/>
                <a:gd name="connsiteX15" fmla="*/ 825106 w 1561706"/>
                <a:gd name="connsiteY15" fmla="*/ 0 h 1092200"/>
                <a:gd name="connsiteX16" fmla="*/ 666356 w 1561706"/>
                <a:gd name="connsiteY16" fmla="*/ 88900 h 1092200"/>
                <a:gd name="connsiteX0" fmla="*/ 666356 w 1561706"/>
                <a:gd name="connsiteY0" fmla="*/ 88900 h 1092200"/>
                <a:gd name="connsiteX1" fmla="*/ 647306 w 1561706"/>
                <a:gd name="connsiteY1" fmla="*/ 311150 h 1092200"/>
                <a:gd name="connsiteX2" fmla="*/ 507606 w 1561706"/>
                <a:gd name="connsiteY2" fmla="*/ 514350 h 1092200"/>
                <a:gd name="connsiteX3" fmla="*/ 188518 w 1561706"/>
                <a:gd name="connsiteY3" fmla="*/ 566737 h 1092200"/>
                <a:gd name="connsiteX4" fmla="*/ 5956 w 1561706"/>
                <a:gd name="connsiteY4" fmla="*/ 1079500 h 1092200"/>
                <a:gd name="connsiteX5" fmla="*/ 177406 w 1561706"/>
                <a:gd name="connsiteY5" fmla="*/ 1079500 h 1092200"/>
                <a:gd name="connsiteX6" fmla="*/ 190106 w 1561706"/>
                <a:gd name="connsiteY6" fmla="*/ 876300 h 1092200"/>
                <a:gd name="connsiteX7" fmla="*/ 361556 w 1561706"/>
                <a:gd name="connsiteY7" fmla="*/ 685800 h 1092200"/>
                <a:gd name="connsiteX8" fmla="*/ 729856 w 1561706"/>
                <a:gd name="connsiteY8" fmla="*/ 533400 h 1092200"/>
                <a:gd name="connsiteX9" fmla="*/ 1193406 w 1561706"/>
                <a:gd name="connsiteY9" fmla="*/ 692150 h 1092200"/>
                <a:gd name="connsiteX10" fmla="*/ 1339456 w 1561706"/>
                <a:gd name="connsiteY10" fmla="*/ 1092200 h 1092200"/>
                <a:gd name="connsiteX11" fmla="*/ 1561706 w 1561706"/>
                <a:gd name="connsiteY11" fmla="*/ 1079500 h 1092200"/>
                <a:gd name="connsiteX12" fmla="*/ 1352156 w 1561706"/>
                <a:gd name="connsiteY12" fmla="*/ 565150 h 1092200"/>
                <a:gd name="connsiteX13" fmla="*/ 926706 w 1561706"/>
                <a:gd name="connsiteY13" fmla="*/ 450850 h 1092200"/>
                <a:gd name="connsiteX14" fmla="*/ 831456 w 1561706"/>
                <a:gd name="connsiteY14" fmla="*/ 311150 h 1092200"/>
                <a:gd name="connsiteX15" fmla="*/ 825106 w 1561706"/>
                <a:gd name="connsiteY15" fmla="*/ 0 h 1092200"/>
                <a:gd name="connsiteX16" fmla="*/ 666356 w 1561706"/>
                <a:gd name="connsiteY16" fmla="*/ 88900 h 1092200"/>
                <a:gd name="connsiteX0" fmla="*/ 666356 w 1561706"/>
                <a:gd name="connsiteY0" fmla="*/ 88900 h 1092200"/>
                <a:gd name="connsiteX1" fmla="*/ 647306 w 1561706"/>
                <a:gd name="connsiteY1" fmla="*/ 311150 h 1092200"/>
                <a:gd name="connsiteX2" fmla="*/ 507606 w 1561706"/>
                <a:gd name="connsiteY2" fmla="*/ 514350 h 1092200"/>
                <a:gd name="connsiteX3" fmla="*/ 188518 w 1561706"/>
                <a:gd name="connsiteY3" fmla="*/ 566737 h 1092200"/>
                <a:gd name="connsiteX4" fmla="*/ 5956 w 1561706"/>
                <a:gd name="connsiteY4" fmla="*/ 1079500 h 1092200"/>
                <a:gd name="connsiteX5" fmla="*/ 177406 w 1561706"/>
                <a:gd name="connsiteY5" fmla="*/ 1079500 h 1092200"/>
                <a:gd name="connsiteX6" fmla="*/ 190106 w 1561706"/>
                <a:gd name="connsiteY6" fmla="*/ 876300 h 1092200"/>
                <a:gd name="connsiteX7" fmla="*/ 361556 w 1561706"/>
                <a:gd name="connsiteY7" fmla="*/ 685800 h 1092200"/>
                <a:gd name="connsiteX8" fmla="*/ 729856 w 1561706"/>
                <a:gd name="connsiteY8" fmla="*/ 533400 h 1092200"/>
                <a:gd name="connsiteX9" fmla="*/ 1193406 w 1561706"/>
                <a:gd name="connsiteY9" fmla="*/ 692150 h 1092200"/>
                <a:gd name="connsiteX10" fmla="*/ 1339456 w 1561706"/>
                <a:gd name="connsiteY10" fmla="*/ 1092200 h 1092200"/>
                <a:gd name="connsiteX11" fmla="*/ 1561706 w 1561706"/>
                <a:gd name="connsiteY11" fmla="*/ 1079500 h 1092200"/>
                <a:gd name="connsiteX12" fmla="*/ 1352156 w 1561706"/>
                <a:gd name="connsiteY12" fmla="*/ 565150 h 1092200"/>
                <a:gd name="connsiteX13" fmla="*/ 926706 w 1561706"/>
                <a:gd name="connsiteY13" fmla="*/ 450850 h 1092200"/>
                <a:gd name="connsiteX14" fmla="*/ 831456 w 1561706"/>
                <a:gd name="connsiteY14" fmla="*/ 311150 h 1092200"/>
                <a:gd name="connsiteX15" fmla="*/ 825106 w 1561706"/>
                <a:gd name="connsiteY15" fmla="*/ 0 h 1092200"/>
                <a:gd name="connsiteX16" fmla="*/ 666356 w 1561706"/>
                <a:gd name="connsiteY16" fmla="*/ 88900 h 1092200"/>
                <a:gd name="connsiteX0" fmla="*/ 666356 w 1561706"/>
                <a:gd name="connsiteY0" fmla="*/ 88900 h 1092200"/>
                <a:gd name="connsiteX1" fmla="*/ 647306 w 1561706"/>
                <a:gd name="connsiteY1" fmla="*/ 311150 h 1092200"/>
                <a:gd name="connsiteX2" fmla="*/ 507606 w 1561706"/>
                <a:gd name="connsiteY2" fmla="*/ 514350 h 1092200"/>
                <a:gd name="connsiteX3" fmla="*/ 188518 w 1561706"/>
                <a:gd name="connsiteY3" fmla="*/ 566737 h 1092200"/>
                <a:gd name="connsiteX4" fmla="*/ 5956 w 1561706"/>
                <a:gd name="connsiteY4" fmla="*/ 1079500 h 1092200"/>
                <a:gd name="connsiteX5" fmla="*/ 177406 w 1561706"/>
                <a:gd name="connsiteY5" fmla="*/ 1079500 h 1092200"/>
                <a:gd name="connsiteX6" fmla="*/ 190106 w 1561706"/>
                <a:gd name="connsiteY6" fmla="*/ 876300 h 1092200"/>
                <a:gd name="connsiteX7" fmla="*/ 361556 w 1561706"/>
                <a:gd name="connsiteY7" fmla="*/ 685800 h 1092200"/>
                <a:gd name="connsiteX8" fmla="*/ 729856 w 1561706"/>
                <a:gd name="connsiteY8" fmla="*/ 533400 h 1092200"/>
                <a:gd name="connsiteX9" fmla="*/ 1193406 w 1561706"/>
                <a:gd name="connsiteY9" fmla="*/ 692150 h 1092200"/>
                <a:gd name="connsiteX10" fmla="*/ 1339456 w 1561706"/>
                <a:gd name="connsiteY10" fmla="*/ 1092200 h 1092200"/>
                <a:gd name="connsiteX11" fmla="*/ 1561706 w 1561706"/>
                <a:gd name="connsiteY11" fmla="*/ 1079500 h 1092200"/>
                <a:gd name="connsiteX12" fmla="*/ 1352156 w 1561706"/>
                <a:gd name="connsiteY12" fmla="*/ 565150 h 1092200"/>
                <a:gd name="connsiteX13" fmla="*/ 926706 w 1561706"/>
                <a:gd name="connsiteY13" fmla="*/ 450850 h 1092200"/>
                <a:gd name="connsiteX14" fmla="*/ 831456 w 1561706"/>
                <a:gd name="connsiteY14" fmla="*/ 311150 h 1092200"/>
                <a:gd name="connsiteX15" fmla="*/ 825106 w 1561706"/>
                <a:gd name="connsiteY15" fmla="*/ 0 h 1092200"/>
                <a:gd name="connsiteX16" fmla="*/ 666356 w 1561706"/>
                <a:gd name="connsiteY16" fmla="*/ 88900 h 1092200"/>
                <a:gd name="connsiteX0" fmla="*/ 666356 w 1561706"/>
                <a:gd name="connsiteY0" fmla="*/ 88900 h 1092200"/>
                <a:gd name="connsiteX1" fmla="*/ 647306 w 1561706"/>
                <a:gd name="connsiteY1" fmla="*/ 311150 h 1092200"/>
                <a:gd name="connsiteX2" fmla="*/ 507606 w 1561706"/>
                <a:gd name="connsiteY2" fmla="*/ 514350 h 1092200"/>
                <a:gd name="connsiteX3" fmla="*/ 188518 w 1561706"/>
                <a:gd name="connsiteY3" fmla="*/ 566737 h 1092200"/>
                <a:gd name="connsiteX4" fmla="*/ 5956 w 1561706"/>
                <a:gd name="connsiteY4" fmla="*/ 1079500 h 1092200"/>
                <a:gd name="connsiteX5" fmla="*/ 177406 w 1561706"/>
                <a:gd name="connsiteY5" fmla="*/ 1079500 h 1092200"/>
                <a:gd name="connsiteX6" fmla="*/ 190106 w 1561706"/>
                <a:gd name="connsiteY6" fmla="*/ 876300 h 1092200"/>
                <a:gd name="connsiteX7" fmla="*/ 361556 w 1561706"/>
                <a:gd name="connsiteY7" fmla="*/ 685800 h 1092200"/>
                <a:gd name="connsiteX8" fmla="*/ 729856 w 1561706"/>
                <a:gd name="connsiteY8" fmla="*/ 533400 h 1092200"/>
                <a:gd name="connsiteX9" fmla="*/ 1190231 w 1561706"/>
                <a:gd name="connsiteY9" fmla="*/ 712787 h 1092200"/>
                <a:gd name="connsiteX10" fmla="*/ 1339456 w 1561706"/>
                <a:gd name="connsiteY10" fmla="*/ 1092200 h 1092200"/>
                <a:gd name="connsiteX11" fmla="*/ 1561706 w 1561706"/>
                <a:gd name="connsiteY11" fmla="*/ 1079500 h 1092200"/>
                <a:gd name="connsiteX12" fmla="*/ 1352156 w 1561706"/>
                <a:gd name="connsiteY12" fmla="*/ 565150 h 1092200"/>
                <a:gd name="connsiteX13" fmla="*/ 926706 w 1561706"/>
                <a:gd name="connsiteY13" fmla="*/ 450850 h 1092200"/>
                <a:gd name="connsiteX14" fmla="*/ 831456 w 1561706"/>
                <a:gd name="connsiteY14" fmla="*/ 311150 h 1092200"/>
                <a:gd name="connsiteX15" fmla="*/ 825106 w 1561706"/>
                <a:gd name="connsiteY15" fmla="*/ 0 h 1092200"/>
                <a:gd name="connsiteX16" fmla="*/ 666356 w 1561706"/>
                <a:gd name="connsiteY16" fmla="*/ 88900 h 1092200"/>
                <a:gd name="connsiteX0" fmla="*/ 666356 w 1561706"/>
                <a:gd name="connsiteY0" fmla="*/ 88900 h 1092200"/>
                <a:gd name="connsiteX1" fmla="*/ 647306 w 1561706"/>
                <a:gd name="connsiteY1" fmla="*/ 311150 h 1092200"/>
                <a:gd name="connsiteX2" fmla="*/ 507606 w 1561706"/>
                <a:gd name="connsiteY2" fmla="*/ 514350 h 1092200"/>
                <a:gd name="connsiteX3" fmla="*/ 188518 w 1561706"/>
                <a:gd name="connsiteY3" fmla="*/ 566737 h 1092200"/>
                <a:gd name="connsiteX4" fmla="*/ 5956 w 1561706"/>
                <a:gd name="connsiteY4" fmla="*/ 1079500 h 1092200"/>
                <a:gd name="connsiteX5" fmla="*/ 177406 w 1561706"/>
                <a:gd name="connsiteY5" fmla="*/ 1079500 h 1092200"/>
                <a:gd name="connsiteX6" fmla="*/ 190106 w 1561706"/>
                <a:gd name="connsiteY6" fmla="*/ 876300 h 1092200"/>
                <a:gd name="connsiteX7" fmla="*/ 361556 w 1561706"/>
                <a:gd name="connsiteY7" fmla="*/ 685800 h 1092200"/>
                <a:gd name="connsiteX8" fmla="*/ 729856 w 1561706"/>
                <a:gd name="connsiteY8" fmla="*/ 533400 h 1092200"/>
                <a:gd name="connsiteX9" fmla="*/ 1190231 w 1561706"/>
                <a:gd name="connsiteY9" fmla="*/ 712787 h 1092200"/>
                <a:gd name="connsiteX10" fmla="*/ 1339456 w 1561706"/>
                <a:gd name="connsiteY10" fmla="*/ 1092200 h 1092200"/>
                <a:gd name="connsiteX11" fmla="*/ 1561706 w 1561706"/>
                <a:gd name="connsiteY11" fmla="*/ 1079500 h 1092200"/>
                <a:gd name="connsiteX12" fmla="*/ 1352156 w 1561706"/>
                <a:gd name="connsiteY12" fmla="*/ 565150 h 1092200"/>
                <a:gd name="connsiteX13" fmla="*/ 926706 w 1561706"/>
                <a:gd name="connsiteY13" fmla="*/ 450850 h 1092200"/>
                <a:gd name="connsiteX14" fmla="*/ 831456 w 1561706"/>
                <a:gd name="connsiteY14" fmla="*/ 311150 h 1092200"/>
                <a:gd name="connsiteX15" fmla="*/ 825106 w 1561706"/>
                <a:gd name="connsiteY15" fmla="*/ 0 h 1092200"/>
                <a:gd name="connsiteX16" fmla="*/ 666356 w 1561706"/>
                <a:gd name="connsiteY16" fmla="*/ 88900 h 1092200"/>
                <a:gd name="connsiteX0" fmla="*/ 666356 w 1561706"/>
                <a:gd name="connsiteY0" fmla="*/ 88900 h 1092200"/>
                <a:gd name="connsiteX1" fmla="*/ 647306 w 1561706"/>
                <a:gd name="connsiteY1" fmla="*/ 311150 h 1092200"/>
                <a:gd name="connsiteX2" fmla="*/ 507606 w 1561706"/>
                <a:gd name="connsiteY2" fmla="*/ 514350 h 1092200"/>
                <a:gd name="connsiteX3" fmla="*/ 188518 w 1561706"/>
                <a:gd name="connsiteY3" fmla="*/ 566737 h 1092200"/>
                <a:gd name="connsiteX4" fmla="*/ 5956 w 1561706"/>
                <a:gd name="connsiteY4" fmla="*/ 1079500 h 1092200"/>
                <a:gd name="connsiteX5" fmla="*/ 177406 w 1561706"/>
                <a:gd name="connsiteY5" fmla="*/ 1079500 h 1092200"/>
                <a:gd name="connsiteX6" fmla="*/ 190106 w 1561706"/>
                <a:gd name="connsiteY6" fmla="*/ 876300 h 1092200"/>
                <a:gd name="connsiteX7" fmla="*/ 361556 w 1561706"/>
                <a:gd name="connsiteY7" fmla="*/ 685800 h 1092200"/>
                <a:gd name="connsiteX8" fmla="*/ 729856 w 1561706"/>
                <a:gd name="connsiteY8" fmla="*/ 533400 h 1092200"/>
                <a:gd name="connsiteX9" fmla="*/ 1190231 w 1561706"/>
                <a:gd name="connsiteY9" fmla="*/ 712787 h 1092200"/>
                <a:gd name="connsiteX10" fmla="*/ 1339456 w 1561706"/>
                <a:gd name="connsiteY10" fmla="*/ 1092200 h 1092200"/>
                <a:gd name="connsiteX11" fmla="*/ 1561706 w 1561706"/>
                <a:gd name="connsiteY11" fmla="*/ 1079500 h 1092200"/>
                <a:gd name="connsiteX12" fmla="*/ 1352156 w 1561706"/>
                <a:gd name="connsiteY12" fmla="*/ 565150 h 1092200"/>
                <a:gd name="connsiteX13" fmla="*/ 926706 w 1561706"/>
                <a:gd name="connsiteY13" fmla="*/ 450850 h 1092200"/>
                <a:gd name="connsiteX14" fmla="*/ 831456 w 1561706"/>
                <a:gd name="connsiteY14" fmla="*/ 311150 h 1092200"/>
                <a:gd name="connsiteX15" fmla="*/ 825106 w 1561706"/>
                <a:gd name="connsiteY15" fmla="*/ 0 h 1092200"/>
                <a:gd name="connsiteX16" fmla="*/ 666356 w 1561706"/>
                <a:gd name="connsiteY16" fmla="*/ 88900 h 1092200"/>
                <a:gd name="connsiteX0" fmla="*/ 666356 w 1561706"/>
                <a:gd name="connsiteY0" fmla="*/ 88900 h 1092200"/>
                <a:gd name="connsiteX1" fmla="*/ 647306 w 1561706"/>
                <a:gd name="connsiteY1" fmla="*/ 311150 h 1092200"/>
                <a:gd name="connsiteX2" fmla="*/ 507606 w 1561706"/>
                <a:gd name="connsiteY2" fmla="*/ 514350 h 1092200"/>
                <a:gd name="connsiteX3" fmla="*/ 188518 w 1561706"/>
                <a:gd name="connsiteY3" fmla="*/ 566737 h 1092200"/>
                <a:gd name="connsiteX4" fmla="*/ 5956 w 1561706"/>
                <a:gd name="connsiteY4" fmla="*/ 1079500 h 1092200"/>
                <a:gd name="connsiteX5" fmla="*/ 177406 w 1561706"/>
                <a:gd name="connsiteY5" fmla="*/ 1079500 h 1092200"/>
                <a:gd name="connsiteX6" fmla="*/ 190106 w 1561706"/>
                <a:gd name="connsiteY6" fmla="*/ 876300 h 1092200"/>
                <a:gd name="connsiteX7" fmla="*/ 361556 w 1561706"/>
                <a:gd name="connsiteY7" fmla="*/ 685800 h 1092200"/>
                <a:gd name="connsiteX8" fmla="*/ 729856 w 1561706"/>
                <a:gd name="connsiteY8" fmla="*/ 533400 h 1092200"/>
                <a:gd name="connsiteX9" fmla="*/ 1190231 w 1561706"/>
                <a:gd name="connsiteY9" fmla="*/ 712787 h 1092200"/>
                <a:gd name="connsiteX10" fmla="*/ 1339456 w 1561706"/>
                <a:gd name="connsiteY10" fmla="*/ 1092200 h 1092200"/>
                <a:gd name="connsiteX11" fmla="*/ 1561706 w 1561706"/>
                <a:gd name="connsiteY11" fmla="*/ 1079500 h 1092200"/>
                <a:gd name="connsiteX12" fmla="*/ 1339456 w 1561706"/>
                <a:gd name="connsiteY12" fmla="*/ 587375 h 1092200"/>
                <a:gd name="connsiteX13" fmla="*/ 926706 w 1561706"/>
                <a:gd name="connsiteY13" fmla="*/ 450850 h 1092200"/>
                <a:gd name="connsiteX14" fmla="*/ 831456 w 1561706"/>
                <a:gd name="connsiteY14" fmla="*/ 311150 h 1092200"/>
                <a:gd name="connsiteX15" fmla="*/ 825106 w 1561706"/>
                <a:gd name="connsiteY15" fmla="*/ 0 h 1092200"/>
                <a:gd name="connsiteX16" fmla="*/ 666356 w 1561706"/>
                <a:gd name="connsiteY16" fmla="*/ 88900 h 1092200"/>
                <a:gd name="connsiteX0" fmla="*/ 666356 w 1561706"/>
                <a:gd name="connsiteY0" fmla="*/ 88900 h 1092200"/>
                <a:gd name="connsiteX1" fmla="*/ 647306 w 1561706"/>
                <a:gd name="connsiteY1" fmla="*/ 311150 h 1092200"/>
                <a:gd name="connsiteX2" fmla="*/ 507606 w 1561706"/>
                <a:gd name="connsiteY2" fmla="*/ 514350 h 1092200"/>
                <a:gd name="connsiteX3" fmla="*/ 188518 w 1561706"/>
                <a:gd name="connsiteY3" fmla="*/ 566737 h 1092200"/>
                <a:gd name="connsiteX4" fmla="*/ 5956 w 1561706"/>
                <a:gd name="connsiteY4" fmla="*/ 1079500 h 1092200"/>
                <a:gd name="connsiteX5" fmla="*/ 177406 w 1561706"/>
                <a:gd name="connsiteY5" fmla="*/ 1079500 h 1092200"/>
                <a:gd name="connsiteX6" fmla="*/ 190106 w 1561706"/>
                <a:gd name="connsiteY6" fmla="*/ 876300 h 1092200"/>
                <a:gd name="connsiteX7" fmla="*/ 361556 w 1561706"/>
                <a:gd name="connsiteY7" fmla="*/ 685800 h 1092200"/>
                <a:gd name="connsiteX8" fmla="*/ 729856 w 1561706"/>
                <a:gd name="connsiteY8" fmla="*/ 533400 h 1092200"/>
                <a:gd name="connsiteX9" fmla="*/ 1190231 w 1561706"/>
                <a:gd name="connsiteY9" fmla="*/ 712787 h 1092200"/>
                <a:gd name="connsiteX10" fmla="*/ 1339456 w 1561706"/>
                <a:gd name="connsiteY10" fmla="*/ 1092200 h 1092200"/>
                <a:gd name="connsiteX11" fmla="*/ 1561706 w 1561706"/>
                <a:gd name="connsiteY11" fmla="*/ 1079500 h 1092200"/>
                <a:gd name="connsiteX12" fmla="*/ 1339456 w 1561706"/>
                <a:gd name="connsiteY12" fmla="*/ 587375 h 1092200"/>
                <a:gd name="connsiteX13" fmla="*/ 926706 w 1561706"/>
                <a:gd name="connsiteY13" fmla="*/ 450850 h 1092200"/>
                <a:gd name="connsiteX14" fmla="*/ 831456 w 1561706"/>
                <a:gd name="connsiteY14" fmla="*/ 311150 h 1092200"/>
                <a:gd name="connsiteX15" fmla="*/ 825106 w 1561706"/>
                <a:gd name="connsiteY15" fmla="*/ 0 h 1092200"/>
                <a:gd name="connsiteX16" fmla="*/ 666356 w 1561706"/>
                <a:gd name="connsiteY16" fmla="*/ 88900 h 1092200"/>
                <a:gd name="connsiteX0" fmla="*/ 666356 w 1526781"/>
                <a:gd name="connsiteY0" fmla="*/ 88900 h 1092200"/>
                <a:gd name="connsiteX1" fmla="*/ 647306 w 1526781"/>
                <a:gd name="connsiteY1" fmla="*/ 311150 h 1092200"/>
                <a:gd name="connsiteX2" fmla="*/ 507606 w 1526781"/>
                <a:gd name="connsiteY2" fmla="*/ 514350 h 1092200"/>
                <a:gd name="connsiteX3" fmla="*/ 188518 w 1526781"/>
                <a:gd name="connsiteY3" fmla="*/ 566737 h 1092200"/>
                <a:gd name="connsiteX4" fmla="*/ 5956 w 1526781"/>
                <a:gd name="connsiteY4" fmla="*/ 1079500 h 1092200"/>
                <a:gd name="connsiteX5" fmla="*/ 177406 w 1526781"/>
                <a:gd name="connsiteY5" fmla="*/ 1079500 h 1092200"/>
                <a:gd name="connsiteX6" fmla="*/ 190106 w 1526781"/>
                <a:gd name="connsiteY6" fmla="*/ 876300 h 1092200"/>
                <a:gd name="connsiteX7" fmla="*/ 361556 w 1526781"/>
                <a:gd name="connsiteY7" fmla="*/ 685800 h 1092200"/>
                <a:gd name="connsiteX8" fmla="*/ 729856 w 1526781"/>
                <a:gd name="connsiteY8" fmla="*/ 533400 h 1092200"/>
                <a:gd name="connsiteX9" fmla="*/ 1190231 w 1526781"/>
                <a:gd name="connsiteY9" fmla="*/ 712787 h 1092200"/>
                <a:gd name="connsiteX10" fmla="*/ 1339456 w 1526781"/>
                <a:gd name="connsiteY10" fmla="*/ 1092200 h 1092200"/>
                <a:gd name="connsiteX11" fmla="*/ 1526781 w 1526781"/>
                <a:gd name="connsiteY11" fmla="*/ 1076325 h 1092200"/>
                <a:gd name="connsiteX12" fmla="*/ 1339456 w 1526781"/>
                <a:gd name="connsiteY12" fmla="*/ 587375 h 1092200"/>
                <a:gd name="connsiteX13" fmla="*/ 926706 w 1526781"/>
                <a:gd name="connsiteY13" fmla="*/ 450850 h 1092200"/>
                <a:gd name="connsiteX14" fmla="*/ 831456 w 1526781"/>
                <a:gd name="connsiteY14" fmla="*/ 311150 h 1092200"/>
                <a:gd name="connsiteX15" fmla="*/ 825106 w 1526781"/>
                <a:gd name="connsiteY15" fmla="*/ 0 h 1092200"/>
                <a:gd name="connsiteX16" fmla="*/ 666356 w 1526781"/>
                <a:gd name="connsiteY16" fmla="*/ 88900 h 1092200"/>
                <a:gd name="connsiteX0" fmla="*/ 666356 w 1526781"/>
                <a:gd name="connsiteY0" fmla="*/ 88900 h 1092200"/>
                <a:gd name="connsiteX1" fmla="*/ 647306 w 1526781"/>
                <a:gd name="connsiteY1" fmla="*/ 311150 h 1092200"/>
                <a:gd name="connsiteX2" fmla="*/ 507606 w 1526781"/>
                <a:gd name="connsiteY2" fmla="*/ 514350 h 1092200"/>
                <a:gd name="connsiteX3" fmla="*/ 188518 w 1526781"/>
                <a:gd name="connsiteY3" fmla="*/ 566737 h 1092200"/>
                <a:gd name="connsiteX4" fmla="*/ 5956 w 1526781"/>
                <a:gd name="connsiteY4" fmla="*/ 1079500 h 1092200"/>
                <a:gd name="connsiteX5" fmla="*/ 177406 w 1526781"/>
                <a:gd name="connsiteY5" fmla="*/ 1079500 h 1092200"/>
                <a:gd name="connsiteX6" fmla="*/ 190106 w 1526781"/>
                <a:gd name="connsiteY6" fmla="*/ 876300 h 1092200"/>
                <a:gd name="connsiteX7" fmla="*/ 361556 w 1526781"/>
                <a:gd name="connsiteY7" fmla="*/ 685800 h 1092200"/>
                <a:gd name="connsiteX8" fmla="*/ 729856 w 1526781"/>
                <a:gd name="connsiteY8" fmla="*/ 533400 h 1092200"/>
                <a:gd name="connsiteX9" fmla="*/ 1190231 w 1526781"/>
                <a:gd name="connsiteY9" fmla="*/ 712787 h 1092200"/>
                <a:gd name="connsiteX10" fmla="*/ 1339456 w 1526781"/>
                <a:gd name="connsiteY10" fmla="*/ 1092200 h 1092200"/>
                <a:gd name="connsiteX11" fmla="*/ 1526781 w 1526781"/>
                <a:gd name="connsiteY11" fmla="*/ 1076325 h 1092200"/>
                <a:gd name="connsiteX12" fmla="*/ 1339456 w 1526781"/>
                <a:gd name="connsiteY12" fmla="*/ 587375 h 1092200"/>
                <a:gd name="connsiteX13" fmla="*/ 926706 w 1526781"/>
                <a:gd name="connsiteY13" fmla="*/ 450850 h 1092200"/>
                <a:gd name="connsiteX14" fmla="*/ 831456 w 1526781"/>
                <a:gd name="connsiteY14" fmla="*/ 311150 h 1092200"/>
                <a:gd name="connsiteX15" fmla="*/ 825106 w 1526781"/>
                <a:gd name="connsiteY15" fmla="*/ 0 h 1092200"/>
                <a:gd name="connsiteX16" fmla="*/ 666356 w 1526781"/>
                <a:gd name="connsiteY16" fmla="*/ 88900 h 1092200"/>
                <a:gd name="connsiteX0" fmla="*/ 666356 w 1526781"/>
                <a:gd name="connsiteY0" fmla="*/ 88900 h 1092200"/>
                <a:gd name="connsiteX1" fmla="*/ 647306 w 1526781"/>
                <a:gd name="connsiteY1" fmla="*/ 311150 h 1092200"/>
                <a:gd name="connsiteX2" fmla="*/ 507606 w 1526781"/>
                <a:gd name="connsiteY2" fmla="*/ 514350 h 1092200"/>
                <a:gd name="connsiteX3" fmla="*/ 188518 w 1526781"/>
                <a:gd name="connsiteY3" fmla="*/ 566737 h 1092200"/>
                <a:gd name="connsiteX4" fmla="*/ 5956 w 1526781"/>
                <a:gd name="connsiteY4" fmla="*/ 1079500 h 1092200"/>
                <a:gd name="connsiteX5" fmla="*/ 177406 w 1526781"/>
                <a:gd name="connsiteY5" fmla="*/ 1079500 h 1092200"/>
                <a:gd name="connsiteX6" fmla="*/ 190106 w 1526781"/>
                <a:gd name="connsiteY6" fmla="*/ 876300 h 1092200"/>
                <a:gd name="connsiteX7" fmla="*/ 361556 w 1526781"/>
                <a:gd name="connsiteY7" fmla="*/ 685800 h 1092200"/>
                <a:gd name="connsiteX8" fmla="*/ 729856 w 1526781"/>
                <a:gd name="connsiteY8" fmla="*/ 533400 h 1092200"/>
                <a:gd name="connsiteX9" fmla="*/ 1190231 w 1526781"/>
                <a:gd name="connsiteY9" fmla="*/ 712787 h 1092200"/>
                <a:gd name="connsiteX10" fmla="*/ 1339456 w 1526781"/>
                <a:gd name="connsiteY10" fmla="*/ 1092200 h 1092200"/>
                <a:gd name="connsiteX11" fmla="*/ 1526781 w 1526781"/>
                <a:gd name="connsiteY11" fmla="*/ 1076325 h 1092200"/>
                <a:gd name="connsiteX12" fmla="*/ 1339456 w 1526781"/>
                <a:gd name="connsiteY12" fmla="*/ 587375 h 1092200"/>
                <a:gd name="connsiteX13" fmla="*/ 909244 w 1526781"/>
                <a:gd name="connsiteY13" fmla="*/ 469900 h 1092200"/>
                <a:gd name="connsiteX14" fmla="*/ 831456 w 1526781"/>
                <a:gd name="connsiteY14" fmla="*/ 311150 h 1092200"/>
                <a:gd name="connsiteX15" fmla="*/ 825106 w 1526781"/>
                <a:gd name="connsiteY15" fmla="*/ 0 h 1092200"/>
                <a:gd name="connsiteX16" fmla="*/ 666356 w 1526781"/>
                <a:gd name="connsiteY16" fmla="*/ 88900 h 1092200"/>
                <a:gd name="connsiteX0" fmla="*/ 666356 w 1526781"/>
                <a:gd name="connsiteY0" fmla="*/ 88900 h 1092200"/>
                <a:gd name="connsiteX1" fmla="*/ 647306 w 1526781"/>
                <a:gd name="connsiteY1" fmla="*/ 311150 h 1092200"/>
                <a:gd name="connsiteX2" fmla="*/ 507606 w 1526781"/>
                <a:gd name="connsiteY2" fmla="*/ 514350 h 1092200"/>
                <a:gd name="connsiteX3" fmla="*/ 188518 w 1526781"/>
                <a:gd name="connsiteY3" fmla="*/ 566737 h 1092200"/>
                <a:gd name="connsiteX4" fmla="*/ 5956 w 1526781"/>
                <a:gd name="connsiteY4" fmla="*/ 1079500 h 1092200"/>
                <a:gd name="connsiteX5" fmla="*/ 177406 w 1526781"/>
                <a:gd name="connsiteY5" fmla="*/ 1079500 h 1092200"/>
                <a:gd name="connsiteX6" fmla="*/ 190106 w 1526781"/>
                <a:gd name="connsiteY6" fmla="*/ 876300 h 1092200"/>
                <a:gd name="connsiteX7" fmla="*/ 361556 w 1526781"/>
                <a:gd name="connsiteY7" fmla="*/ 685800 h 1092200"/>
                <a:gd name="connsiteX8" fmla="*/ 729856 w 1526781"/>
                <a:gd name="connsiteY8" fmla="*/ 533400 h 1092200"/>
                <a:gd name="connsiteX9" fmla="*/ 1190231 w 1526781"/>
                <a:gd name="connsiteY9" fmla="*/ 712787 h 1092200"/>
                <a:gd name="connsiteX10" fmla="*/ 1339456 w 1526781"/>
                <a:gd name="connsiteY10" fmla="*/ 1092200 h 1092200"/>
                <a:gd name="connsiteX11" fmla="*/ 1526781 w 1526781"/>
                <a:gd name="connsiteY11" fmla="*/ 1076325 h 1092200"/>
                <a:gd name="connsiteX12" fmla="*/ 1339456 w 1526781"/>
                <a:gd name="connsiteY12" fmla="*/ 587375 h 1092200"/>
                <a:gd name="connsiteX13" fmla="*/ 909244 w 1526781"/>
                <a:gd name="connsiteY13" fmla="*/ 469900 h 1092200"/>
                <a:gd name="connsiteX14" fmla="*/ 831456 w 1526781"/>
                <a:gd name="connsiteY14" fmla="*/ 311150 h 1092200"/>
                <a:gd name="connsiteX15" fmla="*/ 825106 w 1526781"/>
                <a:gd name="connsiteY15" fmla="*/ 0 h 1092200"/>
                <a:gd name="connsiteX16" fmla="*/ 666356 w 1526781"/>
                <a:gd name="connsiteY16" fmla="*/ 88900 h 1092200"/>
                <a:gd name="connsiteX0" fmla="*/ 666356 w 1526781"/>
                <a:gd name="connsiteY0" fmla="*/ 88900 h 1092200"/>
                <a:gd name="connsiteX1" fmla="*/ 647306 w 1526781"/>
                <a:gd name="connsiteY1" fmla="*/ 311150 h 1092200"/>
                <a:gd name="connsiteX2" fmla="*/ 507606 w 1526781"/>
                <a:gd name="connsiteY2" fmla="*/ 514350 h 1092200"/>
                <a:gd name="connsiteX3" fmla="*/ 188518 w 1526781"/>
                <a:gd name="connsiteY3" fmla="*/ 566737 h 1092200"/>
                <a:gd name="connsiteX4" fmla="*/ 5956 w 1526781"/>
                <a:gd name="connsiteY4" fmla="*/ 1079500 h 1092200"/>
                <a:gd name="connsiteX5" fmla="*/ 177406 w 1526781"/>
                <a:gd name="connsiteY5" fmla="*/ 1079500 h 1092200"/>
                <a:gd name="connsiteX6" fmla="*/ 190106 w 1526781"/>
                <a:gd name="connsiteY6" fmla="*/ 876300 h 1092200"/>
                <a:gd name="connsiteX7" fmla="*/ 361556 w 1526781"/>
                <a:gd name="connsiteY7" fmla="*/ 685800 h 1092200"/>
                <a:gd name="connsiteX8" fmla="*/ 729856 w 1526781"/>
                <a:gd name="connsiteY8" fmla="*/ 533400 h 1092200"/>
                <a:gd name="connsiteX9" fmla="*/ 1190231 w 1526781"/>
                <a:gd name="connsiteY9" fmla="*/ 712787 h 1092200"/>
                <a:gd name="connsiteX10" fmla="*/ 1339456 w 1526781"/>
                <a:gd name="connsiteY10" fmla="*/ 1092200 h 1092200"/>
                <a:gd name="connsiteX11" fmla="*/ 1526781 w 1526781"/>
                <a:gd name="connsiteY11" fmla="*/ 1076325 h 1092200"/>
                <a:gd name="connsiteX12" fmla="*/ 1339456 w 1526781"/>
                <a:gd name="connsiteY12" fmla="*/ 587375 h 1092200"/>
                <a:gd name="connsiteX13" fmla="*/ 909244 w 1526781"/>
                <a:gd name="connsiteY13" fmla="*/ 469900 h 1092200"/>
                <a:gd name="connsiteX14" fmla="*/ 831456 w 1526781"/>
                <a:gd name="connsiteY14" fmla="*/ 311150 h 1092200"/>
                <a:gd name="connsiteX15" fmla="*/ 825106 w 1526781"/>
                <a:gd name="connsiteY15" fmla="*/ 0 h 1092200"/>
                <a:gd name="connsiteX16" fmla="*/ 666356 w 1526781"/>
                <a:gd name="connsiteY16" fmla="*/ 88900 h 1092200"/>
                <a:gd name="connsiteX0" fmla="*/ 666356 w 1526781"/>
                <a:gd name="connsiteY0" fmla="*/ 88900 h 1092200"/>
                <a:gd name="connsiteX1" fmla="*/ 647306 w 1526781"/>
                <a:gd name="connsiteY1" fmla="*/ 311150 h 1092200"/>
                <a:gd name="connsiteX2" fmla="*/ 496493 w 1526781"/>
                <a:gd name="connsiteY2" fmla="*/ 484187 h 1092200"/>
                <a:gd name="connsiteX3" fmla="*/ 188518 w 1526781"/>
                <a:gd name="connsiteY3" fmla="*/ 566737 h 1092200"/>
                <a:gd name="connsiteX4" fmla="*/ 5956 w 1526781"/>
                <a:gd name="connsiteY4" fmla="*/ 1079500 h 1092200"/>
                <a:gd name="connsiteX5" fmla="*/ 177406 w 1526781"/>
                <a:gd name="connsiteY5" fmla="*/ 1079500 h 1092200"/>
                <a:gd name="connsiteX6" fmla="*/ 190106 w 1526781"/>
                <a:gd name="connsiteY6" fmla="*/ 876300 h 1092200"/>
                <a:gd name="connsiteX7" fmla="*/ 361556 w 1526781"/>
                <a:gd name="connsiteY7" fmla="*/ 685800 h 1092200"/>
                <a:gd name="connsiteX8" fmla="*/ 729856 w 1526781"/>
                <a:gd name="connsiteY8" fmla="*/ 533400 h 1092200"/>
                <a:gd name="connsiteX9" fmla="*/ 1190231 w 1526781"/>
                <a:gd name="connsiteY9" fmla="*/ 712787 h 1092200"/>
                <a:gd name="connsiteX10" fmla="*/ 1339456 w 1526781"/>
                <a:gd name="connsiteY10" fmla="*/ 1092200 h 1092200"/>
                <a:gd name="connsiteX11" fmla="*/ 1526781 w 1526781"/>
                <a:gd name="connsiteY11" fmla="*/ 1076325 h 1092200"/>
                <a:gd name="connsiteX12" fmla="*/ 1339456 w 1526781"/>
                <a:gd name="connsiteY12" fmla="*/ 587375 h 1092200"/>
                <a:gd name="connsiteX13" fmla="*/ 909244 w 1526781"/>
                <a:gd name="connsiteY13" fmla="*/ 469900 h 1092200"/>
                <a:gd name="connsiteX14" fmla="*/ 831456 w 1526781"/>
                <a:gd name="connsiteY14" fmla="*/ 311150 h 1092200"/>
                <a:gd name="connsiteX15" fmla="*/ 825106 w 1526781"/>
                <a:gd name="connsiteY15" fmla="*/ 0 h 1092200"/>
                <a:gd name="connsiteX16" fmla="*/ 666356 w 1526781"/>
                <a:gd name="connsiteY16" fmla="*/ 88900 h 1092200"/>
                <a:gd name="connsiteX0" fmla="*/ 666356 w 1526781"/>
                <a:gd name="connsiteY0" fmla="*/ 88900 h 1092200"/>
                <a:gd name="connsiteX1" fmla="*/ 647306 w 1526781"/>
                <a:gd name="connsiteY1" fmla="*/ 311150 h 1092200"/>
                <a:gd name="connsiteX2" fmla="*/ 496493 w 1526781"/>
                <a:gd name="connsiteY2" fmla="*/ 484187 h 1092200"/>
                <a:gd name="connsiteX3" fmla="*/ 188518 w 1526781"/>
                <a:gd name="connsiteY3" fmla="*/ 566737 h 1092200"/>
                <a:gd name="connsiteX4" fmla="*/ 5956 w 1526781"/>
                <a:gd name="connsiteY4" fmla="*/ 1079500 h 1092200"/>
                <a:gd name="connsiteX5" fmla="*/ 177406 w 1526781"/>
                <a:gd name="connsiteY5" fmla="*/ 1079500 h 1092200"/>
                <a:gd name="connsiteX6" fmla="*/ 190106 w 1526781"/>
                <a:gd name="connsiteY6" fmla="*/ 876300 h 1092200"/>
                <a:gd name="connsiteX7" fmla="*/ 361556 w 1526781"/>
                <a:gd name="connsiteY7" fmla="*/ 685800 h 1092200"/>
                <a:gd name="connsiteX8" fmla="*/ 729856 w 1526781"/>
                <a:gd name="connsiteY8" fmla="*/ 533400 h 1092200"/>
                <a:gd name="connsiteX9" fmla="*/ 1190231 w 1526781"/>
                <a:gd name="connsiteY9" fmla="*/ 712787 h 1092200"/>
                <a:gd name="connsiteX10" fmla="*/ 1339456 w 1526781"/>
                <a:gd name="connsiteY10" fmla="*/ 1092200 h 1092200"/>
                <a:gd name="connsiteX11" fmla="*/ 1526781 w 1526781"/>
                <a:gd name="connsiteY11" fmla="*/ 1076325 h 1092200"/>
                <a:gd name="connsiteX12" fmla="*/ 1339456 w 1526781"/>
                <a:gd name="connsiteY12" fmla="*/ 587375 h 1092200"/>
                <a:gd name="connsiteX13" fmla="*/ 909244 w 1526781"/>
                <a:gd name="connsiteY13" fmla="*/ 469900 h 1092200"/>
                <a:gd name="connsiteX14" fmla="*/ 831456 w 1526781"/>
                <a:gd name="connsiteY14" fmla="*/ 311150 h 1092200"/>
                <a:gd name="connsiteX15" fmla="*/ 825106 w 1526781"/>
                <a:gd name="connsiteY15" fmla="*/ 0 h 1092200"/>
                <a:gd name="connsiteX16" fmla="*/ 666356 w 1526781"/>
                <a:gd name="connsiteY16" fmla="*/ 88900 h 1092200"/>
                <a:gd name="connsiteX0" fmla="*/ 642543 w 1526781"/>
                <a:gd name="connsiteY0" fmla="*/ 80963 h 1092200"/>
                <a:gd name="connsiteX1" fmla="*/ 647306 w 1526781"/>
                <a:gd name="connsiteY1" fmla="*/ 311150 h 1092200"/>
                <a:gd name="connsiteX2" fmla="*/ 496493 w 1526781"/>
                <a:gd name="connsiteY2" fmla="*/ 484187 h 1092200"/>
                <a:gd name="connsiteX3" fmla="*/ 188518 w 1526781"/>
                <a:gd name="connsiteY3" fmla="*/ 566737 h 1092200"/>
                <a:gd name="connsiteX4" fmla="*/ 5956 w 1526781"/>
                <a:gd name="connsiteY4" fmla="*/ 1079500 h 1092200"/>
                <a:gd name="connsiteX5" fmla="*/ 177406 w 1526781"/>
                <a:gd name="connsiteY5" fmla="*/ 1079500 h 1092200"/>
                <a:gd name="connsiteX6" fmla="*/ 190106 w 1526781"/>
                <a:gd name="connsiteY6" fmla="*/ 876300 h 1092200"/>
                <a:gd name="connsiteX7" fmla="*/ 361556 w 1526781"/>
                <a:gd name="connsiteY7" fmla="*/ 685800 h 1092200"/>
                <a:gd name="connsiteX8" fmla="*/ 729856 w 1526781"/>
                <a:gd name="connsiteY8" fmla="*/ 533400 h 1092200"/>
                <a:gd name="connsiteX9" fmla="*/ 1190231 w 1526781"/>
                <a:gd name="connsiteY9" fmla="*/ 712787 h 1092200"/>
                <a:gd name="connsiteX10" fmla="*/ 1339456 w 1526781"/>
                <a:gd name="connsiteY10" fmla="*/ 1092200 h 1092200"/>
                <a:gd name="connsiteX11" fmla="*/ 1526781 w 1526781"/>
                <a:gd name="connsiteY11" fmla="*/ 1076325 h 1092200"/>
                <a:gd name="connsiteX12" fmla="*/ 1339456 w 1526781"/>
                <a:gd name="connsiteY12" fmla="*/ 587375 h 1092200"/>
                <a:gd name="connsiteX13" fmla="*/ 909244 w 1526781"/>
                <a:gd name="connsiteY13" fmla="*/ 469900 h 1092200"/>
                <a:gd name="connsiteX14" fmla="*/ 831456 w 1526781"/>
                <a:gd name="connsiteY14" fmla="*/ 311150 h 1092200"/>
                <a:gd name="connsiteX15" fmla="*/ 825106 w 1526781"/>
                <a:gd name="connsiteY15" fmla="*/ 0 h 1092200"/>
                <a:gd name="connsiteX16" fmla="*/ 642543 w 1526781"/>
                <a:gd name="connsiteY16" fmla="*/ 80963 h 1092200"/>
                <a:gd name="connsiteX0" fmla="*/ 642543 w 1526781"/>
                <a:gd name="connsiteY0" fmla="*/ 80963 h 1092200"/>
                <a:gd name="connsiteX1" fmla="*/ 647306 w 1526781"/>
                <a:gd name="connsiteY1" fmla="*/ 311150 h 1092200"/>
                <a:gd name="connsiteX2" fmla="*/ 496493 w 1526781"/>
                <a:gd name="connsiteY2" fmla="*/ 484187 h 1092200"/>
                <a:gd name="connsiteX3" fmla="*/ 188518 w 1526781"/>
                <a:gd name="connsiteY3" fmla="*/ 566737 h 1092200"/>
                <a:gd name="connsiteX4" fmla="*/ 5956 w 1526781"/>
                <a:gd name="connsiteY4" fmla="*/ 1079500 h 1092200"/>
                <a:gd name="connsiteX5" fmla="*/ 177406 w 1526781"/>
                <a:gd name="connsiteY5" fmla="*/ 1079500 h 1092200"/>
                <a:gd name="connsiteX6" fmla="*/ 190106 w 1526781"/>
                <a:gd name="connsiteY6" fmla="*/ 876300 h 1092200"/>
                <a:gd name="connsiteX7" fmla="*/ 361556 w 1526781"/>
                <a:gd name="connsiteY7" fmla="*/ 685800 h 1092200"/>
                <a:gd name="connsiteX8" fmla="*/ 729856 w 1526781"/>
                <a:gd name="connsiteY8" fmla="*/ 533400 h 1092200"/>
                <a:gd name="connsiteX9" fmla="*/ 1190231 w 1526781"/>
                <a:gd name="connsiteY9" fmla="*/ 712787 h 1092200"/>
                <a:gd name="connsiteX10" fmla="*/ 1339456 w 1526781"/>
                <a:gd name="connsiteY10" fmla="*/ 1092200 h 1092200"/>
                <a:gd name="connsiteX11" fmla="*/ 1526781 w 1526781"/>
                <a:gd name="connsiteY11" fmla="*/ 1076325 h 1092200"/>
                <a:gd name="connsiteX12" fmla="*/ 1339456 w 1526781"/>
                <a:gd name="connsiteY12" fmla="*/ 587375 h 1092200"/>
                <a:gd name="connsiteX13" fmla="*/ 909244 w 1526781"/>
                <a:gd name="connsiteY13" fmla="*/ 469900 h 1092200"/>
                <a:gd name="connsiteX14" fmla="*/ 831456 w 1526781"/>
                <a:gd name="connsiteY14" fmla="*/ 311150 h 1092200"/>
                <a:gd name="connsiteX15" fmla="*/ 825106 w 1526781"/>
                <a:gd name="connsiteY15" fmla="*/ 0 h 1092200"/>
                <a:gd name="connsiteX16" fmla="*/ 642543 w 1526781"/>
                <a:gd name="connsiteY16" fmla="*/ 80963 h 1092200"/>
                <a:gd name="connsiteX0" fmla="*/ 642543 w 1526781"/>
                <a:gd name="connsiteY0" fmla="*/ 80963 h 1092200"/>
                <a:gd name="connsiteX1" fmla="*/ 647306 w 1526781"/>
                <a:gd name="connsiteY1" fmla="*/ 311150 h 1092200"/>
                <a:gd name="connsiteX2" fmla="*/ 496493 w 1526781"/>
                <a:gd name="connsiteY2" fmla="*/ 484187 h 1092200"/>
                <a:gd name="connsiteX3" fmla="*/ 188518 w 1526781"/>
                <a:gd name="connsiteY3" fmla="*/ 566737 h 1092200"/>
                <a:gd name="connsiteX4" fmla="*/ 5956 w 1526781"/>
                <a:gd name="connsiteY4" fmla="*/ 1079500 h 1092200"/>
                <a:gd name="connsiteX5" fmla="*/ 177406 w 1526781"/>
                <a:gd name="connsiteY5" fmla="*/ 1079500 h 1092200"/>
                <a:gd name="connsiteX6" fmla="*/ 186931 w 1526781"/>
                <a:gd name="connsiteY6" fmla="*/ 881062 h 1092200"/>
                <a:gd name="connsiteX7" fmla="*/ 361556 w 1526781"/>
                <a:gd name="connsiteY7" fmla="*/ 685800 h 1092200"/>
                <a:gd name="connsiteX8" fmla="*/ 729856 w 1526781"/>
                <a:gd name="connsiteY8" fmla="*/ 533400 h 1092200"/>
                <a:gd name="connsiteX9" fmla="*/ 1190231 w 1526781"/>
                <a:gd name="connsiteY9" fmla="*/ 712787 h 1092200"/>
                <a:gd name="connsiteX10" fmla="*/ 1339456 w 1526781"/>
                <a:gd name="connsiteY10" fmla="*/ 1092200 h 1092200"/>
                <a:gd name="connsiteX11" fmla="*/ 1526781 w 1526781"/>
                <a:gd name="connsiteY11" fmla="*/ 1076325 h 1092200"/>
                <a:gd name="connsiteX12" fmla="*/ 1339456 w 1526781"/>
                <a:gd name="connsiteY12" fmla="*/ 587375 h 1092200"/>
                <a:gd name="connsiteX13" fmla="*/ 909244 w 1526781"/>
                <a:gd name="connsiteY13" fmla="*/ 469900 h 1092200"/>
                <a:gd name="connsiteX14" fmla="*/ 831456 w 1526781"/>
                <a:gd name="connsiteY14" fmla="*/ 311150 h 1092200"/>
                <a:gd name="connsiteX15" fmla="*/ 825106 w 1526781"/>
                <a:gd name="connsiteY15" fmla="*/ 0 h 1092200"/>
                <a:gd name="connsiteX16" fmla="*/ 642543 w 1526781"/>
                <a:gd name="connsiteY16" fmla="*/ 80963 h 1092200"/>
                <a:gd name="connsiteX0" fmla="*/ 642543 w 1526781"/>
                <a:gd name="connsiteY0" fmla="*/ 80963 h 1092200"/>
                <a:gd name="connsiteX1" fmla="*/ 647306 w 1526781"/>
                <a:gd name="connsiteY1" fmla="*/ 311150 h 1092200"/>
                <a:gd name="connsiteX2" fmla="*/ 496493 w 1526781"/>
                <a:gd name="connsiteY2" fmla="*/ 484187 h 1092200"/>
                <a:gd name="connsiteX3" fmla="*/ 188518 w 1526781"/>
                <a:gd name="connsiteY3" fmla="*/ 566737 h 1092200"/>
                <a:gd name="connsiteX4" fmla="*/ 5956 w 1526781"/>
                <a:gd name="connsiteY4" fmla="*/ 1079500 h 1092200"/>
                <a:gd name="connsiteX5" fmla="*/ 177406 w 1526781"/>
                <a:gd name="connsiteY5" fmla="*/ 1079500 h 1092200"/>
                <a:gd name="connsiteX6" fmla="*/ 361556 w 1526781"/>
                <a:gd name="connsiteY6" fmla="*/ 685800 h 1092200"/>
                <a:gd name="connsiteX7" fmla="*/ 729856 w 1526781"/>
                <a:gd name="connsiteY7" fmla="*/ 533400 h 1092200"/>
                <a:gd name="connsiteX8" fmla="*/ 1190231 w 1526781"/>
                <a:gd name="connsiteY8" fmla="*/ 712787 h 1092200"/>
                <a:gd name="connsiteX9" fmla="*/ 1339456 w 1526781"/>
                <a:gd name="connsiteY9" fmla="*/ 1092200 h 1092200"/>
                <a:gd name="connsiteX10" fmla="*/ 1526781 w 1526781"/>
                <a:gd name="connsiteY10" fmla="*/ 1076325 h 1092200"/>
                <a:gd name="connsiteX11" fmla="*/ 1339456 w 1526781"/>
                <a:gd name="connsiteY11" fmla="*/ 587375 h 1092200"/>
                <a:gd name="connsiteX12" fmla="*/ 909244 w 1526781"/>
                <a:gd name="connsiteY12" fmla="*/ 469900 h 1092200"/>
                <a:gd name="connsiteX13" fmla="*/ 831456 w 1526781"/>
                <a:gd name="connsiteY13" fmla="*/ 311150 h 1092200"/>
                <a:gd name="connsiteX14" fmla="*/ 825106 w 1526781"/>
                <a:gd name="connsiteY14" fmla="*/ 0 h 1092200"/>
                <a:gd name="connsiteX15" fmla="*/ 642543 w 1526781"/>
                <a:gd name="connsiteY15" fmla="*/ 80963 h 1092200"/>
                <a:gd name="connsiteX0" fmla="*/ 642543 w 1526781"/>
                <a:gd name="connsiteY0" fmla="*/ 80963 h 1092200"/>
                <a:gd name="connsiteX1" fmla="*/ 647306 w 1526781"/>
                <a:gd name="connsiteY1" fmla="*/ 311150 h 1092200"/>
                <a:gd name="connsiteX2" fmla="*/ 496493 w 1526781"/>
                <a:gd name="connsiteY2" fmla="*/ 484187 h 1092200"/>
                <a:gd name="connsiteX3" fmla="*/ 188518 w 1526781"/>
                <a:gd name="connsiteY3" fmla="*/ 566737 h 1092200"/>
                <a:gd name="connsiteX4" fmla="*/ 5956 w 1526781"/>
                <a:gd name="connsiteY4" fmla="*/ 1079500 h 1092200"/>
                <a:gd name="connsiteX5" fmla="*/ 177406 w 1526781"/>
                <a:gd name="connsiteY5" fmla="*/ 1079500 h 1092200"/>
                <a:gd name="connsiteX6" fmla="*/ 361556 w 1526781"/>
                <a:gd name="connsiteY6" fmla="*/ 685800 h 1092200"/>
                <a:gd name="connsiteX7" fmla="*/ 729856 w 1526781"/>
                <a:gd name="connsiteY7" fmla="*/ 533400 h 1092200"/>
                <a:gd name="connsiteX8" fmla="*/ 1190231 w 1526781"/>
                <a:gd name="connsiteY8" fmla="*/ 712787 h 1092200"/>
                <a:gd name="connsiteX9" fmla="*/ 1339456 w 1526781"/>
                <a:gd name="connsiteY9" fmla="*/ 1092200 h 1092200"/>
                <a:gd name="connsiteX10" fmla="*/ 1526781 w 1526781"/>
                <a:gd name="connsiteY10" fmla="*/ 1076325 h 1092200"/>
                <a:gd name="connsiteX11" fmla="*/ 1339456 w 1526781"/>
                <a:gd name="connsiteY11" fmla="*/ 587375 h 1092200"/>
                <a:gd name="connsiteX12" fmla="*/ 909244 w 1526781"/>
                <a:gd name="connsiteY12" fmla="*/ 469900 h 1092200"/>
                <a:gd name="connsiteX13" fmla="*/ 831456 w 1526781"/>
                <a:gd name="connsiteY13" fmla="*/ 311150 h 1092200"/>
                <a:gd name="connsiteX14" fmla="*/ 825106 w 1526781"/>
                <a:gd name="connsiteY14" fmla="*/ 0 h 1092200"/>
                <a:gd name="connsiteX15" fmla="*/ 642543 w 1526781"/>
                <a:gd name="connsiteY15" fmla="*/ 80963 h 1092200"/>
                <a:gd name="connsiteX0" fmla="*/ 642543 w 1526781"/>
                <a:gd name="connsiteY0" fmla="*/ 80963 h 1092200"/>
                <a:gd name="connsiteX1" fmla="*/ 647306 w 1526781"/>
                <a:gd name="connsiteY1" fmla="*/ 311150 h 1092200"/>
                <a:gd name="connsiteX2" fmla="*/ 496493 w 1526781"/>
                <a:gd name="connsiteY2" fmla="*/ 484187 h 1092200"/>
                <a:gd name="connsiteX3" fmla="*/ 188518 w 1526781"/>
                <a:gd name="connsiteY3" fmla="*/ 566737 h 1092200"/>
                <a:gd name="connsiteX4" fmla="*/ 5956 w 1526781"/>
                <a:gd name="connsiteY4" fmla="*/ 1079500 h 1092200"/>
                <a:gd name="connsiteX5" fmla="*/ 177406 w 1526781"/>
                <a:gd name="connsiteY5" fmla="*/ 1079500 h 1092200"/>
                <a:gd name="connsiteX6" fmla="*/ 361556 w 1526781"/>
                <a:gd name="connsiteY6" fmla="*/ 685800 h 1092200"/>
                <a:gd name="connsiteX7" fmla="*/ 729856 w 1526781"/>
                <a:gd name="connsiteY7" fmla="*/ 533400 h 1092200"/>
                <a:gd name="connsiteX8" fmla="*/ 1190231 w 1526781"/>
                <a:gd name="connsiteY8" fmla="*/ 712787 h 1092200"/>
                <a:gd name="connsiteX9" fmla="*/ 1339456 w 1526781"/>
                <a:gd name="connsiteY9" fmla="*/ 1092200 h 1092200"/>
                <a:gd name="connsiteX10" fmla="*/ 1526781 w 1526781"/>
                <a:gd name="connsiteY10" fmla="*/ 1076325 h 1092200"/>
                <a:gd name="connsiteX11" fmla="*/ 1339456 w 1526781"/>
                <a:gd name="connsiteY11" fmla="*/ 587375 h 1092200"/>
                <a:gd name="connsiteX12" fmla="*/ 909244 w 1526781"/>
                <a:gd name="connsiteY12" fmla="*/ 469900 h 1092200"/>
                <a:gd name="connsiteX13" fmla="*/ 831456 w 1526781"/>
                <a:gd name="connsiteY13" fmla="*/ 311150 h 1092200"/>
                <a:gd name="connsiteX14" fmla="*/ 825106 w 1526781"/>
                <a:gd name="connsiteY14" fmla="*/ 0 h 1092200"/>
                <a:gd name="connsiteX15" fmla="*/ 642543 w 1526781"/>
                <a:gd name="connsiteY15" fmla="*/ 80963 h 1092200"/>
                <a:gd name="connsiteX0" fmla="*/ 642543 w 1526781"/>
                <a:gd name="connsiteY0" fmla="*/ 80963 h 1092200"/>
                <a:gd name="connsiteX1" fmla="*/ 647306 w 1526781"/>
                <a:gd name="connsiteY1" fmla="*/ 311150 h 1092200"/>
                <a:gd name="connsiteX2" fmla="*/ 496493 w 1526781"/>
                <a:gd name="connsiteY2" fmla="*/ 484187 h 1092200"/>
                <a:gd name="connsiteX3" fmla="*/ 188518 w 1526781"/>
                <a:gd name="connsiteY3" fmla="*/ 566737 h 1092200"/>
                <a:gd name="connsiteX4" fmla="*/ 5956 w 1526781"/>
                <a:gd name="connsiteY4" fmla="*/ 1079500 h 1092200"/>
                <a:gd name="connsiteX5" fmla="*/ 177406 w 1526781"/>
                <a:gd name="connsiteY5" fmla="*/ 1079500 h 1092200"/>
                <a:gd name="connsiteX6" fmla="*/ 361556 w 1526781"/>
                <a:gd name="connsiteY6" fmla="*/ 685800 h 1092200"/>
                <a:gd name="connsiteX7" fmla="*/ 729856 w 1526781"/>
                <a:gd name="connsiteY7" fmla="*/ 533400 h 1092200"/>
                <a:gd name="connsiteX8" fmla="*/ 1190231 w 1526781"/>
                <a:gd name="connsiteY8" fmla="*/ 712787 h 1092200"/>
                <a:gd name="connsiteX9" fmla="*/ 1339456 w 1526781"/>
                <a:gd name="connsiteY9" fmla="*/ 1092200 h 1092200"/>
                <a:gd name="connsiteX10" fmla="*/ 1526781 w 1526781"/>
                <a:gd name="connsiteY10" fmla="*/ 1076325 h 1092200"/>
                <a:gd name="connsiteX11" fmla="*/ 1339456 w 1526781"/>
                <a:gd name="connsiteY11" fmla="*/ 587375 h 1092200"/>
                <a:gd name="connsiteX12" fmla="*/ 909244 w 1526781"/>
                <a:gd name="connsiteY12" fmla="*/ 469900 h 1092200"/>
                <a:gd name="connsiteX13" fmla="*/ 831456 w 1526781"/>
                <a:gd name="connsiteY13" fmla="*/ 311150 h 1092200"/>
                <a:gd name="connsiteX14" fmla="*/ 825106 w 1526781"/>
                <a:gd name="connsiteY14" fmla="*/ 0 h 1092200"/>
                <a:gd name="connsiteX15" fmla="*/ 642543 w 1526781"/>
                <a:gd name="connsiteY15" fmla="*/ 80963 h 1092200"/>
                <a:gd name="connsiteX0" fmla="*/ 642543 w 1526781"/>
                <a:gd name="connsiteY0" fmla="*/ 80963 h 1092200"/>
                <a:gd name="connsiteX1" fmla="*/ 647306 w 1526781"/>
                <a:gd name="connsiteY1" fmla="*/ 311150 h 1092200"/>
                <a:gd name="connsiteX2" fmla="*/ 496493 w 1526781"/>
                <a:gd name="connsiteY2" fmla="*/ 484187 h 1092200"/>
                <a:gd name="connsiteX3" fmla="*/ 188518 w 1526781"/>
                <a:gd name="connsiteY3" fmla="*/ 566737 h 1092200"/>
                <a:gd name="connsiteX4" fmla="*/ 5956 w 1526781"/>
                <a:gd name="connsiteY4" fmla="*/ 1079500 h 1092200"/>
                <a:gd name="connsiteX5" fmla="*/ 177406 w 1526781"/>
                <a:gd name="connsiteY5" fmla="*/ 1079500 h 1092200"/>
                <a:gd name="connsiteX6" fmla="*/ 361556 w 1526781"/>
                <a:gd name="connsiteY6" fmla="*/ 685800 h 1092200"/>
                <a:gd name="connsiteX7" fmla="*/ 729856 w 1526781"/>
                <a:gd name="connsiteY7" fmla="*/ 533400 h 1092200"/>
                <a:gd name="connsiteX8" fmla="*/ 1190231 w 1526781"/>
                <a:gd name="connsiteY8" fmla="*/ 712787 h 1092200"/>
                <a:gd name="connsiteX9" fmla="*/ 1339456 w 1526781"/>
                <a:gd name="connsiteY9" fmla="*/ 1092200 h 1092200"/>
                <a:gd name="connsiteX10" fmla="*/ 1526781 w 1526781"/>
                <a:gd name="connsiteY10" fmla="*/ 1076325 h 1092200"/>
                <a:gd name="connsiteX11" fmla="*/ 1339456 w 1526781"/>
                <a:gd name="connsiteY11" fmla="*/ 587375 h 1092200"/>
                <a:gd name="connsiteX12" fmla="*/ 909244 w 1526781"/>
                <a:gd name="connsiteY12" fmla="*/ 469900 h 1092200"/>
                <a:gd name="connsiteX13" fmla="*/ 831456 w 1526781"/>
                <a:gd name="connsiteY13" fmla="*/ 311150 h 1092200"/>
                <a:gd name="connsiteX14" fmla="*/ 825106 w 1526781"/>
                <a:gd name="connsiteY14" fmla="*/ 0 h 1092200"/>
                <a:gd name="connsiteX15" fmla="*/ 642543 w 1526781"/>
                <a:gd name="connsiteY15" fmla="*/ 80963 h 1092200"/>
                <a:gd name="connsiteX0" fmla="*/ 642543 w 1526781"/>
                <a:gd name="connsiteY0" fmla="*/ 80963 h 1092200"/>
                <a:gd name="connsiteX1" fmla="*/ 647306 w 1526781"/>
                <a:gd name="connsiteY1" fmla="*/ 311150 h 1092200"/>
                <a:gd name="connsiteX2" fmla="*/ 496493 w 1526781"/>
                <a:gd name="connsiteY2" fmla="*/ 484187 h 1092200"/>
                <a:gd name="connsiteX3" fmla="*/ 188518 w 1526781"/>
                <a:gd name="connsiteY3" fmla="*/ 566737 h 1092200"/>
                <a:gd name="connsiteX4" fmla="*/ 5956 w 1526781"/>
                <a:gd name="connsiteY4" fmla="*/ 1079500 h 1092200"/>
                <a:gd name="connsiteX5" fmla="*/ 177406 w 1526781"/>
                <a:gd name="connsiteY5" fmla="*/ 1079500 h 1092200"/>
                <a:gd name="connsiteX6" fmla="*/ 361556 w 1526781"/>
                <a:gd name="connsiteY6" fmla="*/ 685800 h 1092200"/>
                <a:gd name="connsiteX7" fmla="*/ 729856 w 1526781"/>
                <a:gd name="connsiteY7" fmla="*/ 533400 h 1092200"/>
                <a:gd name="connsiteX8" fmla="*/ 1190231 w 1526781"/>
                <a:gd name="connsiteY8" fmla="*/ 712787 h 1092200"/>
                <a:gd name="connsiteX9" fmla="*/ 1339456 w 1526781"/>
                <a:gd name="connsiteY9" fmla="*/ 1092200 h 1092200"/>
                <a:gd name="connsiteX10" fmla="*/ 1526781 w 1526781"/>
                <a:gd name="connsiteY10" fmla="*/ 1076325 h 1092200"/>
                <a:gd name="connsiteX11" fmla="*/ 1339456 w 1526781"/>
                <a:gd name="connsiteY11" fmla="*/ 587375 h 1092200"/>
                <a:gd name="connsiteX12" fmla="*/ 909244 w 1526781"/>
                <a:gd name="connsiteY12" fmla="*/ 469900 h 1092200"/>
                <a:gd name="connsiteX13" fmla="*/ 831456 w 1526781"/>
                <a:gd name="connsiteY13" fmla="*/ 311150 h 1092200"/>
                <a:gd name="connsiteX14" fmla="*/ 825106 w 1526781"/>
                <a:gd name="connsiteY14" fmla="*/ 0 h 1092200"/>
                <a:gd name="connsiteX15" fmla="*/ 642543 w 1526781"/>
                <a:gd name="connsiteY15" fmla="*/ 80963 h 1092200"/>
                <a:gd name="connsiteX0" fmla="*/ 642543 w 1525194"/>
                <a:gd name="connsiteY0" fmla="*/ 80963 h 1092200"/>
                <a:gd name="connsiteX1" fmla="*/ 647306 w 1525194"/>
                <a:gd name="connsiteY1" fmla="*/ 311150 h 1092200"/>
                <a:gd name="connsiteX2" fmla="*/ 496493 w 1525194"/>
                <a:gd name="connsiteY2" fmla="*/ 484187 h 1092200"/>
                <a:gd name="connsiteX3" fmla="*/ 188518 w 1525194"/>
                <a:gd name="connsiteY3" fmla="*/ 566737 h 1092200"/>
                <a:gd name="connsiteX4" fmla="*/ 5956 w 1525194"/>
                <a:gd name="connsiteY4" fmla="*/ 1079500 h 1092200"/>
                <a:gd name="connsiteX5" fmla="*/ 177406 w 1525194"/>
                <a:gd name="connsiteY5" fmla="*/ 1079500 h 1092200"/>
                <a:gd name="connsiteX6" fmla="*/ 361556 w 1525194"/>
                <a:gd name="connsiteY6" fmla="*/ 685800 h 1092200"/>
                <a:gd name="connsiteX7" fmla="*/ 729856 w 1525194"/>
                <a:gd name="connsiteY7" fmla="*/ 533400 h 1092200"/>
                <a:gd name="connsiteX8" fmla="*/ 1190231 w 1525194"/>
                <a:gd name="connsiteY8" fmla="*/ 712787 h 1092200"/>
                <a:gd name="connsiteX9" fmla="*/ 1339456 w 1525194"/>
                <a:gd name="connsiteY9" fmla="*/ 1092200 h 1092200"/>
                <a:gd name="connsiteX10" fmla="*/ 1525194 w 1525194"/>
                <a:gd name="connsiteY10" fmla="*/ 1076325 h 1092200"/>
                <a:gd name="connsiteX11" fmla="*/ 1339456 w 1525194"/>
                <a:gd name="connsiteY11" fmla="*/ 587375 h 1092200"/>
                <a:gd name="connsiteX12" fmla="*/ 909244 w 1525194"/>
                <a:gd name="connsiteY12" fmla="*/ 469900 h 1092200"/>
                <a:gd name="connsiteX13" fmla="*/ 831456 w 1525194"/>
                <a:gd name="connsiteY13" fmla="*/ 311150 h 1092200"/>
                <a:gd name="connsiteX14" fmla="*/ 825106 w 1525194"/>
                <a:gd name="connsiteY14" fmla="*/ 0 h 1092200"/>
                <a:gd name="connsiteX15" fmla="*/ 642543 w 1525194"/>
                <a:gd name="connsiteY15" fmla="*/ 80963 h 109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25194" h="1092200">
                  <a:moveTo>
                    <a:pt x="642543" y="80963"/>
                  </a:moveTo>
                  <a:cubicBezTo>
                    <a:pt x="644131" y="157692"/>
                    <a:pt x="645718" y="234421"/>
                    <a:pt x="647306" y="311150"/>
                  </a:cubicBezTo>
                  <a:cubicBezTo>
                    <a:pt x="657360" y="403754"/>
                    <a:pt x="611851" y="443971"/>
                    <a:pt x="496493" y="484187"/>
                  </a:cubicBezTo>
                  <a:lnTo>
                    <a:pt x="188518" y="566737"/>
                  </a:lnTo>
                  <a:cubicBezTo>
                    <a:pt x="-29499" y="664633"/>
                    <a:pt x="-3040" y="899054"/>
                    <a:pt x="5956" y="1079500"/>
                  </a:cubicBezTo>
                  <a:lnTo>
                    <a:pt x="177406" y="1079500"/>
                  </a:lnTo>
                  <a:cubicBezTo>
                    <a:pt x="194339" y="946680"/>
                    <a:pt x="125548" y="726545"/>
                    <a:pt x="361556" y="685800"/>
                  </a:cubicBezTo>
                  <a:cubicBezTo>
                    <a:pt x="533535" y="668338"/>
                    <a:pt x="659476" y="646112"/>
                    <a:pt x="729856" y="533400"/>
                  </a:cubicBezTo>
                  <a:cubicBezTo>
                    <a:pt x="800235" y="665692"/>
                    <a:pt x="1024601" y="675745"/>
                    <a:pt x="1190231" y="712787"/>
                  </a:cubicBezTo>
                  <a:cubicBezTo>
                    <a:pt x="1390785" y="744008"/>
                    <a:pt x="1330989" y="960966"/>
                    <a:pt x="1339456" y="1092200"/>
                  </a:cubicBezTo>
                  <a:lnTo>
                    <a:pt x="1525194" y="1076325"/>
                  </a:lnTo>
                  <a:cubicBezTo>
                    <a:pt x="1511436" y="912283"/>
                    <a:pt x="1548476" y="726017"/>
                    <a:pt x="1339456" y="587375"/>
                  </a:cubicBezTo>
                  <a:lnTo>
                    <a:pt x="909244" y="469900"/>
                  </a:lnTo>
                  <a:cubicBezTo>
                    <a:pt x="832515" y="439208"/>
                    <a:pt x="825635" y="375179"/>
                    <a:pt x="831456" y="311150"/>
                  </a:cubicBezTo>
                  <a:lnTo>
                    <a:pt x="825106" y="0"/>
                  </a:lnTo>
                  <a:lnTo>
                    <a:pt x="642543" y="80963"/>
                  </a:lnTo>
                  <a:close/>
                </a:path>
              </a:pathLst>
            </a:custGeom>
            <a:solidFill>
              <a:srgbClr val="59B4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sp>
          <p:nvSpPr>
            <p:cNvPr id="398" name="Freeform: Shape 397">
              <a:extLst/>
            </p:cNvPr>
            <p:cNvSpPr/>
            <p:nvPr/>
          </p:nvSpPr>
          <p:spPr>
            <a:xfrm>
              <a:off x="5605383" y="2375781"/>
              <a:ext cx="638537" cy="614486"/>
            </a:xfrm>
            <a:custGeom>
              <a:avLst/>
              <a:gdLst>
                <a:gd name="connsiteX0" fmla="*/ 197325 w 638537"/>
                <a:gd name="connsiteY0" fmla="*/ 181768 h 614486"/>
                <a:gd name="connsiteX1" fmla="*/ 197325 w 638537"/>
                <a:gd name="connsiteY1" fmla="*/ 432719 h 614486"/>
                <a:gd name="connsiteX2" fmla="*/ 441211 w 638537"/>
                <a:gd name="connsiteY2" fmla="*/ 432719 h 614486"/>
                <a:gd name="connsiteX3" fmla="*/ 441211 w 638537"/>
                <a:gd name="connsiteY3" fmla="*/ 181768 h 614486"/>
                <a:gd name="connsiteX4" fmla="*/ 102416 w 638537"/>
                <a:gd name="connsiteY4" fmla="*/ 0 h 614486"/>
                <a:gd name="connsiteX5" fmla="*/ 536121 w 638537"/>
                <a:gd name="connsiteY5" fmla="*/ 0 h 614486"/>
                <a:gd name="connsiteX6" fmla="*/ 638537 w 638537"/>
                <a:gd name="connsiteY6" fmla="*/ 102416 h 614486"/>
                <a:gd name="connsiteX7" fmla="*/ 638537 w 638537"/>
                <a:gd name="connsiteY7" fmla="*/ 512070 h 614486"/>
                <a:gd name="connsiteX8" fmla="*/ 536121 w 638537"/>
                <a:gd name="connsiteY8" fmla="*/ 614486 h 614486"/>
                <a:gd name="connsiteX9" fmla="*/ 102416 w 638537"/>
                <a:gd name="connsiteY9" fmla="*/ 614486 h 614486"/>
                <a:gd name="connsiteX10" fmla="*/ 0 w 638537"/>
                <a:gd name="connsiteY10" fmla="*/ 512070 h 614486"/>
                <a:gd name="connsiteX11" fmla="*/ 0 w 638537"/>
                <a:gd name="connsiteY11" fmla="*/ 102416 h 614486"/>
                <a:gd name="connsiteX12" fmla="*/ 102416 w 638537"/>
                <a:gd name="connsiteY12" fmla="*/ 0 h 614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8537" h="614486">
                  <a:moveTo>
                    <a:pt x="197325" y="181768"/>
                  </a:moveTo>
                  <a:lnTo>
                    <a:pt x="197325" y="432719"/>
                  </a:lnTo>
                  <a:lnTo>
                    <a:pt x="441211" y="432719"/>
                  </a:lnTo>
                  <a:lnTo>
                    <a:pt x="441211" y="181768"/>
                  </a:lnTo>
                  <a:close/>
                  <a:moveTo>
                    <a:pt x="102416" y="0"/>
                  </a:moveTo>
                  <a:lnTo>
                    <a:pt x="536121" y="0"/>
                  </a:lnTo>
                  <a:cubicBezTo>
                    <a:pt x="592684" y="0"/>
                    <a:pt x="638537" y="45853"/>
                    <a:pt x="638537" y="102416"/>
                  </a:cubicBezTo>
                  <a:lnTo>
                    <a:pt x="638537" y="512070"/>
                  </a:lnTo>
                  <a:cubicBezTo>
                    <a:pt x="638537" y="568633"/>
                    <a:pt x="592684" y="614486"/>
                    <a:pt x="536121" y="614486"/>
                  </a:cubicBezTo>
                  <a:lnTo>
                    <a:pt x="102416" y="614486"/>
                  </a:lnTo>
                  <a:cubicBezTo>
                    <a:pt x="45853" y="614486"/>
                    <a:pt x="0" y="568633"/>
                    <a:pt x="0" y="512070"/>
                  </a:cubicBezTo>
                  <a:lnTo>
                    <a:pt x="0" y="102416"/>
                  </a:lnTo>
                  <a:cubicBezTo>
                    <a:pt x="0" y="45853"/>
                    <a:pt x="45853" y="0"/>
                    <a:pt x="10241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sp>
          <p:nvSpPr>
            <p:cNvPr id="399" name="Freeform: Shape 398">
              <a:extLst/>
            </p:cNvPr>
            <p:cNvSpPr/>
            <p:nvPr/>
          </p:nvSpPr>
          <p:spPr>
            <a:xfrm>
              <a:off x="4236704" y="2125902"/>
              <a:ext cx="538915" cy="2669068"/>
            </a:xfrm>
            <a:custGeom>
              <a:avLst/>
              <a:gdLst>
                <a:gd name="connsiteX0" fmla="*/ 529389 w 529389"/>
                <a:gd name="connsiteY0" fmla="*/ 182880 h 2685448"/>
                <a:gd name="connsiteX1" fmla="*/ 529389 w 529389"/>
                <a:gd name="connsiteY1" fmla="*/ 0 h 2685448"/>
                <a:gd name="connsiteX2" fmla="*/ 149191 w 529389"/>
                <a:gd name="connsiteY2" fmla="*/ 235818 h 2685448"/>
                <a:gd name="connsiteX3" fmla="*/ 149191 w 529389"/>
                <a:gd name="connsiteY3" fmla="*/ 1058778 h 2685448"/>
                <a:gd name="connsiteX4" fmla="*/ 0 w 529389"/>
                <a:gd name="connsiteY4" fmla="*/ 1260909 h 2685448"/>
                <a:gd name="connsiteX5" fmla="*/ 0 w 529389"/>
                <a:gd name="connsiteY5" fmla="*/ 1405288 h 2685448"/>
                <a:gd name="connsiteX6" fmla="*/ 139566 w 529389"/>
                <a:gd name="connsiteY6" fmla="*/ 1583355 h 2685448"/>
                <a:gd name="connsiteX7" fmla="*/ 139566 w 529389"/>
                <a:gd name="connsiteY7" fmla="*/ 2348564 h 2685448"/>
                <a:gd name="connsiteX8" fmla="*/ 510139 w 529389"/>
                <a:gd name="connsiteY8" fmla="*/ 2685448 h 2685448"/>
                <a:gd name="connsiteX9" fmla="*/ 510139 w 529389"/>
                <a:gd name="connsiteY9" fmla="*/ 2497755 h 2685448"/>
                <a:gd name="connsiteX10" fmla="*/ 375385 w 529389"/>
                <a:gd name="connsiteY10" fmla="*/ 2334126 h 2685448"/>
                <a:gd name="connsiteX11" fmla="*/ 375385 w 529389"/>
                <a:gd name="connsiteY11" fmla="*/ 1544854 h 2685448"/>
                <a:gd name="connsiteX12" fmla="*/ 216568 w 529389"/>
                <a:gd name="connsiteY12" fmla="*/ 1328286 h 2685448"/>
                <a:gd name="connsiteX13" fmla="*/ 409073 w 529389"/>
                <a:gd name="connsiteY13" fmla="*/ 1005840 h 2685448"/>
                <a:gd name="connsiteX14" fmla="*/ 409073 w 529389"/>
                <a:gd name="connsiteY14" fmla="*/ 327258 h 2685448"/>
                <a:gd name="connsiteX15" fmla="*/ 529389 w 529389"/>
                <a:gd name="connsiteY15" fmla="*/ 182880 h 2685448"/>
                <a:gd name="connsiteX0" fmla="*/ 529389 w 529389"/>
                <a:gd name="connsiteY0" fmla="*/ 182880 h 2685448"/>
                <a:gd name="connsiteX1" fmla="*/ 529389 w 529389"/>
                <a:gd name="connsiteY1" fmla="*/ 0 h 2685448"/>
                <a:gd name="connsiteX2" fmla="*/ 149191 w 529389"/>
                <a:gd name="connsiteY2" fmla="*/ 235818 h 2685448"/>
                <a:gd name="connsiteX3" fmla="*/ 149191 w 529389"/>
                <a:gd name="connsiteY3" fmla="*/ 1058778 h 2685448"/>
                <a:gd name="connsiteX4" fmla="*/ 0 w 529389"/>
                <a:gd name="connsiteY4" fmla="*/ 1260909 h 2685448"/>
                <a:gd name="connsiteX5" fmla="*/ 0 w 529389"/>
                <a:gd name="connsiteY5" fmla="*/ 1405288 h 2685448"/>
                <a:gd name="connsiteX6" fmla="*/ 139566 w 529389"/>
                <a:gd name="connsiteY6" fmla="*/ 1583355 h 2685448"/>
                <a:gd name="connsiteX7" fmla="*/ 139566 w 529389"/>
                <a:gd name="connsiteY7" fmla="*/ 2348564 h 2685448"/>
                <a:gd name="connsiteX8" fmla="*/ 510139 w 529389"/>
                <a:gd name="connsiteY8" fmla="*/ 2685448 h 2685448"/>
                <a:gd name="connsiteX9" fmla="*/ 510139 w 529389"/>
                <a:gd name="connsiteY9" fmla="*/ 2497755 h 2685448"/>
                <a:gd name="connsiteX10" fmla="*/ 375385 w 529389"/>
                <a:gd name="connsiteY10" fmla="*/ 2334126 h 2685448"/>
                <a:gd name="connsiteX11" fmla="*/ 375385 w 529389"/>
                <a:gd name="connsiteY11" fmla="*/ 1544854 h 2685448"/>
                <a:gd name="connsiteX12" fmla="*/ 216568 w 529389"/>
                <a:gd name="connsiteY12" fmla="*/ 1328286 h 2685448"/>
                <a:gd name="connsiteX13" fmla="*/ 409073 w 529389"/>
                <a:gd name="connsiteY13" fmla="*/ 1005840 h 2685448"/>
                <a:gd name="connsiteX14" fmla="*/ 409073 w 529389"/>
                <a:gd name="connsiteY14" fmla="*/ 327258 h 2685448"/>
                <a:gd name="connsiteX15" fmla="*/ 529389 w 529389"/>
                <a:gd name="connsiteY15" fmla="*/ 182880 h 2685448"/>
                <a:gd name="connsiteX0" fmla="*/ 529389 w 529389"/>
                <a:gd name="connsiteY0" fmla="*/ 182880 h 2685448"/>
                <a:gd name="connsiteX1" fmla="*/ 529389 w 529389"/>
                <a:gd name="connsiteY1" fmla="*/ 0 h 2685448"/>
                <a:gd name="connsiteX2" fmla="*/ 149191 w 529389"/>
                <a:gd name="connsiteY2" fmla="*/ 235818 h 2685448"/>
                <a:gd name="connsiteX3" fmla="*/ 149191 w 529389"/>
                <a:gd name="connsiteY3" fmla="*/ 1058778 h 2685448"/>
                <a:gd name="connsiteX4" fmla="*/ 0 w 529389"/>
                <a:gd name="connsiteY4" fmla="*/ 1260909 h 2685448"/>
                <a:gd name="connsiteX5" fmla="*/ 0 w 529389"/>
                <a:gd name="connsiteY5" fmla="*/ 1405288 h 2685448"/>
                <a:gd name="connsiteX6" fmla="*/ 139566 w 529389"/>
                <a:gd name="connsiteY6" fmla="*/ 1583355 h 2685448"/>
                <a:gd name="connsiteX7" fmla="*/ 139566 w 529389"/>
                <a:gd name="connsiteY7" fmla="*/ 2348564 h 2685448"/>
                <a:gd name="connsiteX8" fmla="*/ 510139 w 529389"/>
                <a:gd name="connsiteY8" fmla="*/ 2685448 h 2685448"/>
                <a:gd name="connsiteX9" fmla="*/ 510139 w 529389"/>
                <a:gd name="connsiteY9" fmla="*/ 2497755 h 2685448"/>
                <a:gd name="connsiteX10" fmla="*/ 375385 w 529389"/>
                <a:gd name="connsiteY10" fmla="*/ 2334126 h 2685448"/>
                <a:gd name="connsiteX11" fmla="*/ 375385 w 529389"/>
                <a:gd name="connsiteY11" fmla="*/ 1544854 h 2685448"/>
                <a:gd name="connsiteX12" fmla="*/ 216568 w 529389"/>
                <a:gd name="connsiteY12" fmla="*/ 1328286 h 2685448"/>
                <a:gd name="connsiteX13" fmla="*/ 409073 w 529389"/>
                <a:gd name="connsiteY13" fmla="*/ 1005840 h 2685448"/>
                <a:gd name="connsiteX14" fmla="*/ 409073 w 529389"/>
                <a:gd name="connsiteY14" fmla="*/ 327258 h 2685448"/>
                <a:gd name="connsiteX15" fmla="*/ 529389 w 529389"/>
                <a:gd name="connsiteY15" fmla="*/ 182880 h 2685448"/>
                <a:gd name="connsiteX0" fmla="*/ 529389 w 529389"/>
                <a:gd name="connsiteY0" fmla="*/ 182880 h 2685448"/>
                <a:gd name="connsiteX1" fmla="*/ 529389 w 529389"/>
                <a:gd name="connsiteY1" fmla="*/ 0 h 2685448"/>
                <a:gd name="connsiteX2" fmla="*/ 149191 w 529389"/>
                <a:gd name="connsiteY2" fmla="*/ 235818 h 2685448"/>
                <a:gd name="connsiteX3" fmla="*/ 149191 w 529389"/>
                <a:gd name="connsiteY3" fmla="*/ 1058778 h 2685448"/>
                <a:gd name="connsiteX4" fmla="*/ 0 w 529389"/>
                <a:gd name="connsiteY4" fmla="*/ 1260909 h 2685448"/>
                <a:gd name="connsiteX5" fmla="*/ 0 w 529389"/>
                <a:gd name="connsiteY5" fmla="*/ 1405288 h 2685448"/>
                <a:gd name="connsiteX6" fmla="*/ 139566 w 529389"/>
                <a:gd name="connsiteY6" fmla="*/ 1583355 h 2685448"/>
                <a:gd name="connsiteX7" fmla="*/ 139566 w 529389"/>
                <a:gd name="connsiteY7" fmla="*/ 2348564 h 2685448"/>
                <a:gd name="connsiteX8" fmla="*/ 510139 w 529389"/>
                <a:gd name="connsiteY8" fmla="*/ 2685448 h 2685448"/>
                <a:gd name="connsiteX9" fmla="*/ 510139 w 529389"/>
                <a:gd name="connsiteY9" fmla="*/ 2497755 h 2685448"/>
                <a:gd name="connsiteX10" fmla="*/ 375385 w 529389"/>
                <a:gd name="connsiteY10" fmla="*/ 2334126 h 2685448"/>
                <a:gd name="connsiteX11" fmla="*/ 375385 w 529389"/>
                <a:gd name="connsiteY11" fmla="*/ 1544854 h 2685448"/>
                <a:gd name="connsiteX12" fmla="*/ 216568 w 529389"/>
                <a:gd name="connsiteY12" fmla="*/ 1328286 h 2685448"/>
                <a:gd name="connsiteX13" fmla="*/ 409073 w 529389"/>
                <a:gd name="connsiteY13" fmla="*/ 1005840 h 2685448"/>
                <a:gd name="connsiteX14" fmla="*/ 409073 w 529389"/>
                <a:gd name="connsiteY14" fmla="*/ 327258 h 2685448"/>
                <a:gd name="connsiteX15" fmla="*/ 529389 w 529389"/>
                <a:gd name="connsiteY15" fmla="*/ 182880 h 2685448"/>
                <a:gd name="connsiteX0" fmla="*/ 529389 w 529389"/>
                <a:gd name="connsiteY0" fmla="*/ 182880 h 2685448"/>
                <a:gd name="connsiteX1" fmla="*/ 529389 w 529389"/>
                <a:gd name="connsiteY1" fmla="*/ 0 h 2685448"/>
                <a:gd name="connsiteX2" fmla="*/ 149191 w 529389"/>
                <a:gd name="connsiteY2" fmla="*/ 235818 h 2685448"/>
                <a:gd name="connsiteX3" fmla="*/ 149191 w 529389"/>
                <a:gd name="connsiteY3" fmla="*/ 1058778 h 2685448"/>
                <a:gd name="connsiteX4" fmla="*/ 0 w 529389"/>
                <a:gd name="connsiteY4" fmla="*/ 1260909 h 2685448"/>
                <a:gd name="connsiteX5" fmla="*/ 0 w 529389"/>
                <a:gd name="connsiteY5" fmla="*/ 1405288 h 2685448"/>
                <a:gd name="connsiteX6" fmla="*/ 139566 w 529389"/>
                <a:gd name="connsiteY6" fmla="*/ 1583355 h 2685448"/>
                <a:gd name="connsiteX7" fmla="*/ 139566 w 529389"/>
                <a:gd name="connsiteY7" fmla="*/ 2348564 h 2685448"/>
                <a:gd name="connsiteX8" fmla="*/ 510139 w 529389"/>
                <a:gd name="connsiteY8" fmla="*/ 2685448 h 2685448"/>
                <a:gd name="connsiteX9" fmla="*/ 510139 w 529389"/>
                <a:gd name="connsiteY9" fmla="*/ 2497755 h 2685448"/>
                <a:gd name="connsiteX10" fmla="*/ 375385 w 529389"/>
                <a:gd name="connsiteY10" fmla="*/ 2334126 h 2685448"/>
                <a:gd name="connsiteX11" fmla="*/ 375385 w 529389"/>
                <a:gd name="connsiteY11" fmla="*/ 1544854 h 2685448"/>
                <a:gd name="connsiteX12" fmla="*/ 216568 w 529389"/>
                <a:gd name="connsiteY12" fmla="*/ 1328286 h 2685448"/>
                <a:gd name="connsiteX13" fmla="*/ 409073 w 529389"/>
                <a:gd name="connsiteY13" fmla="*/ 1005840 h 2685448"/>
                <a:gd name="connsiteX14" fmla="*/ 409073 w 529389"/>
                <a:gd name="connsiteY14" fmla="*/ 327258 h 2685448"/>
                <a:gd name="connsiteX15" fmla="*/ 529389 w 529389"/>
                <a:gd name="connsiteY15" fmla="*/ 182880 h 2685448"/>
                <a:gd name="connsiteX0" fmla="*/ 529389 w 529389"/>
                <a:gd name="connsiteY0" fmla="*/ 182880 h 2685448"/>
                <a:gd name="connsiteX1" fmla="*/ 529389 w 529389"/>
                <a:gd name="connsiteY1" fmla="*/ 0 h 2685448"/>
                <a:gd name="connsiteX2" fmla="*/ 149191 w 529389"/>
                <a:gd name="connsiteY2" fmla="*/ 235818 h 2685448"/>
                <a:gd name="connsiteX3" fmla="*/ 149191 w 529389"/>
                <a:gd name="connsiteY3" fmla="*/ 1058778 h 2685448"/>
                <a:gd name="connsiteX4" fmla="*/ 0 w 529389"/>
                <a:gd name="connsiteY4" fmla="*/ 1260909 h 2685448"/>
                <a:gd name="connsiteX5" fmla="*/ 0 w 529389"/>
                <a:gd name="connsiteY5" fmla="*/ 1405288 h 2685448"/>
                <a:gd name="connsiteX6" fmla="*/ 139566 w 529389"/>
                <a:gd name="connsiteY6" fmla="*/ 1583355 h 2685448"/>
                <a:gd name="connsiteX7" fmla="*/ 139566 w 529389"/>
                <a:gd name="connsiteY7" fmla="*/ 2348564 h 2685448"/>
                <a:gd name="connsiteX8" fmla="*/ 510139 w 529389"/>
                <a:gd name="connsiteY8" fmla="*/ 2685448 h 2685448"/>
                <a:gd name="connsiteX9" fmla="*/ 510139 w 529389"/>
                <a:gd name="connsiteY9" fmla="*/ 2497755 h 2685448"/>
                <a:gd name="connsiteX10" fmla="*/ 375385 w 529389"/>
                <a:gd name="connsiteY10" fmla="*/ 2334126 h 2685448"/>
                <a:gd name="connsiteX11" fmla="*/ 375385 w 529389"/>
                <a:gd name="connsiteY11" fmla="*/ 1544854 h 2685448"/>
                <a:gd name="connsiteX12" fmla="*/ 216568 w 529389"/>
                <a:gd name="connsiteY12" fmla="*/ 1328286 h 2685448"/>
                <a:gd name="connsiteX13" fmla="*/ 409073 w 529389"/>
                <a:gd name="connsiteY13" fmla="*/ 1005840 h 2685448"/>
                <a:gd name="connsiteX14" fmla="*/ 409073 w 529389"/>
                <a:gd name="connsiteY14" fmla="*/ 327258 h 2685448"/>
                <a:gd name="connsiteX15" fmla="*/ 529389 w 529389"/>
                <a:gd name="connsiteY15" fmla="*/ 182880 h 2685448"/>
                <a:gd name="connsiteX0" fmla="*/ 529389 w 529389"/>
                <a:gd name="connsiteY0" fmla="*/ 182880 h 2685448"/>
                <a:gd name="connsiteX1" fmla="*/ 529389 w 529389"/>
                <a:gd name="connsiteY1" fmla="*/ 0 h 2685448"/>
                <a:gd name="connsiteX2" fmla="*/ 149191 w 529389"/>
                <a:gd name="connsiteY2" fmla="*/ 235818 h 2685448"/>
                <a:gd name="connsiteX3" fmla="*/ 149191 w 529389"/>
                <a:gd name="connsiteY3" fmla="*/ 1058778 h 2685448"/>
                <a:gd name="connsiteX4" fmla="*/ 0 w 529389"/>
                <a:gd name="connsiteY4" fmla="*/ 1260909 h 2685448"/>
                <a:gd name="connsiteX5" fmla="*/ 0 w 529389"/>
                <a:gd name="connsiteY5" fmla="*/ 1405288 h 2685448"/>
                <a:gd name="connsiteX6" fmla="*/ 139566 w 529389"/>
                <a:gd name="connsiteY6" fmla="*/ 1583355 h 2685448"/>
                <a:gd name="connsiteX7" fmla="*/ 139566 w 529389"/>
                <a:gd name="connsiteY7" fmla="*/ 2348564 h 2685448"/>
                <a:gd name="connsiteX8" fmla="*/ 510139 w 529389"/>
                <a:gd name="connsiteY8" fmla="*/ 2685448 h 2685448"/>
                <a:gd name="connsiteX9" fmla="*/ 510139 w 529389"/>
                <a:gd name="connsiteY9" fmla="*/ 2497755 h 2685448"/>
                <a:gd name="connsiteX10" fmla="*/ 375385 w 529389"/>
                <a:gd name="connsiteY10" fmla="*/ 2334126 h 2685448"/>
                <a:gd name="connsiteX11" fmla="*/ 375385 w 529389"/>
                <a:gd name="connsiteY11" fmla="*/ 1544854 h 2685448"/>
                <a:gd name="connsiteX12" fmla="*/ 216568 w 529389"/>
                <a:gd name="connsiteY12" fmla="*/ 1328286 h 2685448"/>
                <a:gd name="connsiteX13" fmla="*/ 409073 w 529389"/>
                <a:gd name="connsiteY13" fmla="*/ 1005840 h 2685448"/>
                <a:gd name="connsiteX14" fmla="*/ 409073 w 529389"/>
                <a:gd name="connsiteY14" fmla="*/ 327258 h 2685448"/>
                <a:gd name="connsiteX15" fmla="*/ 529389 w 529389"/>
                <a:gd name="connsiteY15" fmla="*/ 182880 h 2685448"/>
                <a:gd name="connsiteX0" fmla="*/ 529389 w 529389"/>
                <a:gd name="connsiteY0" fmla="*/ 182880 h 2685448"/>
                <a:gd name="connsiteX1" fmla="*/ 529389 w 529389"/>
                <a:gd name="connsiteY1" fmla="*/ 0 h 2685448"/>
                <a:gd name="connsiteX2" fmla="*/ 149191 w 529389"/>
                <a:gd name="connsiteY2" fmla="*/ 235818 h 2685448"/>
                <a:gd name="connsiteX3" fmla="*/ 149191 w 529389"/>
                <a:gd name="connsiteY3" fmla="*/ 1058778 h 2685448"/>
                <a:gd name="connsiteX4" fmla="*/ 0 w 529389"/>
                <a:gd name="connsiteY4" fmla="*/ 1260909 h 2685448"/>
                <a:gd name="connsiteX5" fmla="*/ 0 w 529389"/>
                <a:gd name="connsiteY5" fmla="*/ 1405288 h 2685448"/>
                <a:gd name="connsiteX6" fmla="*/ 139566 w 529389"/>
                <a:gd name="connsiteY6" fmla="*/ 1583355 h 2685448"/>
                <a:gd name="connsiteX7" fmla="*/ 139566 w 529389"/>
                <a:gd name="connsiteY7" fmla="*/ 2348564 h 2685448"/>
                <a:gd name="connsiteX8" fmla="*/ 510139 w 529389"/>
                <a:gd name="connsiteY8" fmla="*/ 2685448 h 2685448"/>
                <a:gd name="connsiteX9" fmla="*/ 510139 w 529389"/>
                <a:gd name="connsiteY9" fmla="*/ 2497755 h 2685448"/>
                <a:gd name="connsiteX10" fmla="*/ 375385 w 529389"/>
                <a:gd name="connsiteY10" fmla="*/ 2334126 h 2685448"/>
                <a:gd name="connsiteX11" fmla="*/ 375385 w 529389"/>
                <a:gd name="connsiteY11" fmla="*/ 1544854 h 2685448"/>
                <a:gd name="connsiteX12" fmla="*/ 216568 w 529389"/>
                <a:gd name="connsiteY12" fmla="*/ 1328286 h 2685448"/>
                <a:gd name="connsiteX13" fmla="*/ 383673 w 529389"/>
                <a:gd name="connsiteY13" fmla="*/ 1005840 h 2685448"/>
                <a:gd name="connsiteX14" fmla="*/ 409073 w 529389"/>
                <a:gd name="connsiteY14" fmla="*/ 327258 h 2685448"/>
                <a:gd name="connsiteX15" fmla="*/ 529389 w 529389"/>
                <a:gd name="connsiteY15" fmla="*/ 182880 h 2685448"/>
                <a:gd name="connsiteX0" fmla="*/ 529389 w 529389"/>
                <a:gd name="connsiteY0" fmla="*/ 182880 h 2685448"/>
                <a:gd name="connsiteX1" fmla="*/ 529389 w 529389"/>
                <a:gd name="connsiteY1" fmla="*/ 0 h 2685448"/>
                <a:gd name="connsiteX2" fmla="*/ 149191 w 529389"/>
                <a:gd name="connsiteY2" fmla="*/ 235818 h 2685448"/>
                <a:gd name="connsiteX3" fmla="*/ 149191 w 529389"/>
                <a:gd name="connsiteY3" fmla="*/ 1058778 h 2685448"/>
                <a:gd name="connsiteX4" fmla="*/ 0 w 529389"/>
                <a:gd name="connsiteY4" fmla="*/ 1260909 h 2685448"/>
                <a:gd name="connsiteX5" fmla="*/ 0 w 529389"/>
                <a:gd name="connsiteY5" fmla="*/ 1405288 h 2685448"/>
                <a:gd name="connsiteX6" fmla="*/ 139566 w 529389"/>
                <a:gd name="connsiteY6" fmla="*/ 1583355 h 2685448"/>
                <a:gd name="connsiteX7" fmla="*/ 139566 w 529389"/>
                <a:gd name="connsiteY7" fmla="*/ 2348564 h 2685448"/>
                <a:gd name="connsiteX8" fmla="*/ 510139 w 529389"/>
                <a:gd name="connsiteY8" fmla="*/ 2685448 h 2685448"/>
                <a:gd name="connsiteX9" fmla="*/ 510139 w 529389"/>
                <a:gd name="connsiteY9" fmla="*/ 2497755 h 2685448"/>
                <a:gd name="connsiteX10" fmla="*/ 375385 w 529389"/>
                <a:gd name="connsiteY10" fmla="*/ 2334126 h 2685448"/>
                <a:gd name="connsiteX11" fmla="*/ 375385 w 529389"/>
                <a:gd name="connsiteY11" fmla="*/ 1544854 h 2685448"/>
                <a:gd name="connsiteX12" fmla="*/ 216568 w 529389"/>
                <a:gd name="connsiteY12" fmla="*/ 1328286 h 2685448"/>
                <a:gd name="connsiteX13" fmla="*/ 383673 w 529389"/>
                <a:gd name="connsiteY13" fmla="*/ 1005840 h 2685448"/>
                <a:gd name="connsiteX14" fmla="*/ 409073 w 529389"/>
                <a:gd name="connsiteY14" fmla="*/ 327258 h 2685448"/>
                <a:gd name="connsiteX15" fmla="*/ 529389 w 529389"/>
                <a:gd name="connsiteY15" fmla="*/ 182880 h 2685448"/>
                <a:gd name="connsiteX0" fmla="*/ 529389 w 529389"/>
                <a:gd name="connsiteY0" fmla="*/ 182880 h 2685448"/>
                <a:gd name="connsiteX1" fmla="*/ 529389 w 529389"/>
                <a:gd name="connsiteY1" fmla="*/ 0 h 2685448"/>
                <a:gd name="connsiteX2" fmla="*/ 149191 w 529389"/>
                <a:gd name="connsiteY2" fmla="*/ 235818 h 2685448"/>
                <a:gd name="connsiteX3" fmla="*/ 149191 w 529389"/>
                <a:gd name="connsiteY3" fmla="*/ 1058778 h 2685448"/>
                <a:gd name="connsiteX4" fmla="*/ 0 w 529389"/>
                <a:gd name="connsiteY4" fmla="*/ 1260909 h 2685448"/>
                <a:gd name="connsiteX5" fmla="*/ 0 w 529389"/>
                <a:gd name="connsiteY5" fmla="*/ 1405288 h 2685448"/>
                <a:gd name="connsiteX6" fmla="*/ 139566 w 529389"/>
                <a:gd name="connsiteY6" fmla="*/ 1583355 h 2685448"/>
                <a:gd name="connsiteX7" fmla="*/ 139566 w 529389"/>
                <a:gd name="connsiteY7" fmla="*/ 2348564 h 2685448"/>
                <a:gd name="connsiteX8" fmla="*/ 510139 w 529389"/>
                <a:gd name="connsiteY8" fmla="*/ 2685448 h 2685448"/>
                <a:gd name="connsiteX9" fmla="*/ 510139 w 529389"/>
                <a:gd name="connsiteY9" fmla="*/ 2497755 h 2685448"/>
                <a:gd name="connsiteX10" fmla="*/ 375385 w 529389"/>
                <a:gd name="connsiteY10" fmla="*/ 2334126 h 2685448"/>
                <a:gd name="connsiteX11" fmla="*/ 375385 w 529389"/>
                <a:gd name="connsiteY11" fmla="*/ 1544854 h 2685448"/>
                <a:gd name="connsiteX12" fmla="*/ 216568 w 529389"/>
                <a:gd name="connsiteY12" fmla="*/ 1328286 h 2685448"/>
                <a:gd name="connsiteX13" fmla="*/ 383673 w 529389"/>
                <a:gd name="connsiteY13" fmla="*/ 1005840 h 2685448"/>
                <a:gd name="connsiteX14" fmla="*/ 409073 w 529389"/>
                <a:gd name="connsiteY14" fmla="*/ 327258 h 2685448"/>
                <a:gd name="connsiteX15" fmla="*/ 529389 w 529389"/>
                <a:gd name="connsiteY15" fmla="*/ 182880 h 2685448"/>
                <a:gd name="connsiteX0" fmla="*/ 529389 w 529389"/>
                <a:gd name="connsiteY0" fmla="*/ 182880 h 2685448"/>
                <a:gd name="connsiteX1" fmla="*/ 529389 w 529389"/>
                <a:gd name="connsiteY1" fmla="*/ 0 h 2685448"/>
                <a:gd name="connsiteX2" fmla="*/ 149191 w 529389"/>
                <a:gd name="connsiteY2" fmla="*/ 235818 h 2685448"/>
                <a:gd name="connsiteX3" fmla="*/ 149191 w 529389"/>
                <a:gd name="connsiteY3" fmla="*/ 1058778 h 2685448"/>
                <a:gd name="connsiteX4" fmla="*/ 0 w 529389"/>
                <a:gd name="connsiteY4" fmla="*/ 1260909 h 2685448"/>
                <a:gd name="connsiteX5" fmla="*/ 0 w 529389"/>
                <a:gd name="connsiteY5" fmla="*/ 1405288 h 2685448"/>
                <a:gd name="connsiteX6" fmla="*/ 139566 w 529389"/>
                <a:gd name="connsiteY6" fmla="*/ 1583355 h 2685448"/>
                <a:gd name="connsiteX7" fmla="*/ 139566 w 529389"/>
                <a:gd name="connsiteY7" fmla="*/ 2348564 h 2685448"/>
                <a:gd name="connsiteX8" fmla="*/ 510139 w 529389"/>
                <a:gd name="connsiteY8" fmla="*/ 2685448 h 2685448"/>
                <a:gd name="connsiteX9" fmla="*/ 510139 w 529389"/>
                <a:gd name="connsiteY9" fmla="*/ 2497755 h 2685448"/>
                <a:gd name="connsiteX10" fmla="*/ 375385 w 529389"/>
                <a:gd name="connsiteY10" fmla="*/ 2334126 h 2685448"/>
                <a:gd name="connsiteX11" fmla="*/ 375385 w 529389"/>
                <a:gd name="connsiteY11" fmla="*/ 1544854 h 2685448"/>
                <a:gd name="connsiteX12" fmla="*/ 216568 w 529389"/>
                <a:gd name="connsiteY12" fmla="*/ 1328286 h 2685448"/>
                <a:gd name="connsiteX13" fmla="*/ 383673 w 529389"/>
                <a:gd name="connsiteY13" fmla="*/ 1005840 h 2685448"/>
                <a:gd name="connsiteX14" fmla="*/ 409073 w 529389"/>
                <a:gd name="connsiteY14" fmla="*/ 327258 h 2685448"/>
                <a:gd name="connsiteX15" fmla="*/ 529389 w 529389"/>
                <a:gd name="connsiteY15" fmla="*/ 182880 h 2685448"/>
                <a:gd name="connsiteX0" fmla="*/ 529389 w 537126"/>
                <a:gd name="connsiteY0" fmla="*/ 182880 h 2671161"/>
                <a:gd name="connsiteX1" fmla="*/ 529389 w 537126"/>
                <a:gd name="connsiteY1" fmla="*/ 0 h 2671161"/>
                <a:gd name="connsiteX2" fmla="*/ 149191 w 537126"/>
                <a:gd name="connsiteY2" fmla="*/ 235818 h 2671161"/>
                <a:gd name="connsiteX3" fmla="*/ 149191 w 537126"/>
                <a:gd name="connsiteY3" fmla="*/ 1058778 h 2671161"/>
                <a:gd name="connsiteX4" fmla="*/ 0 w 537126"/>
                <a:gd name="connsiteY4" fmla="*/ 1260909 h 2671161"/>
                <a:gd name="connsiteX5" fmla="*/ 0 w 537126"/>
                <a:gd name="connsiteY5" fmla="*/ 1405288 h 2671161"/>
                <a:gd name="connsiteX6" fmla="*/ 139566 w 537126"/>
                <a:gd name="connsiteY6" fmla="*/ 1583355 h 2671161"/>
                <a:gd name="connsiteX7" fmla="*/ 139566 w 537126"/>
                <a:gd name="connsiteY7" fmla="*/ 2348564 h 2671161"/>
                <a:gd name="connsiteX8" fmla="*/ 537126 w 537126"/>
                <a:gd name="connsiteY8" fmla="*/ 2671161 h 2671161"/>
                <a:gd name="connsiteX9" fmla="*/ 510139 w 537126"/>
                <a:gd name="connsiteY9" fmla="*/ 2497755 h 2671161"/>
                <a:gd name="connsiteX10" fmla="*/ 375385 w 537126"/>
                <a:gd name="connsiteY10" fmla="*/ 2334126 h 2671161"/>
                <a:gd name="connsiteX11" fmla="*/ 375385 w 537126"/>
                <a:gd name="connsiteY11" fmla="*/ 1544854 h 2671161"/>
                <a:gd name="connsiteX12" fmla="*/ 216568 w 537126"/>
                <a:gd name="connsiteY12" fmla="*/ 1328286 h 2671161"/>
                <a:gd name="connsiteX13" fmla="*/ 383673 w 537126"/>
                <a:gd name="connsiteY13" fmla="*/ 1005840 h 2671161"/>
                <a:gd name="connsiteX14" fmla="*/ 409073 w 537126"/>
                <a:gd name="connsiteY14" fmla="*/ 327258 h 2671161"/>
                <a:gd name="connsiteX15" fmla="*/ 529389 w 537126"/>
                <a:gd name="connsiteY15" fmla="*/ 182880 h 2671161"/>
                <a:gd name="connsiteX0" fmla="*/ 529389 w 537126"/>
                <a:gd name="connsiteY0" fmla="*/ 182880 h 2671804"/>
                <a:gd name="connsiteX1" fmla="*/ 529389 w 537126"/>
                <a:gd name="connsiteY1" fmla="*/ 0 h 2671804"/>
                <a:gd name="connsiteX2" fmla="*/ 149191 w 537126"/>
                <a:gd name="connsiteY2" fmla="*/ 235818 h 2671804"/>
                <a:gd name="connsiteX3" fmla="*/ 149191 w 537126"/>
                <a:gd name="connsiteY3" fmla="*/ 1058778 h 2671804"/>
                <a:gd name="connsiteX4" fmla="*/ 0 w 537126"/>
                <a:gd name="connsiteY4" fmla="*/ 1260909 h 2671804"/>
                <a:gd name="connsiteX5" fmla="*/ 0 w 537126"/>
                <a:gd name="connsiteY5" fmla="*/ 1405288 h 2671804"/>
                <a:gd name="connsiteX6" fmla="*/ 139566 w 537126"/>
                <a:gd name="connsiteY6" fmla="*/ 1583355 h 2671804"/>
                <a:gd name="connsiteX7" fmla="*/ 139566 w 537126"/>
                <a:gd name="connsiteY7" fmla="*/ 2348564 h 2671804"/>
                <a:gd name="connsiteX8" fmla="*/ 537126 w 537126"/>
                <a:gd name="connsiteY8" fmla="*/ 2671161 h 2671804"/>
                <a:gd name="connsiteX9" fmla="*/ 510139 w 537126"/>
                <a:gd name="connsiteY9" fmla="*/ 2497755 h 2671804"/>
                <a:gd name="connsiteX10" fmla="*/ 375385 w 537126"/>
                <a:gd name="connsiteY10" fmla="*/ 2334126 h 2671804"/>
                <a:gd name="connsiteX11" fmla="*/ 375385 w 537126"/>
                <a:gd name="connsiteY11" fmla="*/ 1544854 h 2671804"/>
                <a:gd name="connsiteX12" fmla="*/ 216568 w 537126"/>
                <a:gd name="connsiteY12" fmla="*/ 1328286 h 2671804"/>
                <a:gd name="connsiteX13" fmla="*/ 383673 w 537126"/>
                <a:gd name="connsiteY13" fmla="*/ 1005840 h 2671804"/>
                <a:gd name="connsiteX14" fmla="*/ 409073 w 537126"/>
                <a:gd name="connsiteY14" fmla="*/ 327258 h 2671804"/>
                <a:gd name="connsiteX15" fmla="*/ 529389 w 537126"/>
                <a:gd name="connsiteY15" fmla="*/ 182880 h 2671804"/>
                <a:gd name="connsiteX0" fmla="*/ 529389 w 537126"/>
                <a:gd name="connsiteY0" fmla="*/ 182880 h 2671922"/>
                <a:gd name="connsiteX1" fmla="*/ 529389 w 537126"/>
                <a:gd name="connsiteY1" fmla="*/ 0 h 2671922"/>
                <a:gd name="connsiteX2" fmla="*/ 149191 w 537126"/>
                <a:gd name="connsiteY2" fmla="*/ 235818 h 2671922"/>
                <a:gd name="connsiteX3" fmla="*/ 149191 w 537126"/>
                <a:gd name="connsiteY3" fmla="*/ 1058778 h 2671922"/>
                <a:gd name="connsiteX4" fmla="*/ 0 w 537126"/>
                <a:gd name="connsiteY4" fmla="*/ 1260909 h 2671922"/>
                <a:gd name="connsiteX5" fmla="*/ 0 w 537126"/>
                <a:gd name="connsiteY5" fmla="*/ 1405288 h 2671922"/>
                <a:gd name="connsiteX6" fmla="*/ 139566 w 537126"/>
                <a:gd name="connsiteY6" fmla="*/ 1583355 h 2671922"/>
                <a:gd name="connsiteX7" fmla="*/ 139566 w 537126"/>
                <a:gd name="connsiteY7" fmla="*/ 2348564 h 2671922"/>
                <a:gd name="connsiteX8" fmla="*/ 537126 w 537126"/>
                <a:gd name="connsiteY8" fmla="*/ 2671161 h 2671922"/>
                <a:gd name="connsiteX9" fmla="*/ 510139 w 537126"/>
                <a:gd name="connsiteY9" fmla="*/ 2497755 h 2671922"/>
                <a:gd name="connsiteX10" fmla="*/ 375385 w 537126"/>
                <a:gd name="connsiteY10" fmla="*/ 2334126 h 2671922"/>
                <a:gd name="connsiteX11" fmla="*/ 375385 w 537126"/>
                <a:gd name="connsiteY11" fmla="*/ 1544854 h 2671922"/>
                <a:gd name="connsiteX12" fmla="*/ 216568 w 537126"/>
                <a:gd name="connsiteY12" fmla="*/ 1328286 h 2671922"/>
                <a:gd name="connsiteX13" fmla="*/ 383673 w 537126"/>
                <a:gd name="connsiteY13" fmla="*/ 1005840 h 2671922"/>
                <a:gd name="connsiteX14" fmla="*/ 409073 w 537126"/>
                <a:gd name="connsiteY14" fmla="*/ 327258 h 2671922"/>
                <a:gd name="connsiteX15" fmla="*/ 529389 w 537126"/>
                <a:gd name="connsiteY15" fmla="*/ 182880 h 2671922"/>
                <a:gd name="connsiteX0" fmla="*/ 529389 w 537126"/>
                <a:gd name="connsiteY0" fmla="*/ 182880 h 2672599"/>
                <a:gd name="connsiteX1" fmla="*/ 529389 w 537126"/>
                <a:gd name="connsiteY1" fmla="*/ 0 h 2672599"/>
                <a:gd name="connsiteX2" fmla="*/ 149191 w 537126"/>
                <a:gd name="connsiteY2" fmla="*/ 235818 h 2672599"/>
                <a:gd name="connsiteX3" fmla="*/ 149191 w 537126"/>
                <a:gd name="connsiteY3" fmla="*/ 1058778 h 2672599"/>
                <a:gd name="connsiteX4" fmla="*/ 0 w 537126"/>
                <a:gd name="connsiteY4" fmla="*/ 1260909 h 2672599"/>
                <a:gd name="connsiteX5" fmla="*/ 0 w 537126"/>
                <a:gd name="connsiteY5" fmla="*/ 1405288 h 2672599"/>
                <a:gd name="connsiteX6" fmla="*/ 139566 w 537126"/>
                <a:gd name="connsiteY6" fmla="*/ 1583355 h 2672599"/>
                <a:gd name="connsiteX7" fmla="*/ 139566 w 537126"/>
                <a:gd name="connsiteY7" fmla="*/ 2348564 h 2672599"/>
                <a:gd name="connsiteX8" fmla="*/ 537126 w 537126"/>
                <a:gd name="connsiteY8" fmla="*/ 2671161 h 2672599"/>
                <a:gd name="connsiteX9" fmla="*/ 510139 w 537126"/>
                <a:gd name="connsiteY9" fmla="*/ 2497755 h 2672599"/>
                <a:gd name="connsiteX10" fmla="*/ 375385 w 537126"/>
                <a:gd name="connsiteY10" fmla="*/ 2334126 h 2672599"/>
                <a:gd name="connsiteX11" fmla="*/ 375385 w 537126"/>
                <a:gd name="connsiteY11" fmla="*/ 1544854 h 2672599"/>
                <a:gd name="connsiteX12" fmla="*/ 216568 w 537126"/>
                <a:gd name="connsiteY12" fmla="*/ 1328286 h 2672599"/>
                <a:gd name="connsiteX13" fmla="*/ 383673 w 537126"/>
                <a:gd name="connsiteY13" fmla="*/ 1005840 h 2672599"/>
                <a:gd name="connsiteX14" fmla="*/ 409073 w 537126"/>
                <a:gd name="connsiteY14" fmla="*/ 327258 h 2672599"/>
                <a:gd name="connsiteX15" fmla="*/ 529389 w 537126"/>
                <a:gd name="connsiteY15" fmla="*/ 182880 h 2672599"/>
                <a:gd name="connsiteX0" fmla="*/ 529389 w 537126"/>
                <a:gd name="connsiteY0" fmla="*/ 182880 h 2672599"/>
                <a:gd name="connsiteX1" fmla="*/ 529389 w 537126"/>
                <a:gd name="connsiteY1" fmla="*/ 0 h 2672599"/>
                <a:gd name="connsiteX2" fmla="*/ 149191 w 537126"/>
                <a:gd name="connsiteY2" fmla="*/ 235818 h 2672599"/>
                <a:gd name="connsiteX3" fmla="*/ 149191 w 537126"/>
                <a:gd name="connsiteY3" fmla="*/ 1058778 h 2672599"/>
                <a:gd name="connsiteX4" fmla="*/ 0 w 537126"/>
                <a:gd name="connsiteY4" fmla="*/ 1260909 h 2672599"/>
                <a:gd name="connsiteX5" fmla="*/ 0 w 537126"/>
                <a:gd name="connsiteY5" fmla="*/ 1405288 h 2672599"/>
                <a:gd name="connsiteX6" fmla="*/ 139566 w 537126"/>
                <a:gd name="connsiteY6" fmla="*/ 1583355 h 2672599"/>
                <a:gd name="connsiteX7" fmla="*/ 139566 w 537126"/>
                <a:gd name="connsiteY7" fmla="*/ 2348564 h 2672599"/>
                <a:gd name="connsiteX8" fmla="*/ 537126 w 537126"/>
                <a:gd name="connsiteY8" fmla="*/ 2671161 h 2672599"/>
                <a:gd name="connsiteX9" fmla="*/ 530776 w 537126"/>
                <a:gd name="connsiteY9" fmla="*/ 2499342 h 2672599"/>
                <a:gd name="connsiteX10" fmla="*/ 375385 w 537126"/>
                <a:gd name="connsiteY10" fmla="*/ 2334126 h 2672599"/>
                <a:gd name="connsiteX11" fmla="*/ 375385 w 537126"/>
                <a:gd name="connsiteY11" fmla="*/ 1544854 h 2672599"/>
                <a:gd name="connsiteX12" fmla="*/ 216568 w 537126"/>
                <a:gd name="connsiteY12" fmla="*/ 1328286 h 2672599"/>
                <a:gd name="connsiteX13" fmla="*/ 383673 w 537126"/>
                <a:gd name="connsiteY13" fmla="*/ 1005840 h 2672599"/>
                <a:gd name="connsiteX14" fmla="*/ 409073 w 537126"/>
                <a:gd name="connsiteY14" fmla="*/ 327258 h 2672599"/>
                <a:gd name="connsiteX15" fmla="*/ 529389 w 537126"/>
                <a:gd name="connsiteY15" fmla="*/ 182880 h 2672599"/>
                <a:gd name="connsiteX0" fmla="*/ 529389 w 537126"/>
                <a:gd name="connsiteY0" fmla="*/ 182880 h 2672599"/>
                <a:gd name="connsiteX1" fmla="*/ 529389 w 537126"/>
                <a:gd name="connsiteY1" fmla="*/ 0 h 2672599"/>
                <a:gd name="connsiteX2" fmla="*/ 149191 w 537126"/>
                <a:gd name="connsiteY2" fmla="*/ 235818 h 2672599"/>
                <a:gd name="connsiteX3" fmla="*/ 149191 w 537126"/>
                <a:gd name="connsiteY3" fmla="*/ 1058778 h 2672599"/>
                <a:gd name="connsiteX4" fmla="*/ 0 w 537126"/>
                <a:gd name="connsiteY4" fmla="*/ 1260909 h 2672599"/>
                <a:gd name="connsiteX5" fmla="*/ 0 w 537126"/>
                <a:gd name="connsiteY5" fmla="*/ 1405288 h 2672599"/>
                <a:gd name="connsiteX6" fmla="*/ 139566 w 537126"/>
                <a:gd name="connsiteY6" fmla="*/ 1583355 h 2672599"/>
                <a:gd name="connsiteX7" fmla="*/ 139566 w 537126"/>
                <a:gd name="connsiteY7" fmla="*/ 2348564 h 2672599"/>
                <a:gd name="connsiteX8" fmla="*/ 537126 w 537126"/>
                <a:gd name="connsiteY8" fmla="*/ 2671161 h 2672599"/>
                <a:gd name="connsiteX9" fmla="*/ 530776 w 537126"/>
                <a:gd name="connsiteY9" fmla="*/ 2499342 h 2672599"/>
                <a:gd name="connsiteX10" fmla="*/ 375385 w 537126"/>
                <a:gd name="connsiteY10" fmla="*/ 2334126 h 2672599"/>
                <a:gd name="connsiteX11" fmla="*/ 375385 w 537126"/>
                <a:gd name="connsiteY11" fmla="*/ 1544854 h 2672599"/>
                <a:gd name="connsiteX12" fmla="*/ 216568 w 537126"/>
                <a:gd name="connsiteY12" fmla="*/ 1328286 h 2672599"/>
                <a:gd name="connsiteX13" fmla="*/ 383673 w 537126"/>
                <a:gd name="connsiteY13" fmla="*/ 1005840 h 2672599"/>
                <a:gd name="connsiteX14" fmla="*/ 409073 w 537126"/>
                <a:gd name="connsiteY14" fmla="*/ 327258 h 2672599"/>
                <a:gd name="connsiteX15" fmla="*/ 529389 w 537126"/>
                <a:gd name="connsiteY15" fmla="*/ 182880 h 2672599"/>
                <a:gd name="connsiteX0" fmla="*/ 529389 w 537126"/>
                <a:gd name="connsiteY0" fmla="*/ 182880 h 2672599"/>
                <a:gd name="connsiteX1" fmla="*/ 529389 w 537126"/>
                <a:gd name="connsiteY1" fmla="*/ 0 h 2672599"/>
                <a:gd name="connsiteX2" fmla="*/ 149191 w 537126"/>
                <a:gd name="connsiteY2" fmla="*/ 235818 h 2672599"/>
                <a:gd name="connsiteX3" fmla="*/ 149191 w 537126"/>
                <a:gd name="connsiteY3" fmla="*/ 1058778 h 2672599"/>
                <a:gd name="connsiteX4" fmla="*/ 0 w 537126"/>
                <a:gd name="connsiteY4" fmla="*/ 1260909 h 2672599"/>
                <a:gd name="connsiteX5" fmla="*/ 0 w 537126"/>
                <a:gd name="connsiteY5" fmla="*/ 1405288 h 2672599"/>
                <a:gd name="connsiteX6" fmla="*/ 139566 w 537126"/>
                <a:gd name="connsiteY6" fmla="*/ 1583355 h 2672599"/>
                <a:gd name="connsiteX7" fmla="*/ 139566 w 537126"/>
                <a:gd name="connsiteY7" fmla="*/ 2348564 h 2672599"/>
                <a:gd name="connsiteX8" fmla="*/ 537126 w 537126"/>
                <a:gd name="connsiteY8" fmla="*/ 2671161 h 2672599"/>
                <a:gd name="connsiteX9" fmla="*/ 530776 w 537126"/>
                <a:gd name="connsiteY9" fmla="*/ 2499342 h 2672599"/>
                <a:gd name="connsiteX10" fmla="*/ 375385 w 537126"/>
                <a:gd name="connsiteY10" fmla="*/ 2334126 h 2672599"/>
                <a:gd name="connsiteX11" fmla="*/ 375385 w 537126"/>
                <a:gd name="connsiteY11" fmla="*/ 1544854 h 2672599"/>
                <a:gd name="connsiteX12" fmla="*/ 216568 w 537126"/>
                <a:gd name="connsiteY12" fmla="*/ 1328286 h 2672599"/>
                <a:gd name="connsiteX13" fmla="*/ 383673 w 537126"/>
                <a:gd name="connsiteY13" fmla="*/ 1005840 h 2672599"/>
                <a:gd name="connsiteX14" fmla="*/ 409073 w 537126"/>
                <a:gd name="connsiteY14" fmla="*/ 327258 h 2672599"/>
                <a:gd name="connsiteX15" fmla="*/ 529389 w 537126"/>
                <a:gd name="connsiteY15" fmla="*/ 182880 h 2672599"/>
                <a:gd name="connsiteX0" fmla="*/ 529389 w 537126"/>
                <a:gd name="connsiteY0" fmla="*/ 182880 h 2672599"/>
                <a:gd name="connsiteX1" fmla="*/ 529389 w 537126"/>
                <a:gd name="connsiteY1" fmla="*/ 0 h 2672599"/>
                <a:gd name="connsiteX2" fmla="*/ 149191 w 537126"/>
                <a:gd name="connsiteY2" fmla="*/ 235818 h 2672599"/>
                <a:gd name="connsiteX3" fmla="*/ 149191 w 537126"/>
                <a:gd name="connsiteY3" fmla="*/ 1058778 h 2672599"/>
                <a:gd name="connsiteX4" fmla="*/ 0 w 537126"/>
                <a:gd name="connsiteY4" fmla="*/ 1260909 h 2672599"/>
                <a:gd name="connsiteX5" fmla="*/ 0 w 537126"/>
                <a:gd name="connsiteY5" fmla="*/ 1405288 h 2672599"/>
                <a:gd name="connsiteX6" fmla="*/ 139566 w 537126"/>
                <a:gd name="connsiteY6" fmla="*/ 1583355 h 2672599"/>
                <a:gd name="connsiteX7" fmla="*/ 139566 w 537126"/>
                <a:gd name="connsiteY7" fmla="*/ 2348564 h 2672599"/>
                <a:gd name="connsiteX8" fmla="*/ 537126 w 537126"/>
                <a:gd name="connsiteY8" fmla="*/ 2671161 h 2672599"/>
                <a:gd name="connsiteX9" fmla="*/ 530776 w 537126"/>
                <a:gd name="connsiteY9" fmla="*/ 2499342 h 2672599"/>
                <a:gd name="connsiteX10" fmla="*/ 375385 w 537126"/>
                <a:gd name="connsiteY10" fmla="*/ 2334126 h 2672599"/>
                <a:gd name="connsiteX11" fmla="*/ 375385 w 537126"/>
                <a:gd name="connsiteY11" fmla="*/ 1544854 h 2672599"/>
                <a:gd name="connsiteX12" fmla="*/ 216568 w 537126"/>
                <a:gd name="connsiteY12" fmla="*/ 1328286 h 2672599"/>
                <a:gd name="connsiteX13" fmla="*/ 383673 w 537126"/>
                <a:gd name="connsiteY13" fmla="*/ 1005840 h 2672599"/>
                <a:gd name="connsiteX14" fmla="*/ 374148 w 537126"/>
                <a:gd name="connsiteY14" fmla="*/ 327258 h 2672599"/>
                <a:gd name="connsiteX15" fmla="*/ 529389 w 537126"/>
                <a:gd name="connsiteY15" fmla="*/ 182880 h 2672599"/>
                <a:gd name="connsiteX0" fmla="*/ 529389 w 537126"/>
                <a:gd name="connsiteY0" fmla="*/ 182880 h 2672599"/>
                <a:gd name="connsiteX1" fmla="*/ 529389 w 537126"/>
                <a:gd name="connsiteY1" fmla="*/ 0 h 2672599"/>
                <a:gd name="connsiteX2" fmla="*/ 149191 w 537126"/>
                <a:gd name="connsiteY2" fmla="*/ 235818 h 2672599"/>
                <a:gd name="connsiteX3" fmla="*/ 149191 w 537126"/>
                <a:gd name="connsiteY3" fmla="*/ 1058778 h 2672599"/>
                <a:gd name="connsiteX4" fmla="*/ 0 w 537126"/>
                <a:gd name="connsiteY4" fmla="*/ 1260909 h 2672599"/>
                <a:gd name="connsiteX5" fmla="*/ 0 w 537126"/>
                <a:gd name="connsiteY5" fmla="*/ 1405288 h 2672599"/>
                <a:gd name="connsiteX6" fmla="*/ 139566 w 537126"/>
                <a:gd name="connsiteY6" fmla="*/ 1583355 h 2672599"/>
                <a:gd name="connsiteX7" fmla="*/ 139566 w 537126"/>
                <a:gd name="connsiteY7" fmla="*/ 2348564 h 2672599"/>
                <a:gd name="connsiteX8" fmla="*/ 537126 w 537126"/>
                <a:gd name="connsiteY8" fmla="*/ 2671161 h 2672599"/>
                <a:gd name="connsiteX9" fmla="*/ 530776 w 537126"/>
                <a:gd name="connsiteY9" fmla="*/ 2499342 h 2672599"/>
                <a:gd name="connsiteX10" fmla="*/ 375385 w 537126"/>
                <a:gd name="connsiteY10" fmla="*/ 2334126 h 2672599"/>
                <a:gd name="connsiteX11" fmla="*/ 375385 w 537126"/>
                <a:gd name="connsiteY11" fmla="*/ 1544854 h 2672599"/>
                <a:gd name="connsiteX12" fmla="*/ 216568 w 537126"/>
                <a:gd name="connsiteY12" fmla="*/ 1328286 h 2672599"/>
                <a:gd name="connsiteX13" fmla="*/ 383673 w 537126"/>
                <a:gd name="connsiteY13" fmla="*/ 1005840 h 2672599"/>
                <a:gd name="connsiteX14" fmla="*/ 374148 w 537126"/>
                <a:gd name="connsiteY14" fmla="*/ 327258 h 2672599"/>
                <a:gd name="connsiteX15" fmla="*/ 529389 w 537126"/>
                <a:gd name="connsiteY15" fmla="*/ 182880 h 2672599"/>
                <a:gd name="connsiteX0" fmla="*/ 529389 w 540502"/>
                <a:gd name="connsiteY0" fmla="*/ 176530 h 2666249"/>
                <a:gd name="connsiteX1" fmla="*/ 540502 w 540502"/>
                <a:gd name="connsiteY1" fmla="*/ 0 h 2666249"/>
                <a:gd name="connsiteX2" fmla="*/ 149191 w 540502"/>
                <a:gd name="connsiteY2" fmla="*/ 229468 h 2666249"/>
                <a:gd name="connsiteX3" fmla="*/ 149191 w 540502"/>
                <a:gd name="connsiteY3" fmla="*/ 1052428 h 2666249"/>
                <a:gd name="connsiteX4" fmla="*/ 0 w 540502"/>
                <a:gd name="connsiteY4" fmla="*/ 1254559 h 2666249"/>
                <a:gd name="connsiteX5" fmla="*/ 0 w 540502"/>
                <a:gd name="connsiteY5" fmla="*/ 1398938 h 2666249"/>
                <a:gd name="connsiteX6" fmla="*/ 139566 w 540502"/>
                <a:gd name="connsiteY6" fmla="*/ 1577005 h 2666249"/>
                <a:gd name="connsiteX7" fmla="*/ 139566 w 540502"/>
                <a:gd name="connsiteY7" fmla="*/ 2342214 h 2666249"/>
                <a:gd name="connsiteX8" fmla="*/ 537126 w 540502"/>
                <a:gd name="connsiteY8" fmla="*/ 2664811 h 2666249"/>
                <a:gd name="connsiteX9" fmla="*/ 530776 w 540502"/>
                <a:gd name="connsiteY9" fmla="*/ 2492992 h 2666249"/>
                <a:gd name="connsiteX10" fmla="*/ 375385 w 540502"/>
                <a:gd name="connsiteY10" fmla="*/ 2327776 h 2666249"/>
                <a:gd name="connsiteX11" fmla="*/ 375385 w 540502"/>
                <a:gd name="connsiteY11" fmla="*/ 1538504 h 2666249"/>
                <a:gd name="connsiteX12" fmla="*/ 216568 w 540502"/>
                <a:gd name="connsiteY12" fmla="*/ 1321936 h 2666249"/>
                <a:gd name="connsiteX13" fmla="*/ 383673 w 540502"/>
                <a:gd name="connsiteY13" fmla="*/ 999490 h 2666249"/>
                <a:gd name="connsiteX14" fmla="*/ 374148 w 540502"/>
                <a:gd name="connsiteY14" fmla="*/ 320908 h 2666249"/>
                <a:gd name="connsiteX15" fmla="*/ 529389 w 540502"/>
                <a:gd name="connsiteY15" fmla="*/ 176530 h 2666249"/>
                <a:gd name="connsiteX0" fmla="*/ 529389 w 540502"/>
                <a:gd name="connsiteY0" fmla="*/ 179349 h 2669068"/>
                <a:gd name="connsiteX1" fmla="*/ 540502 w 540502"/>
                <a:gd name="connsiteY1" fmla="*/ 2819 h 2669068"/>
                <a:gd name="connsiteX2" fmla="*/ 149191 w 540502"/>
                <a:gd name="connsiteY2" fmla="*/ 232287 h 2669068"/>
                <a:gd name="connsiteX3" fmla="*/ 149191 w 540502"/>
                <a:gd name="connsiteY3" fmla="*/ 1055247 h 2669068"/>
                <a:gd name="connsiteX4" fmla="*/ 0 w 540502"/>
                <a:gd name="connsiteY4" fmla="*/ 1257378 h 2669068"/>
                <a:gd name="connsiteX5" fmla="*/ 0 w 540502"/>
                <a:gd name="connsiteY5" fmla="*/ 1401757 h 2669068"/>
                <a:gd name="connsiteX6" fmla="*/ 139566 w 540502"/>
                <a:gd name="connsiteY6" fmla="*/ 1579824 h 2669068"/>
                <a:gd name="connsiteX7" fmla="*/ 139566 w 540502"/>
                <a:gd name="connsiteY7" fmla="*/ 2345033 h 2669068"/>
                <a:gd name="connsiteX8" fmla="*/ 537126 w 540502"/>
                <a:gd name="connsiteY8" fmla="*/ 2667630 h 2669068"/>
                <a:gd name="connsiteX9" fmla="*/ 530776 w 540502"/>
                <a:gd name="connsiteY9" fmla="*/ 2495811 h 2669068"/>
                <a:gd name="connsiteX10" fmla="*/ 375385 w 540502"/>
                <a:gd name="connsiteY10" fmla="*/ 2330595 h 2669068"/>
                <a:gd name="connsiteX11" fmla="*/ 375385 w 540502"/>
                <a:gd name="connsiteY11" fmla="*/ 1541323 h 2669068"/>
                <a:gd name="connsiteX12" fmla="*/ 216568 w 540502"/>
                <a:gd name="connsiteY12" fmla="*/ 1324755 h 2669068"/>
                <a:gd name="connsiteX13" fmla="*/ 383673 w 540502"/>
                <a:gd name="connsiteY13" fmla="*/ 1002309 h 2669068"/>
                <a:gd name="connsiteX14" fmla="*/ 374148 w 540502"/>
                <a:gd name="connsiteY14" fmla="*/ 323727 h 2669068"/>
                <a:gd name="connsiteX15" fmla="*/ 529389 w 540502"/>
                <a:gd name="connsiteY15" fmla="*/ 179349 h 2669068"/>
                <a:gd name="connsiteX0" fmla="*/ 548439 w 548439"/>
                <a:gd name="connsiteY0" fmla="*/ 179349 h 2669068"/>
                <a:gd name="connsiteX1" fmla="*/ 540502 w 548439"/>
                <a:gd name="connsiteY1" fmla="*/ 2819 h 2669068"/>
                <a:gd name="connsiteX2" fmla="*/ 149191 w 548439"/>
                <a:gd name="connsiteY2" fmla="*/ 232287 h 2669068"/>
                <a:gd name="connsiteX3" fmla="*/ 149191 w 548439"/>
                <a:gd name="connsiteY3" fmla="*/ 1055247 h 2669068"/>
                <a:gd name="connsiteX4" fmla="*/ 0 w 548439"/>
                <a:gd name="connsiteY4" fmla="*/ 1257378 h 2669068"/>
                <a:gd name="connsiteX5" fmla="*/ 0 w 548439"/>
                <a:gd name="connsiteY5" fmla="*/ 1401757 h 2669068"/>
                <a:gd name="connsiteX6" fmla="*/ 139566 w 548439"/>
                <a:gd name="connsiteY6" fmla="*/ 1579824 h 2669068"/>
                <a:gd name="connsiteX7" fmla="*/ 139566 w 548439"/>
                <a:gd name="connsiteY7" fmla="*/ 2345033 h 2669068"/>
                <a:gd name="connsiteX8" fmla="*/ 537126 w 548439"/>
                <a:gd name="connsiteY8" fmla="*/ 2667630 h 2669068"/>
                <a:gd name="connsiteX9" fmla="*/ 530776 w 548439"/>
                <a:gd name="connsiteY9" fmla="*/ 2495811 h 2669068"/>
                <a:gd name="connsiteX10" fmla="*/ 375385 w 548439"/>
                <a:gd name="connsiteY10" fmla="*/ 2330595 h 2669068"/>
                <a:gd name="connsiteX11" fmla="*/ 375385 w 548439"/>
                <a:gd name="connsiteY11" fmla="*/ 1541323 h 2669068"/>
                <a:gd name="connsiteX12" fmla="*/ 216568 w 548439"/>
                <a:gd name="connsiteY12" fmla="*/ 1324755 h 2669068"/>
                <a:gd name="connsiteX13" fmla="*/ 383673 w 548439"/>
                <a:gd name="connsiteY13" fmla="*/ 1002309 h 2669068"/>
                <a:gd name="connsiteX14" fmla="*/ 374148 w 548439"/>
                <a:gd name="connsiteY14" fmla="*/ 323727 h 2669068"/>
                <a:gd name="connsiteX15" fmla="*/ 548439 w 548439"/>
                <a:gd name="connsiteY15" fmla="*/ 179349 h 2669068"/>
                <a:gd name="connsiteX0" fmla="*/ 535739 w 540502"/>
                <a:gd name="connsiteY0" fmla="*/ 174587 h 2669068"/>
                <a:gd name="connsiteX1" fmla="*/ 540502 w 540502"/>
                <a:gd name="connsiteY1" fmla="*/ 2819 h 2669068"/>
                <a:gd name="connsiteX2" fmla="*/ 149191 w 540502"/>
                <a:gd name="connsiteY2" fmla="*/ 232287 h 2669068"/>
                <a:gd name="connsiteX3" fmla="*/ 149191 w 540502"/>
                <a:gd name="connsiteY3" fmla="*/ 1055247 h 2669068"/>
                <a:gd name="connsiteX4" fmla="*/ 0 w 540502"/>
                <a:gd name="connsiteY4" fmla="*/ 1257378 h 2669068"/>
                <a:gd name="connsiteX5" fmla="*/ 0 w 540502"/>
                <a:gd name="connsiteY5" fmla="*/ 1401757 h 2669068"/>
                <a:gd name="connsiteX6" fmla="*/ 139566 w 540502"/>
                <a:gd name="connsiteY6" fmla="*/ 1579824 h 2669068"/>
                <a:gd name="connsiteX7" fmla="*/ 139566 w 540502"/>
                <a:gd name="connsiteY7" fmla="*/ 2345033 h 2669068"/>
                <a:gd name="connsiteX8" fmla="*/ 537126 w 540502"/>
                <a:gd name="connsiteY8" fmla="*/ 2667630 h 2669068"/>
                <a:gd name="connsiteX9" fmla="*/ 530776 w 540502"/>
                <a:gd name="connsiteY9" fmla="*/ 2495811 h 2669068"/>
                <a:gd name="connsiteX10" fmla="*/ 375385 w 540502"/>
                <a:gd name="connsiteY10" fmla="*/ 2330595 h 2669068"/>
                <a:gd name="connsiteX11" fmla="*/ 375385 w 540502"/>
                <a:gd name="connsiteY11" fmla="*/ 1541323 h 2669068"/>
                <a:gd name="connsiteX12" fmla="*/ 216568 w 540502"/>
                <a:gd name="connsiteY12" fmla="*/ 1324755 h 2669068"/>
                <a:gd name="connsiteX13" fmla="*/ 383673 w 540502"/>
                <a:gd name="connsiteY13" fmla="*/ 1002309 h 2669068"/>
                <a:gd name="connsiteX14" fmla="*/ 374148 w 540502"/>
                <a:gd name="connsiteY14" fmla="*/ 323727 h 2669068"/>
                <a:gd name="connsiteX15" fmla="*/ 535739 w 540502"/>
                <a:gd name="connsiteY15" fmla="*/ 174587 h 2669068"/>
                <a:gd name="connsiteX0" fmla="*/ 535739 w 540502"/>
                <a:gd name="connsiteY0" fmla="*/ 174587 h 2669068"/>
                <a:gd name="connsiteX1" fmla="*/ 540502 w 540502"/>
                <a:gd name="connsiteY1" fmla="*/ 2819 h 2669068"/>
                <a:gd name="connsiteX2" fmla="*/ 149191 w 540502"/>
                <a:gd name="connsiteY2" fmla="*/ 232287 h 2669068"/>
                <a:gd name="connsiteX3" fmla="*/ 149191 w 540502"/>
                <a:gd name="connsiteY3" fmla="*/ 1055247 h 2669068"/>
                <a:gd name="connsiteX4" fmla="*/ 0 w 540502"/>
                <a:gd name="connsiteY4" fmla="*/ 1257378 h 2669068"/>
                <a:gd name="connsiteX5" fmla="*/ 0 w 540502"/>
                <a:gd name="connsiteY5" fmla="*/ 1401757 h 2669068"/>
                <a:gd name="connsiteX6" fmla="*/ 139566 w 540502"/>
                <a:gd name="connsiteY6" fmla="*/ 1579824 h 2669068"/>
                <a:gd name="connsiteX7" fmla="*/ 139566 w 540502"/>
                <a:gd name="connsiteY7" fmla="*/ 2345033 h 2669068"/>
                <a:gd name="connsiteX8" fmla="*/ 537126 w 540502"/>
                <a:gd name="connsiteY8" fmla="*/ 2667630 h 2669068"/>
                <a:gd name="connsiteX9" fmla="*/ 530776 w 540502"/>
                <a:gd name="connsiteY9" fmla="*/ 2495811 h 2669068"/>
                <a:gd name="connsiteX10" fmla="*/ 375385 w 540502"/>
                <a:gd name="connsiteY10" fmla="*/ 2330595 h 2669068"/>
                <a:gd name="connsiteX11" fmla="*/ 375385 w 540502"/>
                <a:gd name="connsiteY11" fmla="*/ 1541323 h 2669068"/>
                <a:gd name="connsiteX12" fmla="*/ 216568 w 540502"/>
                <a:gd name="connsiteY12" fmla="*/ 1324755 h 2669068"/>
                <a:gd name="connsiteX13" fmla="*/ 383673 w 540502"/>
                <a:gd name="connsiteY13" fmla="*/ 1002309 h 2669068"/>
                <a:gd name="connsiteX14" fmla="*/ 374148 w 540502"/>
                <a:gd name="connsiteY14" fmla="*/ 323727 h 2669068"/>
                <a:gd name="connsiteX15" fmla="*/ 535739 w 540502"/>
                <a:gd name="connsiteY15" fmla="*/ 174587 h 2669068"/>
                <a:gd name="connsiteX0" fmla="*/ 535739 w 540502"/>
                <a:gd name="connsiteY0" fmla="*/ 174587 h 2669068"/>
                <a:gd name="connsiteX1" fmla="*/ 540502 w 540502"/>
                <a:gd name="connsiteY1" fmla="*/ 2819 h 2669068"/>
                <a:gd name="connsiteX2" fmla="*/ 149191 w 540502"/>
                <a:gd name="connsiteY2" fmla="*/ 232287 h 2669068"/>
                <a:gd name="connsiteX3" fmla="*/ 149191 w 540502"/>
                <a:gd name="connsiteY3" fmla="*/ 1055247 h 2669068"/>
                <a:gd name="connsiteX4" fmla="*/ 0 w 540502"/>
                <a:gd name="connsiteY4" fmla="*/ 1257378 h 2669068"/>
                <a:gd name="connsiteX5" fmla="*/ 0 w 540502"/>
                <a:gd name="connsiteY5" fmla="*/ 1401757 h 2669068"/>
                <a:gd name="connsiteX6" fmla="*/ 139566 w 540502"/>
                <a:gd name="connsiteY6" fmla="*/ 1579824 h 2669068"/>
                <a:gd name="connsiteX7" fmla="*/ 139566 w 540502"/>
                <a:gd name="connsiteY7" fmla="*/ 2345033 h 2669068"/>
                <a:gd name="connsiteX8" fmla="*/ 537126 w 540502"/>
                <a:gd name="connsiteY8" fmla="*/ 2667630 h 2669068"/>
                <a:gd name="connsiteX9" fmla="*/ 530776 w 540502"/>
                <a:gd name="connsiteY9" fmla="*/ 2495811 h 2669068"/>
                <a:gd name="connsiteX10" fmla="*/ 375385 w 540502"/>
                <a:gd name="connsiteY10" fmla="*/ 2330595 h 2669068"/>
                <a:gd name="connsiteX11" fmla="*/ 375385 w 540502"/>
                <a:gd name="connsiteY11" fmla="*/ 1541323 h 2669068"/>
                <a:gd name="connsiteX12" fmla="*/ 216568 w 540502"/>
                <a:gd name="connsiteY12" fmla="*/ 1324755 h 2669068"/>
                <a:gd name="connsiteX13" fmla="*/ 383673 w 540502"/>
                <a:gd name="connsiteY13" fmla="*/ 1002309 h 2669068"/>
                <a:gd name="connsiteX14" fmla="*/ 380498 w 540502"/>
                <a:gd name="connsiteY14" fmla="*/ 323727 h 2669068"/>
                <a:gd name="connsiteX15" fmla="*/ 535739 w 540502"/>
                <a:gd name="connsiteY15" fmla="*/ 174587 h 2669068"/>
                <a:gd name="connsiteX0" fmla="*/ 535739 w 540502"/>
                <a:gd name="connsiteY0" fmla="*/ 174587 h 2669068"/>
                <a:gd name="connsiteX1" fmla="*/ 540502 w 540502"/>
                <a:gd name="connsiteY1" fmla="*/ 2819 h 2669068"/>
                <a:gd name="connsiteX2" fmla="*/ 149191 w 540502"/>
                <a:gd name="connsiteY2" fmla="*/ 232287 h 2669068"/>
                <a:gd name="connsiteX3" fmla="*/ 149191 w 540502"/>
                <a:gd name="connsiteY3" fmla="*/ 1055247 h 2669068"/>
                <a:gd name="connsiteX4" fmla="*/ 0 w 540502"/>
                <a:gd name="connsiteY4" fmla="*/ 1257378 h 2669068"/>
                <a:gd name="connsiteX5" fmla="*/ 0 w 540502"/>
                <a:gd name="connsiteY5" fmla="*/ 1401757 h 2669068"/>
                <a:gd name="connsiteX6" fmla="*/ 139566 w 540502"/>
                <a:gd name="connsiteY6" fmla="*/ 1579824 h 2669068"/>
                <a:gd name="connsiteX7" fmla="*/ 139566 w 540502"/>
                <a:gd name="connsiteY7" fmla="*/ 2345033 h 2669068"/>
                <a:gd name="connsiteX8" fmla="*/ 537126 w 540502"/>
                <a:gd name="connsiteY8" fmla="*/ 2667630 h 2669068"/>
                <a:gd name="connsiteX9" fmla="*/ 530776 w 540502"/>
                <a:gd name="connsiteY9" fmla="*/ 2495811 h 2669068"/>
                <a:gd name="connsiteX10" fmla="*/ 375385 w 540502"/>
                <a:gd name="connsiteY10" fmla="*/ 2330595 h 2669068"/>
                <a:gd name="connsiteX11" fmla="*/ 375385 w 540502"/>
                <a:gd name="connsiteY11" fmla="*/ 1541323 h 2669068"/>
                <a:gd name="connsiteX12" fmla="*/ 216568 w 540502"/>
                <a:gd name="connsiteY12" fmla="*/ 1324755 h 2669068"/>
                <a:gd name="connsiteX13" fmla="*/ 383673 w 540502"/>
                <a:gd name="connsiteY13" fmla="*/ 1002309 h 2669068"/>
                <a:gd name="connsiteX14" fmla="*/ 380498 w 540502"/>
                <a:gd name="connsiteY14" fmla="*/ 323727 h 2669068"/>
                <a:gd name="connsiteX15" fmla="*/ 535739 w 540502"/>
                <a:gd name="connsiteY15" fmla="*/ 174587 h 2669068"/>
                <a:gd name="connsiteX0" fmla="*/ 535739 w 540502"/>
                <a:gd name="connsiteY0" fmla="*/ 174587 h 2669068"/>
                <a:gd name="connsiteX1" fmla="*/ 540502 w 540502"/>
                <a:gd name="connsiteY1" fmla="*/ 2819 h 2669068"/>
                <a:gd name="connsiteX2" fmla="*/ 149191 w 540502"/>
                <a:gd name="connsiteY2" fmla="*/ 232287 h 2669068"/>
                <a:gd name="connsiteX3" fmla="*/ 149191 w 540502"/>
                <a:gd name="connsiteY3" fmla="*/ 1055247 h 2669068"/>
                <a:gd name="connsiteX4" fmla="*/ 0 w 540502"/>
                <a:gd name="connsiteY4" fmla="*/ 1257378 h 2669068"/>
                <a:gd name="connsiteX5" fmla="*/ 0 w 540502"/>
                <a:gd name="connsiteY5" fmla="*/ 1401757 h 2669068"/>
                <a:gd name="connsiteX6" fmla="*/ 139566 w 540502"/>
                <a:gd name="connsiteY6" fmla="*/ 1579824 h 2669068"/>
                <a:gd name="connsiteX7" fmla="*/ 139566 w 540502"/>
                <a:gd name="connsiteY7" fmla="*/ 2345033 h 2669068"/>
                <a:gd name="connsiteX8" fmla="*/ 537126 w 540502"/>
                <a:gd name="connsiteY8" fmla="*/ 2667630 h 2669068"/>
                <a:gd name="connsiteX9" fmla="*/ 530776 w 540502"/>
                <a:gd name="connsiteY9" fmla="*/ 2495811 h 2669068"/>
                <a:gd name="connsiteX10" fmla="*/ 375385 w 540502"/>
                <a:gd name="connsiteY10" fmla="*/ 2330595 h 2669068"/>
                <a:gd name="connsiteX11" fmla="*/ 375385 w 540502"/>
                <a:gd name="connsiteY11" fmla="*/ 1541323 h 2669068"/>
                <a:gd name="connsiteX12" fmla="*/ 216568 w 540502"/>
                <a:gd name="connsiteY12" fmla="*/ 1324755 h 2669068"/>
                <a:gd name="connsiteX13" fmla="*/ 383673 w 540502"/>
                <a:gd name="connsiteY13" fmla="*/ 1002309 h 2669068"/>
                <a:gd name="connsiteX14" fmla="*/ 380498 w 540502"/>
                <a:gd name="connsiteY14" fmla="*/ 323727 h 2669068"/>
                <a:gd name="connsiteX15" fmla="*/ 535739 w 540502"/>
                <a:gd name="connsiteY15" fmla="*/ 174587 h 2669068"/>
                <a:gd name="connsiteX0" fmla="*/ 535739 w 540502"/>
                <a:gd name="connsiteY0" fmla="*/ 174587 h 2669068"/>
                <a:gd name="connsiteX1" fmla="*/ 540502 w 540502"/>
                <a:gd name="connsiteY1" fmla="*/ 2819 h 2669068"/>
                <a:gd name="connsiteX2" fmla="*/ 149191 w 540502"/>
                <a:gd name="connsiteY2" fmla="*/ 232287 h 2669068"/>
                <a:gd name="connsiteX3" fmla="*/ 149191 w 540502"/>
                <a:gd name="connsiteY3" fmla="*/ 1055247 h 2669068"/>
                <a:gd name="connsiteX4" fmla="*/ 0 w 540502"/>
                <a:gd name="connsiteY4" fmla="*/ 1257378 h 2669068"/>
                <a:gd name="connsiteX5" fmla="*/ 1587 w 540502"/>
                <a:gd name="connsiteY5" fmla="*/ 1419219 h 2669068"/>
                <a:gd name="connsiteX6" fmla="*/ 139566 w 540502"/>
                <a:gd name="connsiteY6" fmla="*/ 1579824 h 2669068"/>
                <a:gd name="connsiteX7" fmla="*/ 139566 w 540502"/>
                <a:gd name="connsiteY7" fmla="*/ 2345033 h 2669068"/>
                <a:gd name="connsiteX8" fmla="*/ 537126 w 540502"/>
                <a:gd name="connsiteY8" fmla="*/ 2667630 h 2669068"/>
                <a:gd name="connsiteX9" fmla="*/ 530776 w 540502"/>
                <a:gd name="connsiteY9" fmla="*/ 2495811 h 2669068"/>
                <a:gd name="connsiteX10" fmla="*/ 375385 w 540502"/>
                <a:gd name="connsiteY10" fmla="*/ 2330595 h 2669068"/>
                <a:gd name="connsiteX11" fmla="*/ 375385 w 540502"/>
                <a:gd name="connsiteY11" fmla="*/ 1541323 h 2669068"/>
                <a:gd name="connsiteX12" fmla="*/ 216568 w 540502"/>
                <a:gd name="connsiteY12" fmla="*/ 1324755 h 2669068"/>
                <a:gd name="connsiteX13" fmla="*/ 383673 w 540502"/>
                <a:gd name="connsiteY13" fmla="*/ 1002309 h 2669068"/>
                <a:gd name="connsiteX14" fmla="*/ 380498 w 540502"/>
                <a:gd name="connsiteY14" fmla="*/ 323727 h 2669068"/>
                <a:gd name="connsiteX15" fmla="*/ 535739 w 540502"/>
                <a:gd name="connsiteY15" fmla="*/ 174587 h 2669068"/>
                <a:gd name="connsiteX0" fmla="*/ 534152 w 538915"/>
                <a:gd name="connsiteY0" fmla="*/ 174587 h 2669068"/>
                <a:gd name="connsiteX1" fmla="*/ 538915 w 538915"/>
                <a:gd name="connsiteY1" fmla="*/ 2819 h 2669068"/>
                <a:gd name="connsiteX2" fmla="*/ 147604 w 538915"/>
                <a:gd name="connsiteY2" fmla="*/ 232287 h 2669068"/>
                <a:gd name="connsiteX3" fmla="*/ 147604 w 538915"/>
                <a:gd name="connsiteY3" fmla="*/ 1055247 h 2669068"/>
                <a:gd name="connsiteX4" fmla="*/ 7938 w 538915"/>
                <a:gd name="connsiteY4" fmla="*/ 1251028 h 2669068"/>
                <a:gd name="connsiteX5" fmla="*/ 0 w 538915"/>
                <a:gd name="connsiteY5" fmla="*/ 1419219 h 2669068"/>
                <a:gd name="connsiteX6" fmla="*/ 137979 w 538915"/>
                <a:gd name="connsiteY6" fmla="*/ 1579824 h 2669068"/>
                <a:gd name="connsiteX7" fmla="*/ 137979 w 538915"/>
                <a:gd name="connsiteY7" fmla="*/ 2345033 h 2669068"/>
                <a:gd name="connsiteX8" fmla="*/ 535539 w 538915"/>
                <a:gd name="connsiteY8" fmla="*/ 2667630 h 2669068"/>
                <a:gd name="connsiteX9" fmla="*/ 529189 w 538915"/>
                <a:gd name="connsiteY9" fmla="*/ 2495811 h 2669068"/>
                <a:gd name="connsiteX10" fmla="*/ 373798 w 538915"/>
                <a:gd name="connsiteY10" fmla="*/ 2330595 h 2669068"/>
                <a:gd name="connsiteX11" fmla="*/ 373798 w 538915"/>
                <a:gd name="connsiteY11" fmla="*/ 1541323 h 2669068"/>
                <a:gd name="connsiteX12" fmla="*/ 214981 w 538915"/>
                <a:gd name="connsiteY12" fmla="*/ 1324755 h 2669068"/>
                <a:gd name="connsiteX13" fmla="*/ 382086 w 538915"/>
                <a:gd name="connsiteY13" fmla="*/ 1002309 h 2669068"/>
                <a:gd name="connsiteX14" fmla="*/ 378911 w 538915"/>
                <a:gd name="connsiteY14" fmla="*/ 323727 h 2669068"/>
                <a:gd name="connsiteX15" fmla="*/ 534152 w 538915"/>
                <a:gd name="connsiteY15" fmla="*/ 174587 h 2669068"/>
                <a:gd name="connsiteX0" fmla="*/ 534152 w 538915"/>
                <a:gd name="connsiteY0" fmla="*/ 174587 h 2669068"/>
                <a:gd name="connsiteX1" fmla="*/ 538915 w 538915"/>
                <a:gd name="connsiteY1" fmla="*/ 2819 h 2669068"/>
                <a:gd name="connsiteX2" fmla="*/ 147604 w 538915"/>
                <a:gd name="connsiteY2" fmla="*/ 232287 h 2669068"/>
                <a:gd name="connsiteX3" fmla="*/ 147604 w 538915"/>
                <a:gd name="connsiteY3" fmla="*/ 1055247 h 2669068"/>
                <a:gd name="connsiteX4" fmla="*/ 1588 w 538915"/>
                <a:gd name="connsiteY4" fmla="*/ 1251028 h 2669068"/>
                <a:gd name="connsiteX5" fmla="*/ 0 w 538915"/>
                <a:gd name="connsiteY5" fmla="*/ 1419219 h 2669068"/>
                <a:gd name="connsiteX6" fmla="*/ 137979 w 538915"/>
                <a:gd name="connsiteY6" fmla="*/ 1579824 h 2669068"/>
                <a:gd name="connsiteX7" fmla="*/ 137979 w 538915"/>
                <a:gd name="connsiteY7" fmla="*/ 2345033 h 2669068"/>
                <a:gd name="connsiteX8" fmla="*/ 535539 w 538915"/>
                <a:gd name="connsiteY8" fmla="*/ 2667630 h 2669068"/>
                <a:gd name="connsiteX9" fmla="*/ 529189 w 538915"/>
                <a:gd name="connsiteY9" fmla="*/ 2495811 h 2669068"/>
                <a:gd name="connsiteX10" fmla="*/ 373798 w 538915"/>
                <a:gd name="connsiteY10" fmla="*/ 2330595 h 2669068"/>
                <a:gd name="connsiteX11" fmla="*/ 373798 w 538915"/>
                <a:gd name="connsiteY11" fmla="*/ 1541323 h 2669068"/>
                <a:gd name="connsiteX12" fmla="*/ 214981 w 538915"/>
                <a:gd name="connsiteY12" fmla="*/ 1324755 h 2669068"/>
                <a:gd name="connsiteX13" fmla="*/ 382086 w 538915"/>
                <a:gd name="connsiteY13" fmla="*/ 1002309 h 2669068"/>
                <a:gd name="connsiteX14" fmla="*/ 378911 w 538915"/>
                <a:gd name="connsiteY14" fmla="*/ 323727 h 2669068"/>
                <a:gd name="connsiteX15" fmla="*/ 534152 w 538915"/>
                <a:gd name="connsiteY15" fmla="*/ 174587 h 2669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8915" h="2669068">
                  <a:moveTo>
                    <a:pt x="534152" y="174587"/>
                  </a:moveTo>
                  <a:lnTo>
                    <a:pt x="538915" y="2819"/>
                  </a:lnTo>
                  <a:cubicBezTo>
                    <a:pt x="412182" y="-9063"/>
                    <a:pt x="148925" y="7631"/>
                    <a:pt x="147604" y="232287"/>
                  </a:cubicBezTo>
                  <a:lnTo>
                    <a:pt x="147604" y="1055247"/>
                  </a:lnTo>
                  <a:cubicBezTo>
                    <a:pt x="147087" y="1157549"/>
                    <a:pt x="78305" y="1243976"/>
                    <a:pt x="1588" y="1251028"/>
                  </a:cubicBezTo>
                  <a:cubicBezTo>
                    <a:pt x="1059" y="1307092"/>
                    <a:pt x="529" y="1363155"/>
                    <a:pt x="0" y="1419219"/>
                  </a:cubicBezTo>
                  <a:cubicBezTo>
                    <a:pt x="102085" y="1432537"/>
                    <a:pt x="142257" y="1504593"/>
                    <a:pt x="137979" y="1579824"/>
                  </a:cubicBezTo>
                  <a:lnTo>
                    <a:pt x="137979" y="2345033"/>
                  </a:lnTo>
                  <a:cubicBezTo>
                    <a:pt x="145616" y="2606553"/>
                    <a:pt x="338990" y="2680747"/>
                    <a:pt x="535539" y="2667630"/>
                  </a:cubicBezTo>
                  <a:lnTo>
                    <a:pt x="529189" y="2495811"/>
                  </a:lnTo>
                  <a:cubicBezTo>
                    <a:pt x="436117" y="2491539"/>
                    <a:pt x="368445" y="2406305"/>
                    <a:pt x="373798" y="2330595"/>
                  </a:cubicBezTo>
                  <a:lnTo>
                    <a:pt x="373798" y="1541323"/>
                  </a:lnTo>
                  <a:cubicBezTo>
                    <a:pt x="370071" y="1454847"/>
                    <a:pt x="323482" y="1350907"/>
                    <a:pt x="214981" y="1324755"/>
                  </a:cubicBezTo>
                  <a:cubicBezTo>
                    <a:pt x="336299" y="1320461"/>
                    <a:pt x="373481" y="1124079"/>
                    <a:pt x="382086" y="1002309"/>
                  </a:cubicBezTo>
                  <a:cubicBezTo>
                    <a:pt x="381028" y="776115"/>
                    <a:pt x="379969" y="549921"/>
                    <a:pt x="378911" y="323727"/>
                  </a:cubicBezTo>
                  <a:cubicBezTo>
                    <a:pt x="372450" y="247027"/>
                    <a:pt x="462826" y="175088"/>
                    <a:pt x="534152" y="174587"/>
                  </a:cubicBezTo>
                  <a:close/>
                </a:path>
              </a:pathLst>
            </a:custGeom>
            <a:solidFill>
              <a:srgbClr val="59B4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sp>
          <p:nvSpPr>
            <p:cNvPr id="400" name="Freeform: Shape 399">
              <a:extLst/>
            </p:cNvPr>
            <p:cNvSpPr/>
            <p:nvPr/>
          </p:nvSpPr>
          <p:spPr>
            <a:xfrm flipH="1">
              <a:off x="7073921" y="2125902"/>
              <a:ext cx="538915" cy="2669068"/>
            </a:xfrm>
            <a:custGeom>
              <a:avLst/>
              <a:gdLst>
                <a:gd name="connsiteX0" fmla="*/ 529389 w 529389"/>
                <a:gd name="connsiteY0" fmla="*/ 182880 h 2685448"/>
                <a:gd name="connsiteX1" fmla="*/ 529389 w 529389"/>
                <a:gd name="connsiteY1" fmla="*/ 0 h 2685448"/>
                <a:gd name="connsiteX2" fmla="*/ 149191 w 529389"/>
                <a:gd name="connsiteY2" fmla="*/ 235818 h 2685448"/>
                <a:gd name="connsiteX3" fmla="*/ 149191 w 529389"/>
                <a:gd name="connsiteY3" fmla="*/ 1058778 h 2685448"/>
                <a:gd name="connsiteX4" fmla="*/ 0 w 529389"/>
                <a:gd name="connsiteY4" fmla="*/ 1260909 h 2685448"/>
                <a:gd name="connsiteX5" fmla="*/ 0 w 529389"/>
                <a:gd name="connsiteY5" fmla="*/ 1405288 h 2685448"/>
                <a:gd name="connsiteX6" fmla="*/ 139566 w 529389"/>
                <a:gd name="connsiteY6" fmla="*/ 1583355 h 2685448"/>
                <a:gd name="connsiteX7" fmla="*/ 139566 w 529389"/>
                <a:gd name="connsiteY7" fmla="*/ 2348564 h 2685448"/>
                <a:gd name="connsiteX8" fmla="*/ 510139 w 529389"/>
                <a:gd name="connsiteY8" fmla="*/ 2685448 h 2685448"/>
                <a:gd name="connsiteX9" fmla="*/ 510139 w 529389"/>
                <a:gd name="connsiteY9" fmla="*/ 2497755 h 2685448"/>
                <a:gd name="connsiteX10" fmla="*/ 375385 w 529389"/>
                <a:gd name="connsiteY10" fmla="*/ 2334126 h 2685448"/>
                <a:gd name="connsiteX11" fmla="*/ 375385 w 529389"/>
                <a:gd name="connsiteY11" fmla="*/ 1544854 h 2685448"/>
                <a:gd name="connsiteX12" fmla="*/ 216568 w 529389"/>
                <a:gd name="connsiteY12" fmla="*/ 1328286 h 2685448"/>
                <a:gd name="connsiteX13" fmla="*/ 409073 w 529389"/>
                <a:gd name="connsiteY13" fmla="*/ 1005840 h 2685448"/>
                <a:gd name="connsiteX14" fmla="*/ 409073 w 529389"/>
                <a:gd name="connsiteY14" fmla="*/ 327258 h 2685448"/>
                <a:gd name="connsiteX15" fmla="*/ 529389 w 529389"/>
                <a:gd name="connsiteY15" fmla="*/ 182880 h 2685448"/>
                <a:gd name="connsiteX0" fmla="*/ 529389 w 529389"/>
                <a:gd name="connsiteY0" fmla="*/ 182880 h 2685448"/>
                <a:gd name="connsiteX1" fmla="*/ 529389 w 529389"/>
                <a:gd name="connsiteY1" fmla="*/ 0 h 2685448"/>
                <a:gd name="connsiteX2" fmla="*/ 149191 w 529389"/>
                <a:gd name="connsiteY2" fmla="*/ 235818 h 2685448"/>
                <a:gd name="connsiteX3" fmla="*/ 149191 w 529389"/>
                <a:gd name="connsiteY3" fmla="*/ 1058778 h 2685448"/>
                <a:gd name="connsiteX4" fmla="*/ 0 w 529389"/>
                <a:gd name="connsiteY4" fmla="*/ 1260909 h 2685448"/>
                <a:gd name="connsiteX5" fmla="*/ 0 w 529389"/>
                <a:gd name="connsiteY5" fmla="*/ 1405288 h 2685448"/>
                <a:gd name="connsiteX6" fmla="*/ 139566 w 529389"/>
                <a:gd name="connsiteY6" fmla="*/ 1583355 h 2685448"/>
                <a:gd name="connsiteX7" fmla="*/ 139566 w 529389"/>
                <a:gd name="connsiteY7" fmla="*/ 2348564 h 2685448"/>
                <a:gd name="connsiteX8" fmla="*/ 510139 w 529389"/>
                <a:gd name="connsiteY8" fmla="*/ 2685448 h 2685448"/>
                <a:gd name="connsiteX9" fmla="*/ 510139 w 529389"/>
                <a:gd name="connsiteY9" fmla="*/ 2497755 h 2685448"/>
                <a:gd name="connsiteX10" fmla="*/ 375385 w 529389"/>
                <a:gd name="connsiteY10" fmla="*/ 2334126 h 2685448"/>
                <a:gd name="connsiteX11" fmla="*/ 375385 w 529389"/>
                <a:gd name="connsiteY11" fmla="*/ 1544854 h 2685448"/>
                <a:gd name="connsiteX12" fmla="*/ 216568 w 529389"/>
                <a:gd name="connsiteY12" fmla="*/ 1328286 h 2685448"/>
                <a:gd name="connsiteX13" fmla="*/ 409073 w 529389"/>
                <a:gd name="connsiteY13" fmla="*/ 1005840 h 2685448"/>
                <a:gd name="connsiteX14" fmla="*/ 409073 w 529389"/>
                <a:gd name="connsiteY14" fmla="*/ 327258 h 2685448"/>
                <a:gd name="connsiteX15" fmla="*/ 529389 w 529389"/>
                <a:gd name="connsiteY15" fmla="*/ 182880 h 2685448"/>
                <a:gd name="connsiteX0" fmla="*/ 529389 w 529389"/>
                <a:gd name="connsiteY0" fmla="*/ 182880 h 2685448"/>
                <a:gd name="connsiteX1" fmla="*/ 529389 w 529389"/>
                <a:gd name="connsiteY1" fmla="*/ 0 h 2685448"/>
                <a:gd name="connsiteX2" fmla="*/ 149191 w 529389"/>
                <a:gd name="connsiteY2" fmla="*/ 235818 h 2685448"/>
                <a:gd name="connsiteX3" fmla="*/ 149191 w 529389"/>
                <a:gd name="connsiteY3" fmla="*/ 1058778 h 2685448"/>
                <a:gd name="connsiteX4" fmla="*/ 0 w 529389"/>
                <a:gd name="connsiteY4" fmla="*/ 1260909 h 2685448"/>
                <a:gd name="connsiteX5" fmla="*/ 0 w 529389"/>
                <a:gd name="connsiteY5" fmla="*/ 1405288 h 2685448"/>
                <a:gd name="connsiteX6" fmla="*/ 139566 w 529389"/>
                <a:gd name="connsiteY6" fmla="*/ 1583355 h 2685448"/>
                <a:gd name="connsiteX7" fmla="*/ 139566 w 529389"/>
                <a:gd name="connsiteY7" fmla="*/ 2348564 h 2685448"/>
                <a:gd name="connsiteX8" fmla="*/ 510139 w 529389"/>
                <a:gd name="connsiteY8" fmla="*/ 2685448 h 2685448"/>
                <a:gd name="connsiteX9" fmla="*/ 510139 w 529389"/>
                <a:gd name="connsiteY9" fmla="*/ 2497755 h 2685448"/>
                <a:gd name="connsiteX10" fmla="*/ 375385 w 529389"/>
                <a:gd name="connsiteY10" fmla="*/ 2334126 h 2685448"/>
                <a:gd name="connsiteX11" fmla="*/ 375385 w 529389"/>
                <a:gd name="connsiteY11" fmla="*/ 1544854 h 2685448"/>
                <a:gd name="connsiteX12" fmla="*/ 216568 w 529389"/>
                <a:gd name="connsiteY12" fmla="*/ 1328286 h 2685448"/>
                <a:gd name="connsiteX13" fmla="*/ 409073 w 529389"/>
                <a:gd name="connsiteY13" fmla="*/ 1005840 h 2685448"/>
                <a:gd name="connsiteX14" fmla="*/ 409073 w 529389"/>
                <a:gd name="connsiteY14" fmla="*/ 327258 h 2685448"/>
                <a:gd name="connsiteX15" fmla="*/ 529389 w 529389"/>
                <a:gd name="connsiteY15" fmla="*/ 182880 h 2685448"/>
                <a:gd name="connsiteX0" fmla="*/ 529389 w 529389"/>
                <a:gd name="connsiteY0" fmla="*/ 182880 h 2685448"/>
                <a:gd name="connsiteX1" fmla="*/ 529389 w 529389"/>
                <a:gd name="connsiteY1" fmla="*/ 0 h 2685448"/>
                <a:gd name="connsiteX2" fmla="*/ 149191 w 529389"/>
                <a:gd name="connsiteY2" fmla="*/ 235818 h 2685448"/>
                <a:gd name="connsiteX3" fmla="*/ 149191 w 529389"/>
                <a:gd name="connsiteY3" fmla="*/ 1058778 h 2685448"/>
                <a:gd name="connsiteX4" fmla="*/ 0 w 529389"/>
                <a:gd name="connsiteY4" fmla="*/ 1260909 h 2685448"/>
                <a:gd name="connsiteX5" fmla="*/ 0 w 529389"/>
                <a:gd name="connsiteY5" fmla="*/ 1405288 h 2685448"/>
                <a:gd name="connsiteX6" fmla="*/ 139566 w 529389"/>
                <a:gd name="connsiteY6" fmla="*/ 1583355 h 2685448"/>
                <a:gd name="connsiteX7" fmla="*/ 139566 w 529389"/>
                <a:gd name="connsiteY7" fmla="*/ 2348564 h 2685448"/>
                <a:gd name="connsiteX8" fmla="*/ 510139 w 529389"/>
                <a:gd name="connsiteY8" fmla="*/ 2685448 h 2685448"/>
                <a:gd name="connsiteX9" fmla="*/ 510139 w 529389"/>
                <a:gd name="connsiteY9" fmla="*/ 2497755 h 2685448"/>
                <a:gd name="connsiteX10" fmla="*/ 375385 w 529389"/>
                <a:gd name="connsiteY10" fmla="*/ 2334126 h 2685448"/>
                <a:gd name="connsiteX11" fmla="*/ 375385 w 529389"/>
                <a:gd name="connsiteY11" fmla="*/ 1544854 h 2685448"/>
                <a:gd name="connsiteX12" fmla="*/ 216568 w 529389"/>
                <a:gd name="connsiteY12" fmla="*/ 1328286 h 2685448"/>
                <a:gd name="connsiteX13" fmla="*/ 409073 w 529389"/>
                <a:gd name="connsiteY13" fmla="*/ 1005840 h 2685448"/>
                <a:gd name="connsiteX14" fmla="*/ 409073 w 529389"/>
                <a:gd name="connsiteY14" fmla="*/ 327258 h 2685448"/>
                <a:gd name="connsiteX15" fmla="*/ 529389 w 529389"/>
                <a:gd name="connsiteY15" fmla="*/ 182880 h 2685448"/>
                <a:gd name="connsiteX0" fmla="*/ 529389 w 529389"/>
                <a:gd name="connsiteY0" fmla="*/ 182880 h 2685448"/>
                <a:gd name="connsiteX1" fmla="*/ 529389 w 529389"/>
                <a:gd name="connsiteY1" fmla="*/ 0 h 2685448"/>
                <a:gd name="connsiteX2" fmla="*/ 149191 w 529389"/>
                <a:gd name="connsiteY2" fmla="*/ 235818 h 2685448"/>
                <a:gd name="connsiteX3" fmla="*/ 149191 w 529389"/>
                <a:gd name="connsiteY3" fmla="*/ 1058778 h 2685448"/>
                <a:gd name="connsiteX4" fmla="*/ 0 w 529389"/>
                <a:gd name="connsiteY4" fmla="*/ 1260909 h 2685448"/>
                <a:gd name="connsiteX5" fmla="*/ 0 w 529389"/>
                <a:gd name="connsiteY5" fmla="*/ 1405288 h 2685448"/>
                <a:gd name="connsiteX6" fmla="*/ 139566 w 529389"/>
                <a:gd name="connsiteY6" fmla="*/ 1583355 h 2685448"/>
                <a:gd name="connsiteX7" fmla="*/ 139566 w 529389"/>
                <a:gd name="connsiteY7" fmla="*/ 2348564 h 2685448"/>
                <a:gd name="connsiteX8" fmla="*/ 510139 w 529389"/>
                <a:gd name="connsiteY8" fmla="*/ 2685448 h 2685448"/>
                <a:gd name="connsiteX9" fmla="*/ 510139 w 529389"/>
                <a:gd name="connsiteY9" fmla="*/ 2497755 h 2685448"/>
                <a:gd name="connsiteX10" fmla="*/ 375385 w 529389"/>
                <a:gd name="connsiteY10" fmla="*/ 2334126 h 2685448"/>
                <a:gd name="connsiteX11" fmla="*/ 375385 w 529389"/>
                <a:gd name="connsiteY11" fmla="*/ 1544854 h 2685448"/>
                <a:gd name="connsiteX12" fmla="*/ 216568 w 529389"/>
                <a:gd name="connsiteY12" fmla="*/ 1328286 h 2685448"/>
                <a:gd name="connsiteX13" fmla="*/ 409073 w 529389"/>
                <a:gd name="connsiteY13" fmla="*/ 1005840 h 2685448"/>
                <a:gd name="connsiteX14" fmla="*/ 409073 w 529389"/>
                <a:gd name="connsiteY14" fmla="*/ 327258 h 2685448"/>
                <a:gd name="connsiteX15" fmla="*/ 529389 w 529389"/>
                <a:gd name="connsiteY15" fmla="*/ 182880 h 2685448"/>
                <a:gd name="connsiteX0" fmla="*/ 529389 w 529389"/>
                <a:gd name="connsiteY0" fmla="*/ 182880 h 2685448"/>
                <a:gd name="connsiteX1" fmla="*/ 529389 w 529389"/>
                <a:gd name="connsiteY1" fmla="*/ 0 h 2685448"/>
                <a:gd name="connsiteX2" fmla="*/ 149191 w 529389"/>
                <a:gd name="connsiteY2" fmla="*/ 235818 h 2685448"/>
                <a:gd name="connsiteX3" fmla="*/ 149191 w 529389"/>
                <a:gd name="connsiteY3" fmla="*/ 1058778 h 2685448"/>
                <a:gd name="connsiteX4" fmla="*/ 0 w 529389"/>
                <a:gd name="connsiteY4" fmla="*/ 1260909 h 2685448"/>
                <a:gd name="connsiteX5" fmla="*/ 0 w 529389"/>
                <a:gd name="connsiteY5" fmla="*/ 1405288 h 2685448"/>
                <a:gd name="connsiteX6" fmla="*/ 139566 w 529389"/>
                <a:gd name="connsiteY6" fmla="*/ 1583355 h 2685448"/>
                <a:gd name="connsiteX7" fmla="*/ 139566 w 529389"/>
                <a:gd name="connsiteY7" fmla="*/ 2348564 h 2685448"/>
                <a:gd name="connsiteX8" fmla="*/ 510139 w 529389"/>
                <a:gd name="connsiteY8" fmla="*/ 2685448 h 2685448"/>
                <a:gd name="connsiteX9" fmla="*/ 510139 w 529389"/>
                <a:gd name="connsiteY9" fmla="*/ 2497755 h 2685448"/>
                <a:gd name="connsiteX10" fmla="*/ 375385 w 529389"/>
                <a:gd name="connsiteY10" fmla="*/ 2334126 h 2685448"/>
                <a:gd name="connsiteX11" fmla="*/ 375385 w 529389"/>
                <a:gd name="connsiteY11" fmla="*/ 1544854 h 2685448"/>
                <a:gd name="connsiteX12" fmla="*/ 216568 w 529389"/>
                <a:gd name="connsiteY12" fmla="*/ 1328286 h 2685448"/>
                <a:gd name="connsiteX13" fmla="*/ 409073 w 529389"/>
                <a:gd name="connsiteY13" fmla="*/ 1005840 h 2685448"/>
                <a:gd name="connsiteX14" fmla="*/ 409073 w 529389"/>
                <a:gd name="connsiteY14" fmla="*/ 327258 h 2685448"/>
                <a:gd name="connsiteX15" fmla="*/ 529389 w 529389"/>
                <a:gd name="connsiteY15" fmla="*/ 182880 h 2685448"/>
                <a:gd name="connsiteX0" fmla="*/ 529389 w 529389"/>
                <a:gd name="connsiteY0" fmla="*/ 182880 h 2685448"/>
                <a:gd name="connsiteX1" fmla="*/ 529389 w 529389"/>
                <a:gd name="connsiteY1" fmla="*/ 0 h 2685448"/>
                <a:gd name="connsiteX2" fmla="*/ 149191 w 529389"/>
                <a:gd name="connsiteY2" fmla="*/ 235818 h 2685448"/>
                <a:gd name="connsiteX3" fmla="*/ 149191 w 529389"/>
                <a:gd name="connsiteY3" fmla="*/ 1058778 h 2685448"/>
                <a:gd name="connsiteX4" fmla="*/ 0 w 529389"/>
                <a:gd name="connsiteY4" fmla="*/ 1260909 h 2685448"/>
                <a:gd name="connsiteX5" fmla="*/ 0 w 529389"/>
                <a:gd name="connsiteY5" fmla="*/ 1405288 h 2685448"/>
                <a:gd name="connsiteX6" fmla="*/ 139566 w 529389"/>
                <a:gd name="connsiteY6" fmla="*/ 1583355 h 2685448"/>
                <a:gd name="connsiteX7" fmla="*/ 139566 w 529389"/>
                <a:gd name="connsiteY7" fmla="*/ 2348564 h 2685448"/>
                <a:gd name="connsiteX8" fmla="*/ 510139 w 529389"/>
                <a:gd name="connsiteY8" fmla="*/ 2685448 h 2685448"/>
                <a:gd name="connsiteX9" fmla="*/ 510139 w 529389"/>
                <a:gd name="connsiteY9" fmla="*/ 2497755 h 2685448"/>
                <a:gd name="connsiteX10" fmla="*/ 375385 w 529389"/>
                <a:gd name="connsiteY10" fmla="*/ 2334126 h 2685448"/>
                <a:gd name="connsiteX11" fmla="*/ 375385 w 529389"/>
                <a:gd name="connsiteY11" fmla="*/ 1544854 h 2685448"/>
                <a:gd name="connsiteX12" fmla="*/ 216568 w 529389"/>
                <a:gd name="connsiteY12" fmla="*/ 1328286 h 2685448"/>
                <a:gd name="connsiteX13" fmla="*/ 409073 w 529389"/>
                <a:gd name="connsiteY13" fmla="*/ 1005840 h 2685448"/>
                <a:gd name="connsiteX14" fmla="*/ 409073 w 529389"/>
                <a:gd name="connsiteY14" fmla="*/ 327258 h 2685448"/>
                <a:gd name="connsiteX15" fmla="*/ 529389 w 529389"/>
                <a:gd name="connsiteY15" fmla="*/ 182880 h 2685448"/>
                <a:gd name="connsiteX0" fmla="*/ 529389 w 529389"/>
                <a:gd name="connsiteY0" fmla="*/ 182880 h 2685448"/>
                <a:gd name="connsiteX1" fmla="*/ 529389 w 529389"/>
                <a:gd name="connsiteY1" fmla="*/ 0 h 2685448"/>
                <a:gd name="connsiteX2" fmla="*/ 149191 w 529389"/>
                <a:gd name="connsiteY2" fmla="*/ 235818 h 2685448"/>
                <a:gd name="connsiteX3" fmla="*/ 149191 w 529389"/>
                <a:gd name="connsiteY3" fmla="*/ 1058778 h 2685448"/>
                <a:gd name="connsiteX4" fmla="*/ 0 w 529389"/>
                <a:gd name="connsiteY4" fmla="*/ 1260909 h 2685448"/>
                <a:gd name="connsiteX5" fmla="*/ 0 w 529389"/>
                <a:gd name="connsiteY5" fmla="*/ 1405288 h 2685448"/>
                <a:gd name="connsiteX6" fmla="*/ 139566 w 529389"/>
                <a:gd name="connsiteY6" fmla="*/ 1583355 h 2685448"/>
                <a:gd name="connsiteX7" fmla="*/ 139566 w 529389"/>
                <a:gd name="connsiteY7" fmla="*/ 2348564 h 2685448"/>
                <a:gd name="connsiteX8" fmla="*/ 510139 w 529389"/>
                <a:gd name="connsiteY8" fmla="*/ 2685448 h 2685448"/>
                <a:gd name="connsiteX9" fmla="*/ 510139 w 529389"/>
                <a:gd name="connsiteY9" fmla="*/ 2497755 h 2685448"/>
                <a:gd name="connsiteX10" fmla="*/ 375385 w 529389"/>
                <a:gd name="connsiteY10" fmla="*/ 2334126 h 2685448"/>
                <a:gd name="connsiteX11" fmla="*/ 375385 w 529389"/>
                <a:gd name="connsiteY11" fmla="*/ 1544854 h 2685448"/>
                <a:gd name="connsiteX12" fmla="*/ 216568 w 529389"/>
                <a:gd name="connsiteY12" fmla="*/ 1328286 h 2685448"/>
                <a:gd name="connsiteX13" fmla="*/ 383673 w 529389"/>
                <a:gd name="connsiteY13" fmla="*/ 1005840 h 2685448"/>
                <a:gd name="connsiteX14" fmla="*/ 409073 w 529389"/>
                <a:gd name="connsiteY14" fmla="*/ 327258 h 2685448"/>
                <a:gd name="connsiteX15" fmla="*/ 529389 w 529389"/>
                <a:gd name="connsiteY15" fmla="*/ 182880 h 2685448"/>
                <a:gd name="connsiteX0" fmla="*/ 529389 w 529389"/>
                <a:gd name="connsiteY0" fmla="*/ 182880 h 2685448"/>
                <a:gd name="connsiteX1" fmla="*/ 529389 w 529389"/>
                <a:gd name="connsiteY1" fmla="*/ 0 h 2685448"/>
                <a:gd name="connsiteX2" fmla="*/ 149191 w 529389"/>
                <a:gd name="connsiteY2" fmla="*/ 235818 h 2685448"/>
                <a:gd name="connsiteX3" fmla="*/ 149191 w 529389"/>
                <a:gd name="connsiteY3" fmla="*/ 1058778 h 2685448"/>
                <a:gd name="connsiteX4" fmla="*/ 0 w 529389"/>
                <a:gd name="connsiteY4" fmla="*/ 1260909 h 2685448"/>
                <a:gd name="connsiteX5" fmla="*/ 0 w 529389"/>
                <a:gd name="connsiteY5" fmla="*/ 1405288 h 2685448"/>
                <a:gd name="connsiteX6" fmla="*/ 139566 w 529389"/>
                <a:gd name="connsiteY6" fmla="*/ 1583355 h 2685448"/>
                <a:gd name="connsiteX7" fmla="*/ 139566 w 529389"/>
                <a:gd name="connsiteY7" fmla="*/ 2348564 h 2685448"/>
                <a:gd name="connsiteX8" fmla="*/ 510139 w 529389"/>
                <a:gd name="connsiteY8" fmla="*/ 2685448 h 2685448"/>
                <a:gd name="connsiteX9" fmla="*/ 510139 w 529389"/>
                <a:gd name="connsiteY9" fmla="*/ 2497755 h 2685448"/>
                <a:gd name="connsiteX10" fmla="*/ 375385 w 529389"/>
                <a:gd name="connsiteY10" fmla="*/ 2334126 h 2685448"/>
                <a:gd name="connsiteX11" fmla="*/ 375385 w 529389"/>
                <a:gd name="connsiteY11" fmla="*/ 1544854 h 2685448"/>
                <a:gd name="connsiteX12" fmla="*/ 216568 w 529389"/>
                <a:gd name="connsiteY12" fmla="*/ 1328286 h 2685448"/>
                <a:gd name="connsiteX13" fmla="*/ 383673 w 529389"/>
                <a:gd name="connsiteY13" fmla="*/ 1005840 h 2685448"/>
                <a:gd name="connsiteX14" fmla="*/ 409073 w 529389"/>
                <a:gd name="connsiteY14" fmla="*/ 327258 h 2685448"/>
                <a:gd name="connsiteX15" fmla="*/ 529389 w 529389"/>
                <a:gd name="connsiteY15" fmla="*/ 182880 h 2685448"/>
                <a:gd name="connsiteX0" fmla="*/ 529389 w 529389"/>
                <a:gd name="connsiteY0" fmla="*/ 182880 h 2685448"/>
                <a:gd name="connsiteX1" fmla="*/ 529389 w 529389"/>
                <a:gd name="connsiteY1" fmla="*/ 0 h 2685448"/>
                <a:gd name="connsiteX2" fmla="*/ 149191 w 529389"/>
                <a:gd name="connsiteY2" fmla="*/ 235818 h 2685448"/>
                <a:gd name="connsiteX3" fmla="*/ 149191 w 529389"/>
                <a:gd name="connsiteY3" fmla="*/ 1058778 h 2685448"/>
                <a:gd name="connsiteX4" fmla="*/ 0 w 529389"/>
                <a:gd name="connsiteY4" fmla="*/ 1260909 h 2685448"/>
                <a:gd name="connsiteX5" fmla="*/ 0 w 529389"/>
                <a:gd name="connsiteY5" fmla="*/ 1405288 h 2685448"/>
                <a:gd name="connsiteX6" fmla="*/ 139566 w 529389"/>
                <a:gd name="connsiteY6" fmla="*/ 1583355 h 2685448"/>
                <a:gd name="connsiteX7" fmla="*/ 139566 w 529389"/>
                <a:gd name="connsiteY7" fmla="*/ 2348564 h 2685448"/>
                <a:gd name="connsiteX8" fmla="*/ 510139 w 529389"/>
                <a:gd name="connsiteY8" fmla="*/ 2685448 h 2685448"/>
                <a:gd name="connsiteX9" fmla="*/ 510139 w 529389"/>
                <a:gd name="connsiteY9" fmla="*/ 2497755 h 2685448"/>
                <a:gd name="connsiteX10" fmla="*/ 375385 w 529389"/>
                <a:gd name="connsiteY10" fmla="*/ 2334126 h 2685448"/>
                <a:gd name="connsiteX11" fmla="*/ 375385 w 529389"/>
                <a:gd name="connsiteY11" fmla="*/ 1544854 h 2685448"/>
                <a:gd name="connsiteX12" fmla="*/ 216568 w 529389"/>
                <a:gd name="connsiteY12" fmla="*/ 1328286 h 2685448"/>
                <a:gd name="connsiteX13" fmla="*/ 383673 w 529389"/>
                <a:gd name="connsiteY13" fmla="*/ 1005840 h 2685448"/>
                <a:gd name="connsiteX14" fmla="*/ 409073 w 529389"/>
                <a:gd name="connsiteY14" fmla="*/ 327258 h 2685448"/>
                <a:gd name="connsiteX15" fmla="*/ 529389 w 529389"/>
                <a:gd name="connsiteY15" fmla="*/ 182880 h 2685448"/>
                <a:gd name="connsiteX0" fmla="*/ 529389 w 529389"/>
                <a:gd name="connsiteY0" fmla="*/ 182880 h 2685448"/>
                <a:gd name="connsiteX1" fmla="*/ 529389 w 529389"/>
                <a:gd name="connsiteY1" fmla="*/ 0 h 2685448"/>
                <a:gd name="connsiteX2" fmla="*/ 149191 w 529389"/>
                <a:gd name="connsiteY2" fmla="*/ 235818 h 2685448"/>
                <a:gd name="connsiteX3" fmla="*/ 149191 w 529389"/>
                <a:gd name="connsiteY3" fmla="*/ 1058778 h 2685448"/>
                <a:gd name="connsiteX4" fmla="*/ 0 w 529389"/>
                <a:gd name="connsiteY4" fmla="*/ 1260909 h 2685448"/>
                <a:gd name="connsiteX5" fmla="*/ 0 w 529389"/>
                <a:gd name="connsiteY5" fmla="*/ 1405288 h 2685448"/>
                <a:gd name="connsiteX6" fmla="*/ 139566 w 529389"/>
                <a:gd name="connsiteY6" fmla="*/ 1583355 h 2685448"/>
                <a:gd name="connsiteX7" fmla="*/ 139566 w 529389"/>
                <a:gd name="connsiteY7" fmla="*/ 2348564 h 2685448"/>
                <a:gd name="connsiteX8" fmla="*/ 510139 w 529389"/>
                <a:gd name="connsiteY8" fmla="*/ 2685448 h 2685448"/>
                <a:gd name="connsiteX9" fmla="*/ 510139 w 529389"/>
                <a:gd name="connsiteY9" fmla="*/ 2497755 h 2685448"/>
                <a:gd name="connsiteX10" fmla="*/ 375385 w 529389"/>
                <a:gd name="connsiteY10" fmla="*/ 2334126 h 2685448"/>
                <a:gd name="connsiteX11" fmla="*/ 375385 w 529389"/>
                <a:gd name="connsiteY11" fmla="*/ 1544854 h 2685448"/>
                <a:gd name="connsiteX12" fmla="*/ 216568 w 529389"/>
                <a:gd name="connsiteY12" fmla="*/ 1328286 h 2685448"/>
                <a:gd name="connsiteX13" fmla="*/ 383673 w 529389"/>
                <a:gd name="connsiteY13" fmla="*/ 1005840 h 2685448"/>
                <a:gd name="connsiteX14" fmla="*/ 409073 w 529389"/>
                <a:gd name="connsiteY14" fmla="*/ 327258 h 2685448"/>
                <a:gd name="connsiteX15" fmla="*/ 529389 w 529389"/>
                <a:gd name="connsiteY15" fmla="*/ 182880 h 2685448"/>
                <a:gd name="connsiteX0" fmla="*/ 529389 w 537126"/>
                <a:gd name="connsiteY0" fmla="*/ 182880 h 2671161"/>
                <a:gd name="connsiteX1" fmla="*/ 529389 w 537126"/>
                <a:gd name="connsiteY1" fmla="*/ 0 h 2671161"/>
                <a:gd name="connsiteX2" fmla="*/ 149191 w 537126"/>
                <a:gd name="connsiteY2" fmla="*/ 235818 h 2671161"/>
                <a:gd name="connsiteX3" fmla="*/ 149191 w 537126"/>
                <a:gd name="connsiteY3" fmla="*/ 1058778 h 2671161"/>
                <a:gd name="connsiteX4" fmla="*/ 0 w 537126"/>
                <a:gd name="connsiteY4" fmla="*/ 1260909 h 2671161"/>
                <a:gd name="connsiteX5" fmla="*/ 0 w 537126"/>
                <a:gd name="connsiteY5" fmla="*/ 1405288 h 2671161"/>
                <a:gd name="connsiteX6" fmla="*/ 139566 w 537126"/>
                <a:gd name="connsiteY6" fmla="*/ 1583355 h 2671161"/>
                <a:gd name="connsiteX7" fmla="*/ 139566 w 537126"/>
                <a:gd name="connsiteY7" fmla="*/ 2348564 h 2671161"/>
                <a:gd name="connsiteX8" fmla="*/ 537126 w 537126"/>
                <a:gd name="connsiteY8" fmla="*/ 2671161 h 2671161"/>
                <a:gd name="connsiteX9" fmla="*/ 510139 w 537126"/>
                <a:gd name="connsiteY9" fmla="*/ 2497755 h 2671161"/>
                <a:gd name="connsiteX10" fmla="*/ 375385 w 537126"/>
                <a:gd name="connsiteY10" fmla="*/ 2334126 h 2671161"/>
                <a:gd name="connsiteX11" fmla="*/ 375385 w 537126"/>
                <a:gd name="connsiteY11" fmla="*/ 1544854 h 2671161"/>
                <a:gd name="connsiteX12" fmla="*/ 216568 w 537126"/>
                <a:gd name="connsiteY12" fmla="*/ 1328286 h 2671161"/>
                <a:gd name="connsiteX13" fmla="*/ 383673 w 537126"/>
                <a:gd name="connsiteY13" fmla="*/ 1005840 h 2671161"/>
                <a:gd name="connsiteX14" fmla="*/ 409073 w 537126"/>
                <a:gd name="connsiteY14" fmla="*/ 327258 h 2671161"/>
                <a:gd name="connsiteX15" fmla="*/ 529389 w 537126"/>
                <a:gd name="connsiteY15" fmla="*/ 182880 h 2671161"/>
                <a:gd name="connsiteX0" fmla="*/ 529389 w 537126"/>
                <a:gd name="connsiteY0" fmla="*/ 182880 h 2671804"/>
                <a:gd name="connsiteX1" fmla="*/ 529389 w 537126"/>
                <a:gd name="connsiteY1" fmla="*/ 0 h 2671804"/>
                <a:gd name="connsiteX2" fmla="*/ 149191 w 537126"/>
                <a:gd name="connsiteY2" fmla="*/ 235818 h 2671804"/>
                <a:gd name="connsiteX3" fmla="*/ 149191 w 537126"/>
                <a:gd name="connsiteY3" fmla="*/ 1058778 h 2671804"/>
                <a:gd name="connsiteX4" fmla="*/ 0 w 537126"/>
                <a:gd name="connsiteY4" fmla="*/ 1260909 h 2671804"/>
                <a:gd name="connsiteX5" fmla="*/ 0 w 537126"/>
                <a:gd name="connsiteY5" fmla="*/ 1405288 h 2671804"/>
                <a:gd name="connsiteX6" fmla="*/ 139566 w 537126"/>
                <a:gd name="connsiteY6" fmla="*/ 1583355 h 2671804"/>
                <a:gd name="connsiteX7" fmla="*/ 139566 w 537126"/>
                <a:gd name="connsiteY7" fmla="*/ 2348564 h 2671804"/>
                <a:gd name="connsiteX8" fmla="*/ 537126 w 537126"/>
                <a:gd name="connsiteY8" fmla="*/ 2671161 h 2671804"/>
                <a:gd name="connsiteX9" fmla="*/ 510139 w 537126"/>
                <a:gd name="connsiteY9" fmla="*/ 2497755 h 2671804"/>
                <a:gd name="connsiteX10" fmla="*/ 375385 w 537126"/>
                <a:gd name="connsiteY10" fmla="*/ 2334126 h 2671804"/>
                <a:gd name="connsiteX11" fmla="*/ 375385 w 537126"/>
                <a:gd name="connsiteY11" fmla="*/ 1544854 h 2671804"/>
                <a:gd name="connsiteX12" fmla="*/ 216568 w 537126"/>
                <a:gd name="connsiteY12" fmla="*/ 1328286 h 2671804"/>
                <a:gd name="connsiteX13" fmla="*/ 383673 w 537126"/>
                <a:gd name="connsiteY13" fmla="*/ 1005840 h 2671804"/>
                <a:gd name="connsiteX14" fmla="*/ 409073 w 537126"/>
                <a:gd name="connsiteY14" fmla="*/ 327258 h 2671804"/>
                <a:gd name="connsiteX15" fmla="*/ 529389 w 537126"/>
                <a:gd name="connsiteY15" fmla="*/ 182880 h 2671804"/>
                <a:gd name="connsiteX0" fmla="*/ 529389 w 537126"/>
                <a:gd name="connsiteY0" fmla="*/ 182880 h 2671922"/>
                <a:gd name="connsiteX1" fmla="*/ 529389 w 537126"/>
                <a:gd name="connsiteY1" fmla="*/ 0 h 2671922"/>
                <a:gd name="connsiteX2" fmla="*/ 149191 w 537126"/>
                <a:gd name="connsiteY2" fmla="*/ 235818 h 2671922"/>
                <a:gd name="connsiteX3" fmla="*/ 149191 w 537126"/>
                <a:gd name="connsiteY3" fmla="*/ 1058778 h 2671922"/>
                <a:gd name="connsiteX4" fmla="*/ 0 w 537126"/>
                <a:gd name="connsiteY4" fmla="*/ 1260909 h 2671922"/>
                <a:gd name="connsiteX5" fmla="*/ 0 w 537126"/>
                <a:gd name="connsiteY5" fmla="*/ 1405288 h 2671922"/>
                <a:gd name="connsiteX6" fmla="*/ 139566 w 537126"/>
                <a:gd name="connsiteY6" fmla="*/ 1583355 h 2671922"/>
                <a:gd name="connsiteX7" fmla="*/ 139566 w 537126"/>
                <a:gd name="connsiteY7" fmla="*/ 2348564 h 2671922"/>
                <a:gd name="connsiteX8" fmla="*/ 537126 w 537126"/>
                <a:gd name="connsiteY8" fmla="*/ 2671161 h 2671922"/>
                <a:gd name="connsiteX9" fmla="*/ 510139 w 537126"/>
                <a:gd name="connsiteY9" fmla="*/ 2497755 h 2671922"/>
                <a:gd name="connsiteX10" fmla="*/ 375385 w 537126"/>
                <a:gd name="connsiteY10" fmla="*/ 2334126 h 2671922"/>
                <a:gd name="connsiteX11" fmla="*/ 375385 w 537126"/>
                <a:gd name="connsiteY11" fmla="*/ 1544854 h 2671922"/>
                <a:gd name="connsiteX12" fmla="*/ 216568 w 537126"/>
                <a:gd name="connsiteY12" fmla="*/ 1328286 h 2671922"/>
                <a:gd name="connsiteX13" fmla="*/ 383673 w 537126"/>
                <a:gd name="connsiteY13" fmla="*/ 1005840 h 2671922"/>
                <a:gd name="connsiteX14" fmla="*/ 409073 w 537126"/>
                <a:gd name="connsiteY14" fmla="*/ 327258 h 2671922"/>
                <a:gd name="connsiteX15" fmla="*/ 529389 w 537126"/>
                <a:gd name="connsiteY15" fmla="*/ 182880 h 2671922"/>
                <a:gd name="connsiteX0" fmla="*/ 529389 w 537126"/>
                <a:gd name="connsiteY0" fmla="*/ 182880 h 2672599"/>
                <a:gd name="connsiteX1" fmla="*/ 529389 w 537126"/>
                <a:gd name="connsiteY1" fmla="*/ 0 h 2672599"/>
                <a:gd name="connsiteX2" fmla="*/ 149191 w 537126"/>
                <a:gd name="connsiteY2" fmla="*/ 235818 h 2672599"/>
                <a:gd name="connsiteX3" fmla="*/ 149191 w 537126"/>
                <a:gd name="connsiteY3" fmla="*/ 1058778 h 2672599"/>
                <a:gd name="connsiteX4" fmla="*/ 0 w 537126"/>
                <a:gd name="connsiteY4" fmla="*/ 1260909 h 2672599"/>
                <a:gd name="connsiteX5" fmla="*/ 0 w 537126"/>
                <a:gd name="connsiteY5" fmla="*/ 1405288 h 2672599"/>
                <a:gd name="connsiteX6" fmla="*/ 139566 w 537126"/>
                <a:gd name="connsiteY6" fmla="*/ 1583355 h 2672599"/>
                <a:gd name="connsiteX7" fmla="*/ 139566 w 537126"/>
                <a:gd name="connsiteY7" fmla="*/ 2348564 h 2672599"/>
                <a:gd name="connsiteX8" fmla="*/ 537126 w 537126"/>
                <a:gd name="connsiteY8" fmla="*/ 2671161 h 2672599"/>
                <a:gd name="connsiteX9" fmla="*/ 510139 w 537126"/>
                <a:gd name="connsiteY9" fmla="*/ 2497755 h 2672599"/>
                <a:gd name="connsiteX10" fmla="*/ 375385 w 537126"/>
                <a:gd name="connsiteY10" fmla="*/ 2334126 h 2672599"/>
                <a:gd name="connsiteX11" fmla="*/ 375385 w 537126"/>
                <a:gd name="connsiteY11" fmla="*/ 1544854 h 2672599"/>
                <a:gd name="connsiteX12" fmla="*/ 216568 w 537126"/>
                <a:gd name="connsiteY12" fmla="*/ 1328286 h 2672599"/>
                <a:gd name="connsiteX13" fmla="*/ 383673 w 537126"/>
                <a:gd name="connsiteY13" fmla="*/ 1005840 h 2672599"/>
                <a:gd name="connsiteX14" fmla="*/ 409073 w 537126"/>
                <a:gd name="connsiteY14" fmla="*/ 327258 h 2672599"/>
                <a:gd name="connsiteX15" fmla="*/ 529389 w 537126"/>
                <a:gd name="connsiteY15" fmla="*/ 182880 h 2672599"/>
                <a:gd name="connsiteX0" fmla="*/ 529389 w 537126"/>
                <a:gd name="connsiteY0" fmla="*/ 182880 h 2672599"/>
                <a:gd name="connsiteX1" fmla="*/ 529389 w 537126"/>
                <a:gd name="connsiteY1" fmla="*/ 0 h 2672599"/>
                <a:gd name="connsiteX2" fmla="*/ 149191 w 537126"/>
                <a:gd name="connsiteY2" fmla="*/ 235818 h 2672599"/>
                <a:gd name="connsiteX3" fmla="*/ 149191 w 537126"/>
                <a:gd name="connsiteY3" fmla="*/ 1058778 h 2672599"/>
                <a:gd name="connsiteX4" fmla="*/ 0 w 537126"/>
                <a:gd name="connsiteY4" fmla="*/ 1260909 h 2672599"/>
                <a:gd name="connsiteX5" fmla="*/ 0 w 537126"/>
                <a:gd name="connsiteY5" fmla="*/ 1405288 h 2672599"/>
                <a:gd name="connsiteX6" fmla="*/ 139566 w 537126"/>
                <a:gd name="connsiteY6" fmla="*/ 1583355 h 2672599"/>
                <a:gd name="connsiteX7" fmla="*/ 139566 w 537126"/>
                <a:gd name="connsiteY7" fmla="*/ 2348564 h 2672599"/>
                <a:gd name="connsiteX8" fmla="*/ 537126 w 537126"/>
                <a:gd name="connsiteY8" fmla="*/ 2671161 h 2672599"/>
                <a:gd name="connsiteX9" fmla="*/ 530776 w 537126"/>
                <a:gd name="connsiteY9" fmla="*/ 2499342 h 2672599"/>
                <a:gd name="connsiteX10" fmla="*/ 375385 w 537126"/>
                <a:gd name="connsiteY10" fmla="*/ 2334126 h 2672599"/>
                <a:gd name="connsiteX11" fmla="*/ 375385 w 537126"/>
                <a:gd name="connsiteY11" fmla="*/ 1544854 h 2672599"/>
                <a:gd name="connsiteX12" fmla="*/ 216568 w 537126"/>
                <a:gd name="connsiteY12" fmla="*/ 1328286 h 2672599"/>
                <a:gd name="connsiteX13" fmla="*/ 383673 w 537126"/>
                <a:gd name="connsiteY13" fmla="*/ 1005840 h 2672599"/>
                <a:gd name="connsiteX14" fmla="*/ 409073 w 537126"/>
                <a:gd name="connsiteY14" fmla="*/ 327258 h 2672599"/>
                <a:gd name="connsiteX15" fmla="*/ 529389 w 537126"/>
                <a:gd name="connsiteY15" fmla="*/ 182880 h 2672599"/>
                <a:gd name="connsiteX0" fmla="*/ 529389 w 537126"/>
                <a:gd name="connsiteY0" fmla="*/ 182880 h 2672599"/>
                <a:gd name="connsiteX1" fmla="*/ 529389 w 537126"/>
                <a:gd name="connsiteY1" fmla="*/ 0 h 2672599"/>
                <a:gd name="connsiteX2" fmla="*/ 149191 w 537126"/>
                <a:gd name="connsiteY2" fmla="*/ 235818 h 2672599"/>
                <a:gd name="connsiteX3" fmla="*/ 149191 w 537126"/>
                <a:gd name="connsiteY3" fmla="*/ 1058778 h 2672599"/>
                <a:gd name="connsiteX4" fmla="*/ 0 w 537126"/>
                <a:gd name="connsiteY4" fmla="*/ 1260909 h 2672599"/>
                <a:gd name="connsiteX5" fmla="*/ 0 w 537126"/>
                <a:gd name="connsiteY5" fmla="*/ 1405288 h 2672599"/>
                <a:gd name="connsiteX6" fmla="*/ 139566 w 537126"/>
                <a:gd name="connsiteY6" fmla="*/ 1583355 h 2672599"/>
                <a:gd name="connsiteX7" fmla="*/ 139566 w 537126"/>
                <a:gd name="connsiteY7" fmla="*/ 2348564 h 2672599"/>
                <a:gd name="connsiteX8" fmla="*/ 537126 w 537126"/>
                <a:gd name="connsiteY8" fmla="*/ 2671161 h 2672599"/>
                <a:gd name="connsiteX9" fmla="*/ 530776 w 537126"/>
                <a:gd name="connsiteY9" fmla="*/ 2499342 h 2672599"/>
                <a:gd name="connsiteX10" fmla="*/ 375385 w 537126"/>
                <a:gd name="connsiteY10" fmla="*/ 2334126 h 2672599"/>
                <a:gd name="connsiteX11" fmla="*/ 375385 w 537126"/>
                <a:gd name="connsiteY11" fmla="*/ 1544854 h 2672599"/>
                <a:gd name="connsiteX12" fmla="*/ 216568 w 537126"/>
                <a:gd name="connsiteY12" fmla="*/ 1328286 h 2672599"/>
                <a:gd name="connsiteX13" fmla="*/ 383673 w 537126"/>
                <a:gd name="connsiteY13" fmla="*/ 1005840 h 2672599"/>
                <a:gd name="connsiteX14" fmla="*/ 409073 w 537126"/>
                <a:gd name="connsiteY14" fmla="*/ 327258 h 2672599"/>
                <a:gd name="connsiteX15" fmla="*/ 529389 w 537126"/>
                <a:gd name="connsiteY15" fmla="*/ 182880 h 2672599"/>
                <a:gd name="connsiteX0" fmla="*/ 529389 w 537126"/>
                <a:gd name="connsiteY0" fmla="*/ 182880 h 2672599"/>
                <a:gd name="connsiteX1" fmla="*/ 529389 w 537126"/>
                <a:gd name="connsiteY1" fmla="*/ 0 h 2672599"/>
                <a:gd name="connsiteX2" fmla="*/ 149191 w 537126"/>
                <a:gd name="connsiteY2" fmla="*/ 235818 h 2672599"/>
                <a:gd name="connsiteX3" fmla="*/ 149191 w 537126"/>
                <a:gd name="connsiteY3" fmla="*/ 1058778 h 2672599"/>
                <a:gd name="connsiteX4" fmla="*/ 0 w 537126"/>
                <a:gd name="connsiteY4" fmla="*/ 1260909 h 2672599"/>
                <a:gd name="connsiteX5" fmla="*/ 0 w 537126"/>
                <a:gd name="connsiteY5" fmla="*/ 1405288 h 2672599"/>
                <a:gd name="connsiteX6" fmla="*/ 139566 w 537126"/>
                <a:gd name="connsiteY6" fmla="*/ 1583355 h 2672599"/>
                <a:gd name="connsiteX7" fmla="*/ 139566 w 537126"/>
                <a:gd name="connsiteY7" fmla="*/ 2348564 h 2672599"/>
                <a:gd name="connsiteX8" fmla="*/ 537126 w 537126"/>
                <a:gd name="connsiteY8" fmla="*/ 2671161 h 2672599"/>
                <a:gd name="connsiteX9" fmla="*/ 530776 w 537126"/>
                <a:gd name="connsiteY9" fmla="*/ 2499342 h 2672599"/>
                <a:gd name="connsiteX10" fmla="*/ 375385 w 537126"/>
                <a:gd name="connsiteY10" fmla="*/ 2334126 h 2672599"/>
                <a:gd name="connsiteX11" fmla="*/ 375385 w 537126"/>
                <a:gd name="connsiteY11" fmla="*/ 1544854 h 2672599"/>
                <a:gd name="connsiteX12" fmla="*/ 216568 w 537126"/>
                <a:gd name="connsiteY12" fmla="*/ 1328286 h 2672599"/>
                <a:gd name="connsiteX13" fmla="*/ 383673 w 537126"/>
                <a:gd name="connsiteY13" fmla="*/ 1005840 h 2672599"/>
                <a:gd name="connsiteX14" fmla="*/ 409073 w 537126"/>
                <a:gd name="connsiteY14" fmla="*/ 327258 h 2672599"/>
                <a:gd name="connsiteX15" fmla="*/ 529389 w 537126"/>
                <a:gd name="connsiteY15" fmla="*/ 182880 h 2672599"/>
                <a:gd name="connsiteX0" fmla="*/ 529389 w 537126"/>
                <a:gd name="connsiteY0" fmla="*/ 182880 h 2672599"/>
                <a:gd name="connsiteX1" fmla="*/ 529389 w 537126"/>
                <a:gd name="connsiteY1" fmla="*/ 0 h 2672599"/>
                <a:gd name="connsiteX2" fmla="*/ 149191 w 537126"/>
                <a:gd name="connsiteY2" fmla="*/ 235818 h 2672599"/>
                <a:gd name="connsiteX3" fmla="*/ 149191 w 537126"/>
                <a:gd name="connsiteY3" fmla="*/ 1058778 h 2672599"/>
                <a:gd name="connsiteX4" fmla="*/ 0 w 537126"/>
                <a:gd name="connsiteY4" fmla="*/ 1260909 h 2672599"/>
                <a:gd name="connsiteX5" fmla="*/ 0 w 537126"/>
                <a:gd name="connsiteY5" fmla="*/ 1405288 h 2672599"/>
                <a:gd name="connsiteX6" fmla="*/ 139566 w 537126"/>
                <a:gd name="connsiteY6" fmla="*/ 1583355 h 2672599"/>
                <a:gd name="connsiteX7" fmla="*/ 139566 w 537126"/>
                <a:gd name="connsiteY7" fmla="*/ 2348564 h 2672599"/>
                <a:gd name="connsiteX8" fmla="*/ 537126 w 537126"/>
                <a:gd name="connsiteY8" fmla="*/ 2671161 h 2672599"/>
                <a:gd name="connsiteX9" fmla="*/ 530776 w 537126"/>
                <a:gd name="connsiteY9" fmla="*/ 2499342 h 2672599"/>
                <a:gd name="connsiteX10" fmla="*/ 375385 w 537126"/>
                <a:gd name="connsiteY10" fmla="*/ 2334126 h 2672599"/>
                <a:gd name="connsiteX11" fmla="*/ 375385 w 537126"/>
                <a:gd name="connsiteY11" fmla="*/ 1544854 h 2672599"/>
                <a:gd name="connsiteX12" fmla="*/ 216568 w 537126"/>
                <a:gd name="connsiteY12" fmla="*/ 1328286 h 2672599"/>
                <a:gd name="connsiteX13" fmla="*/ 383673 w 537126"/>
                <a:gd name="connsiteY13" fmla="*/ 1005840 h 2672599"/>
                <a:gd name="connsiteX14" fmla="*/ 374148 w 537126"/>
                <a:gd name="connsiteY14" fmla="*/ 327258 h 2672599"/>
                <a:gd name="connsiteX15" fmla="*/ 529389 w 537126"/>
                <a:gd name="connsiteY15" fmla="*/ 182880 h 2672599"/>
                <a:gd name="connsiteX0" fmla="*/ 529389 w 537126"/>
                <a:gd name="connsiteY0" fmla="*/ 182880 h 2672599"/>
                <a:gd name="connsiteX1" fmla="*/ 529389 w 537126"/>
                <a:gd name="connsiteY1" fmla="*/ 0 h 2672599"/>
                <a:gd name="connsiteX2" fmla="*/ 149191 w 537126"/>
                <a:gd name="connsiteY2" fmla="*/ 235818 h 2672599"/>
                <a:gd name="connsiteX3" fmla="*/ 149191 w 537126"/>
                <a:gd name="connsiteY3" fmla="*/ 1058778 h 2672599"/>
                <a:gd name="connsiteX4" fmla="*/ 0 w 537126"/>
                <a:gd name="connsiteY4" fmla="*/ 1260909 h 2672599"/>
                <a:gd name="connsiteX5" fmla="*/ 0 w 537126"/>
                <a:gd name="connsiteY5" fmla="*/ 1405288 h 2672599"/>
                <a:gd name="connsiteX6" fmla="*/ 139566 w 537126"/>
                <a:gd name="connsiteY6" fmla="*/ 1583355 h 2672599"/>
                <a:gd name="connsiteX7" fmla="*/ 139566 w 537126"/>
                <a:gd name="connsiteY7" fmla="*/ 2348564 h 2672599"/>
                <a:gd name="connsiteX8" fmla="*/ 537126 w 537126"/>
                <a:gd name="connsiteY8" fmla="*/ 2671161 h 2672599"/>
                <a:gd name="connsiteX9" fmla="*/ 530776 w 537126"/>
                <a:gd name="connsiteY9" fmla="*/ 2499342 h 2672599"/>
                <a:gd name="connsiteX10" fmla="*/ 375385 w 537126"/>
                <a:gd name="connsiteY10" fmla="*/ 2334126 h 2672599"/>
                <a:gd name="connsiteX11" fmla="*/ 375385 w 537126"/>
                <a:gd name="connsiteY11" fmla="*/ 1544854 h 2672599"/>
                <a:gd name="connsiteX12" fmla="*/ 216568 w 537126"/>
                <a:gd name="connsiteY12" fmla="*/ 1328286 h 2672599"/>
                <a:gd name="connsiteX13" fmla="*/ 383673 w 537126"/>
                <a:gd name="connsiteY13" fmla="*/ 1005840 h 2672599"/>
                <a:gd name="connsiteX14" fmla="*/ 374148 w 537126"/>
                <a:gd name="connsiteY14" fmla="*/ 327258 h 2672599"/>
                <a:gd name="connsiteX15" fmla="*/ 529389 w 537126"/>
                <a:gd name="connsiteY15" fmla="*/ 182880 h 2672599"/>
                <a:gd name="connsiteX0" fmla="*/ 529389 w 540502"/>
                <a:gd name="connsiteY0" fmla="*/ 176530 h 2666249"/>
                <a:gd name="connsiteX1" fmla="*/ 540502 w 540502"/>
                <a:gd name="connsiteY1" fmla="*/ 0 h 2666249"/>
                <a:gd name="connsiteX2" fmla="*/ 149191 w 540502"/>
                <a:gd name="connsiteY2" fmla="*/ 229468 h 2666249"/>
                <a:gd name="connsiteX3" fmla="*/ 149191 w 540502"/>
                <a:gd name="connsiteY3" fmla="*/ 1052428 h 2666249"/>
                <a:gd name="connsiteX4" fmla="*/ 0 w 540502"/>
                <a:gd name="connsiteY4" fmla="*/ 1254559 h 2666249"/>
                <a:gd name="connsiteX5" fmla="*/ 0 w 540502"/>
                <a:gd name="connsiteY5" fmla="*/ 1398938 h 2666249"/>
                <a:gd name="connsiteX6" fmla="*/ 139566 w 540502"/>
                <a:gd name="connsiteY6" fmla="*/ 1577005 h 2666249"/>
                <a:gd name="connsiteX7" fmla="*/ 139566 w 540502"/>
                <a:gd name="connsiteY7" fmla="*/ 2342214 h 2666249"/>
                <a:gd name="connsiteX8" fmla="*/ 537126 w 540502"/>
                <a:gd name="connsiteY8" fmla="*/ 2664811 h 2666249"/>
                <a:gd name="connsiteX9" fmla="*/ 530776 w 540502"/>
                <a:gd name="connsiteY9" fmla="*/ 2492992 h 2666249"/>
                <a:gd name="connsiteX10" fmla="*/ 375385 w 540502"/>
                <a:gd name="connsiteY10" fmla="*/ 2327776 h 2666249"/>
                <a:gd name="connsiteX11" fmla="*/ 375385 w 540502"/>
                <a:gd name="connsiteY11" fmla="*/ 1538504 h 2666249"/>
                <a:gd name="connsiteX12" fmla="*/ 216568 w 540502"/>
                <a:gd name="connsiteY12" fmla="*/ 1321936 h 2666249"/>
                <a:gd name="connsiteX13" fmla="*/ 383673 w 540502"/>
                <a:gd name="connsiteY13" fmla="*/ 999490 h 2666249"/>
                <a:gd name="connsiteX14" fmla="*/ 374148 w 540502"/>
                <a:gd name="connsiteY14" fmla="*/ 320908 h 2666249"/>
                <a:gd name="connsiteX15" fmla="*/ 529389 w 540502"/>
                <a:gd name="connsiteY15" fmla="*/ 176530 h 2666249"/>
                <a:gd name="connsiteX0" fmla="*/ 529389 w 540502"/>
                <a:gd name="connsiteY0" fmla="*/ 179349 h 2669068"/>
                <a:gd name="connsiteX1" fmla="*/ 540502 w 540502"/>
                <a:gd name="connsiteY1" fmla="*/ 2819 h 2669068"/>
                <a:gd name="connsiteX2" fmla="*/ 149191 w 540502"/>
                <a:gd name="connsiteY2" fmla="*/ 232287 h 2669068"/>
                <a:gd name="connsiteX3" fmla="*/ 149191 w 540502"/>
                <a:gd name="connsiteY3" fmla="*/ 1055247 h 2669068"/>
                <a:gd name="connsiteX4" fmla="*/ 0 w 540502"/>
                <a:gd name="connsiteY4" fmla="*/ 1257378 h 2669068"/>
                <a:gd name="connsiteX5" fmla="*/ 0 w 540502"/>
                <a:gd name="connsiteY5" fmla="*/ 1401757 h 2669068"/>
                <a:gd name="connsiteX6" fmla="*/ 139566 w 540502"/>
                <a:gd name="connsiteY6" fmla="*/ 1579824 h 2669068"/>
                <a:gd name="connsiteX7" fmla="*/ 139566 w 540502"/>
                <a:gd name="connsiteY7" fmla="*/ 2345033 h 2669068"/>
                <a:gd name="connsiteX8" fmla="*/ 537126 w 540502"/>
                <a:gd name="connsiteY8" fmla="*/ 2667630 h 2669068"/>
                <a:gd name="connsiteX9" fmla="*/ 530776 w 540502"/>
                <a:gd name="connsiteY9" fmla="*/ 2495811 h 2669068"/>
                <a:gd name="connsiteX10" fmla="*/ 375385 w 540502"/>
                <a:gd name="connsiteY10" fmla="*/ 2330595 h 2669068"/>
                <a:gd name="connsiteX11" fmla="*/ 375385 w 540502"/>
                <a:gd name="connsiteY11" fmla="*/ 1541323 h 2669068"/>
                <a:gd name="connsiteX12" fmla="*/ 216568 w 540502"/>
                <a:gd name="connsiteY12" fmla="*/ 1324755 h 2669068"/>
                <a:gd name="connsiteX13" fmla="*/ 383673 w 540502"/>
                <a:gd name="connsiteY13" fmla="*/ 1002309 h 2669068"/>
                <a:gd name="connsiteX14" fmla="*/ 374148 w 540502"/>
                <a:gd name="connsiteY14" fmla="*/ 323727 h 2669068"/>
                <a:gd name="connsiteX15" fmla="*/ 529389 w 540502"/>
                <a:gd name="connsiteY15" fmla="*/ 179349 h 2669068"/>
                <a:gd name="connsiteX0" fmla="*/ 548439 w 548439"/>
                <a:gd name="connsiteY0" fmla="*/ 179349 h 2669068"/>
                <a:gd name="connsiteX1" fmla="*/ 540502 w 548439"/>
                <a:gd name="connsiteY1" fmla="*/ 2819 h 2669068"/>
                <a:gd name="connsiteX2" fmla="*/ 149191 w 548439"/>
                <a:gd name="connsiteY2" fmla="*/ 232287 h 2669068"/>
                <a:gd name="connsiteX3" fmla="*/ 149191 w 548439"/>
                <a:gd name="connsiteY3" fmla="*/ 1055247 h 2669068"/>
                <a:gd name="connsiteX4" fmla="*/ 0 w 548439"/>
                <a:gd name="connsiteY4" fmla="*/ 1257378 h 2669068"/>
                <a:gd name="connsiteX5" fmla="*/ 0 w 548439"/>
                <a:gd name="connsiteY5" fmla="*/ 1401757 h 2669068"/>
                <a:gd name="connsiteX6" fmla="*/ 139566 w 548439"/>
                <a:gd name="connsiteY6" fmla="*/ 1579824 h 2669068"/>
                <a:gd name="connsiteX7" fmla="*/ 139566 w 548439"/>
                <a:gd name="connsiteY7" fmla="*/ 2345033 h 2669068"/>
                <a:gd name="connsiteX8" fmla="*/ 537126 w 548439"/>
                <a:gd name="connsiteY8" fmla="*/ 2667630 h 2669068"/>
                <a:gd name="connsiteX9" fmla="*/ 530776 w 548439"/>
                <a:gd name="connsiteY9" fmla="*/ 2495811 h 2669068"/>
                <a:gd name="connsiteX10" fmla="*/ 375385 w 548439"/>
                <a:gd name="connsiteY10" fmla="*/ 2330595 h 2669068"/>
                <a:gd name="connsiteX11" fmla="*/ 375385 w 548439"/>
                <a:gd name="connsiteY11" fmla="*/ 1541323 h 2669068"/>
                <a:gd name="connsiteX12" fmla="*/ 216568 w 548439"/>
                <a:gd name="connsiteY12" fmla="*/ 1324755 h 2669068"/>
                <a:gd name="connsiteX13" fmla="*/ 383673 w 548439"/>
                <a:gd name="connsiteY13" fmla="*/ 1002309 h 2669068"/>
                <a:gd name="connsiteX14" fmla="*/ 374148 w 548439"/>
                <a:gd name="connsiteY14" fmla="*/ 323727 h 2669068"/>
                <a:gd name="connsiteX15" fmla="*/ 548439 w 548439"/>
                <a:gd name="connsiteY15" fmla="*/ 179349 h 2669068"/>
                <a:gd name="connsiteX0" fmla="*/ 535739 w 540502"/>
                <a:gd name="connsiteY0" fmla="*/ 174587 h 2669068"/>
                <a:gd name="connsiteX1" fmla="*/ 540502 w 540502"/>
                <a:gd name="connsiteY1" fmla="*/ 2819 h 2669068"/>
                <a:gd name="connsiteX2" fmla="*/ 149191 w 540502"/>
                <a:gd name="connsiteY2" fmla="*/ 232287 h 2669068"/>
                <a:gd name="connsiteX3" fmla="*/ 149191 w 540502"/>
                <a:gd name="connsiteY3" fmla="*/ 1055247 h 2669068"/>
                <a:gd name="connsiteX4" fmla="*/ 0 w 540502"/>
                <a:gd name="connsiteY4" fmla="*/ 1257378 h 2669068"/>
                <a:gd name="connsiteX5" fmla="*/ 0 w 540502"/>
                <a:gd name="connsiteY5" fmla="*/ 1401757 h 2669068"/>
                <a:gd name="connsiteX6" fmla="*/ 139566 w 540502"/>
                <a:gd name="connsiteY6" fmla="*/ 1579824 h 2669068"/>
                <a:gd name="connsiteX7" fmla="*/ 139566 w 540502"/>
                <a:gd name="connsiteY7" fmla="*/ 2345033 h 2669068"/>
                <a:gd name="connsiteX8" fmla="*/ 537126 w 540502"/>
                <a:gd name="connsiteY8" fmla="*/ 2667630 h 2669068"/>
                <a:gd name="connsiteX9" fmla="*/ 530776 w 540502"/>
                <a:gd name="connsiteY9" fmla="*/ 2495811 h 2669068"/>
                <a:gd name="connsiteX10" fmla="*/ 375385 w 540502"/>
                <a:gd name="connsiteY10" fmla="*/ 2330595 h 2669068"/>
                <a:gd name="connsiteX11" fmla="*/ 375385 w 540502"/>
                <a:gd name="connsiteY11" fmla="*/ 1541323 h 2669068"/>
                <a:gd name="connsiteX12" fmla="*/ 216568 w 540502"/>
                <a:gd name="connsiteY12" fmla="*/ 1324755 h 2669068"/>
                <a:gd name="connsiteX13" fmla="*/ 383673 w 540502"/>
                <a:gd name="connsiteY13" fmla="*/ 1002309 h 2669068"/>
                <a:gd name="connsiteX14" fmla="*/ 374148 w 540502"/>
                <a:gd name="connsiteY14" fmla="*/ 323727 h 2669068"/>
                <a:gd name="connsiteX15" fmla="*/ 535739 w 540502"/>
                <a:gd name="connsiteY15" fmla="*/ 174587 h 2669068"/>
                <a:gd name="connsiteX0" fmla="*/ 535739 w 540502"/>
                <a:gd name="connsiteY0" fmla="*/ 174587 h 2669068"/>
                <a:gd name="connsiteX1" fmla="*/ 540502 w 540502"/>
                <a:gd name="connsiteY1" fmla="*/ 2819 h 2669068"/>
                <a:gd name="connsiteX2" fmla="*/ 149191 w 540502"/>
                <a:gd name="connsiteY2" fmla="*/ 232287 h 2669068"/>
                <a:gd name="connsiteX3" fmla="*/ 149191 w 540502"/>
                <a:gd name="connsiteY3" fmla="*/ 1055247 h 2669068"/>
                <a:gd name="connsiteX4" fmla="*/ 0 w 540502"/>
                <a:gd name="connsiteY4" fmla="*/ 1257378 h 2669068"/>
                <a:gd name="connsiteX5" fmla="*/ 0 w 540502"/>
                <a:gd name="connsiteY5" fmla="*/ 1401757 h 2669068"/>
                <a:gd name="connsiteX6" fmla="*/ 139566 w 540502"/>
                <a:gd name="connsiteY6" fmla="*/ 1579824 h 2669068"/>
                <a:gd name="connsiteX7" fmla="*/ 139566 w 540502"/>
                <a:gd name="connsiteY7" fmla="*/ 2345033 h 2669068"/>
                <a:gd name="connsiteX8" fmla="*/ 537126 w 540502"/>
                <a:gd name="connsiteY8" fmla="*/ 2667630 h 2669068"/>
                <a:gd name="connsiteX9" fmla="*/ 530776 w 540502"/>
                <a:gd name="connsiteY9" fmla="*/ 2495811 h 2669068"/>
                <a:gd name="connsiteX10" fmla="*/ 375385 w 540502"/>
                <a:gd name="connsiteY10" fmla="*/ 2330595 h 2669068"/>
                <a:gd name="connsiteX11" fmla="*/ 375385 w 540502"/>
                <a:gd name="connsiteY11" fmla="*/ 1541323 h 2669068"/>
                <a:gd name="connsiteX12" fmla="*/ 216568 w 540502"/>
                <a:gd name="connsiteY12" fmla="*/ 1324755 h 2669068"/>
                <a:gd name="connsiteX13" fmla="*/ 383673 w 540502"/>
                <a:gd name="connsiteY13" fmla="*/ 1002309 h 2669068"/>
                <a:gd name="connsiteX14" fmla="*/ 374148 w 540502"/>
                <a:gd name="connsiteY14" fmla="*/ 323727 h 2669068"/>
                <a:gd name="connsiteX15" fmla="*/ 535739 w 540502"/>
                <a:gd name="connsiteY15" fmla="*/ 174587 h 2669068"/>
                <a:gd name="connsiteX0" fmla="*/ 535739 w 540502"/>
                <a:gd name="connsiteY0" fmla="*/ 174587 h 2669068"/>
                <a:gd name="connsiteX1" fmla="*/ 540502 w 540502"/>
                <a:gd name="connsiteY1" fmla="*/ 2819 h 2669068"/>
                <a:gd name="connsiteX2" fmla="*/ 149191 w 540502"/>
                <a:gd name="connsiteY2" fmla="*/ 232287 h 2669068"/>
                <a:gd name="connsiteX3" fmla="*/ 149191 w 540502"/>
                <a:gd name="connsiteY3" fmla="*/ 1055247 h 2669068"/>
                <a:gd name="connsiteX4" fmla="*/ 0 w 540502"/>
                <a:gd name="connsiteY4" fmla="*/ 1257378 h 2669068"/>
                <a:gd name="connsiteX5" fmla="*/ 0 w 540502"/>
                <a:gd name="connsiteY5" fmla="*/ 1401757 h 2669068"/>
                <a:gd name="connsiteX6" fmla="*/ 139566 w 540502"/>
                <a:gd name="connsiteY6" fmla="*/ 1579824 h 2669068"/>
                <a:gd name="connsiteX7" fmla="*/ 139566 w 540502"/>
                <a:gd name="connsiteY7" fmla="*/ 2345033 h 2669068"/>
                <a:gd name="connsiteX8" fmla="*/ 537126 w 540502"/>
                <a:gd name="connsiteY8" fmla="*/ 2667630 h 2669068"/>
                <a:gd name="connsiteX9" fmla="*/ 530776 w 540502"/>
                <a:gd name="connsiteY9" fmla="*/ 2495811 h 2669068"/>
                <a:gd name="connsiteX10" fmla="*/ 375385 w 540502"/>
                <a:gd name="connsiteY10" fmla="*/ 2330595 h 2669068"/>
                <a:gd name="connsiteX11" fmla="*/ 375385 w 540502"/>
                <a:gd name="connsiteY11" fmla="*/ 1541323 h 2669068"/>
                <a:gd name="connsiteX12" fmla="*/ 216568 w 540502"/>
                <a:gd name="connsiteY12" fmla="*/ 1324755 h 2669068"/>
                <a:gd name="connsiteX13" fmla="*/ 383673 w 540502"/>
                <a:gd name="connsiteY13" fmla="*/ 1002309 h 2669068"/>
                <a:gd name="connsiteX14" fmla="*/ 380498 w 540502"/>
                <a:gd name="connsiteY14" fmla="*/ 323727 h 2669068"/>
                <a:gd name="connsiteX15" fmla="*/ 535739 w 540502"/>
                <a:gd name="connsiteY15" fmla="*/ 174587 h 2669068"/>
                <a:gd name="connsiteX0" fmla="*/ 535739 w 540502"/>
                <a:gd name="connsiteY0" fmla="*/ 174587 h 2669068"/>
                <a:gd name="connsiteX1" fmla="*/ 540502 w 540502"/>
                <a:gd name="connsiteY1" fmla="*/ 2819 h 2669068"/>
                <a:gd name="connsiteX2" fmla="*/ 149191 w 540502"/>
                <a:gd name="connsiteY2" fmla="*/ 232287 h 2669068"/>
                <a:gd name="connsiteX3" fmla="*/ 149191 w 540502"/>
                <a:gd name="connsiteY3" fmla="*/ 1055247 h 2669068"/>
                <a:gd name="connsiteX4" fmla="*/ 0 w 540502"/>
                <a:gd name="connsiteY4" fmla="*/ 1257378 h 2669068"/>
                <a:gd name="connsiteX5" fmla="*/ 0 w 540502"/>
                <a:gd name="connsiteY5" fmla="*/ 1401757 h 2669068"/>
                <a:gd name="connsiteX6" fmla="*/ 139566 w 540502"/>
                <a:gd name="connsiteY6" fmla="*/ 1579824 h 2669068"/>
                <a:gd name="connsiteX7" fmla="*/ 139566 w 540502"/>
                <a:gd name="connsiteY7" fmla="*/ 2345033 h 2669068"/>
                <a:gd name="connsiteX8" fmla="*/ 537126 w 540502"/>
                <a:gd name="connsiteY8" fmla="*/ 2667630 h 2669068"/>
                <a:gd name="connsiteX9" fmla="*/ 530776 w 540502"/>
                <a:gd name="connsiteY9" fmla="*/ 2495811 h 2669068"/>
                <a:gd name="connsiteX10" fmla="*/ 375385 w 540502"/>
                <a:gd name="connsiteY10" fmla="*/ 2330595 h 2669068"/>
                <a:gd name="connsiteX11" fmla="*/ 375385 w 540502"/>
                <a:gd name="connsiteY11" fmla="*/ 1541323 h 2669068"/>
                <a:gd name="connsiteX12" fmla="*/ 216568 w 540502"/>
                <a:gd name="connsiteY12" fmla="*/ 1324755 h 2669068"/>
                <a:gd name="connsiteX13" fmla="*/ 383673 w 540502"/>
                <a:gd name="connsiteY13" fmla="*/ 1002309 h 2669068"/>
                <a:gd name="connsiteX14" fmla="*/ 380498 w 540502"/>
                <a:gd name="connsiteY14" fmla="*/ 323727 h 2669068"/>
                <a:gd name="connsiteX15" fmla="*/ 535739 w 540502"/>
                <a:gd name="connsiteY15" fmla="*/ 174587 h 2669068"/>
                <a:gd name="connsiteX0" fmla="*/ 535739 w 540502"/>
                <a:gd name="connsiteY0" fmla="*/ 174587 h 2669068"/>
                <a:gd name="connsiteX1" fmla="*/ 540502 w 540502"/>
                <a:gd name="connsiteY1" fmla="*/ 2819 h 2669068"/>
                <a:gd name="connsiteX2" fmla="*/ 149191 w 540502"/>
                <a:gd name="connsiteY2" fmla="*/ 232287 h 2669068"/>
                <a:gd name="connsiteX3" fmla="*/ 149191 w 540502"/>
                <a:gd name="connsiteY3" fmla="*/ 1055247 h 2669068"/>
                <a:gd name="connsiteX4" fmla="*/ 0 w 540502"/>
                <a:gd name="connsiteY4" fmla="*/ 1257378 h 2669068"/>
                <a:gd name="connsiteX5" fmla="*/ 0 w 540502"/>
                <a:gd name="connsiteY5" fmla="*/ 1401757 h 2669068"/>
                <a:gd name="connsiteX6" fmla="*/ 139566 w 540502"/>
                <a:gd name="connsiteY6" fmla="*/ 1579824 h 2669068"/>
                <a:gd name="connsiteX7" fmla="*/ 139566 w 540502"/>
                <a:gd name="connsiteY7" fmla="*/ 2345033 h 2669068"/>
                <a:gd name="connsiteX8" fmla="*/ 537126 w 540502"/>
                <a:gd name="connsiteY8" fmla="*/ 2667630 h 2669068"/>
                <a:gd name="connsiteX9" fmla="*/ 530776 w 540502"/>
                <a:gd name="connsiteY9" fmla="*/ 2495811 h 2669068"/>
                <a:gd name="connsiteX10" fmla="*/ 375385 w 540502"/>
                <a:gd name="connsiteY10" fmla="*/ 2330595 h 2669068"/>
                <a:gd name="connsiteX11" fmla="*/ 375385 w 540502"/>
                <a:gd name="connsiteY11" fmla="*/ 1541323 h 2669068"/>
                <a:gd name="connsiteX12" fmla="*/ 216568 w 540502"/>
                <a:gd name="connsiteY12" fmla="*/ 1324755 h 2669068"/>
                <a:gd name="connsiteX13" fmla="*/ 383673 w 540502"/>
                <a:gd name="connsiteY13" fmla="*/ 1002309 h 2669068"/>
                <a:gd name="connsiteX14" fmla="*/ 380498 w 540502"/>
                <a:gd name="connsiteY14" fmla="*/ 323727 h 2669068"/>
                <a:gd name="connsiteX15" fmla="*/ 535739 w 540502"/>
                <a:gd name="connsiteY15" fmla="*/ 174587 h 2669068"/>
                <a:gd name="connsiteX0" fmla="*/ 535739 w 540502"/>
                <a:gd name="connsiteY0" fmla="*/ 174587 h 2669068"/>
                <a:gd name="connsiteX1" fmla="*/ 540502 w 540502"/>
                <a:gd name="connsiteY1" fmla="*/ 2819 h 2669068"/>
                <a:gd name="connsiteX2" fmla="*/ 149191 w 540502"/>
                <a:gd name="connsiteY2" fmla="*/ 232287 h 2669068"/>
                <a:gd name="connsiteX3" fmla="*/ 149191 w 540502"/>
                <a:gd name="connsiteY3" fmla="*/ 1055247 h 2669068"/>
                <a:gd name="connsiteX4" fmla="*/ 0 w 540502"/>
                <a:gd name="connsiteY4" fmla="*/ 1257378 h 2669068"/>
                <a:gd name="connsiteX5" fmla="*/ 1587 w 540502"/>
                <a:gd name="connsiteY5" fmla="*/ 1419219 h 2669068"/>
                <a:gd name="connsiteX6" fmla="*/ 139566 w 540502"/>
                <a:gd name="connsiteY6" fmla="*/ 1579824 h 2669068"/>
                <a:gd name="connsiteX7" fmla="*/ 139566 w 540502"/>
                <a:gd name="connsiteY7" fmla="*/ 2345033 h 2669068"/>
                <a:gd name="connsiteX8" fmla="*/ 537126 w 540502"/>
                <a:gd name="connsiteY8" fmla="*/ 2667630 h 2669068"/>
                <a:gd name="connsiteX9" fmla="*/ 530776 w 540502"/>
                <a:gd name="connsiteY9" fmla="*/ 2495811 h 2669068"/>
                <a:gd name="connsiteX10" fmla="*/ 375385 w 540502"/>
                <a:gd name="connsiteY10" fmla="*/ 2330595 h 2669068"/>
                <a:gd name="connsiteX11" fmla="*/ 375385 w 540502"/>
                <a:gd name="connsiteY11" fmla="*/ 1541323 h 2669068"/>
                <a:gd name="connsiteX12" fmla="*/ 216568 w 540502"/>
                <a:gd name="connsiteY12" fmla="*/ 1324755 h 2669068"/>
                <a:gd name="connsiteX13" fmla="*/ 383673 w 540502"/>
                <a:gd name="connsiteY13" fmla="*/ 1002309 h 2669068"/>
                <a:gd name="connsiteX14" fmla="*/ 380498 w 540502"/>
                <a:gd name="connsiteY14" fmla="*/ 323727 h 2669068"/>
                <a:gd name="connsiteX15" fmla="*/ 535739 w 540502"/>
                <a:gd name="connsiteY15" fmla="*/ 174587 h 2669068"/>
                <a:gd name="connsiteX0" fmla="*/ 534152 w 538915"/>
                <a:gd name="connsiteY0" fmla="*/ 174587 h 2669068"/>
                <a:gd name="connsiteX1" fmla="*/ 538915 w 538915"/>
                <a:gd name="connsiteY1" fmla="*/ 2819 h 2669068"/>
                <a:gd name="connsiteX2" fmla="*/ 147604 w 538915"/>
                <a:gd name="connsiteY2" fmla="*/ 232287 h 2669068"/>
                <a:gd name="connsiteX3" fmla="*/ 147604 w 538915"/>
                <a:gd name="connsiteY3" fmla="*/ 1055247 h 2669068"/>
                <a:gd name="connsiteX4" fmla="*/ 7938 w 538915"/>
                <a:gd name="connsiteY4" fmla="*/ 1251028 h 2669068"/>
                <a:gd name="connsiteX5" fmla="*/ 0 w 538915"/>
                <a:gd name="connsiteY5" fmla="*/ 1419219 h 2669068"/>
                <a:gd name="connsiteX6" fmla="*/ 137979 w 538915"/>
                <a:gd name="connsiteY6" fmla="*/ 1579824 h 2669068"/>
                <a:gd name="connsiteX7" fmla="*/ 137979 w 538915"/>
                <a:gd name="connsiteY7" fmla="*/ 2345033 h 2669068"/>
                <a:gd name="connsiteX8" fmla="*/ 535539 w 538915"/>
                <a:gd name="connsiteY8" fmla="*/ 2667630 h 2669068"/>
                <a:gd name="connsiteX9" fmla="*/ 529189 w 538915"/>
                <a:gd name="connsiteY9" fmla="*/ 2495811 h 2669068"/>
                <a:gd name="connsiteX10" fmla="*/ 373798 w 538915"/>
                <a:gd name="connsiteY10" fmla="*/ 2330595 h 2669068"/>
                <a:gd name="connsiteX11" fmla="*/ 373798 w 538915"/>
                <a:gd name="connsiteY11" fmla="*/ 1541323 h 2669068"/>
                <a:gd name="connsiteX12" fmla="*/ 214981 w 538915"/>
                <a:gd name="connsiteY12" fmla="*/ 1324755 h 2669068"/>
                <a:gd name="connsiteX13" fmla="*/ 382086 w 538915"/>
                <a:gd name="connsiteY13" fmla="*/ 1002309 h 2669068"/>
                <a:gd name="connsiteX14" fmla="*/ 378911 w 538915"/>
                <a:gd name="connsiteY14" fmla="*/ 323727 h 2669068"/>
                <a:gd name="connsiteX15" fmla="*/ 534152 w 538915"/>
                <a:gd name="connsiteY15" fmla="*/ 174587 h 2669068"/>
                <a:gd name="connsiteX0" fmla="*/ 534152 w 538915"/>
                <a:gd name="connsiteY0" fmla="*/ 174587 h 2669068"/>
                <a:gd name="connsiteX1" fmla="*/ 538915 w 538915"/>
                <a:gd name="connsiteY1" fmla="*/ 2819 h 2669068"/>
                <a:gd name="connsiteX2" fmla="*/ 147604 w 538915"/>
                <a:gd name="connsiteY2" fmla="*/ 232287 h 2669068"/>
                <a:gd name="connsiteX3" fmla="*/ 147604 w 538915"/>
                <a:gd name="connsiteY3" fmla="*/ 1055247 h 2669068"/>
                <a:gd name="connsiteX4" fmla="*/ 1588 w 538915"/>
                <a:gd name="connsiteY4" fmla="*/ 1251028 h 2669068"/>
                <a:gd name="connsiteX5" fmla="*/ 0 w 538915"/>
                <a:gd name="connsiteY5" fmla="*/ 1419219 h 2669068"/>
                <a:gd name="connsiteX6" fmla="*/ 137979 w 538915"/>
                <a:gd name="connsiteY6" fmla="*/ 1579824 h 2669068"/>
                <a:gd name="connsiteX7" fmla="*/ 137979 w 538915"/>
                <a:gd name="connsiteY7" fmla="*/ 2345033 h 2669068"/>
                <a:gd name="connsiteX8" fmla="*/ 535539 w 538915"/>
                <a:gd name="connsiteY8" fmla="*/ 2667630 h 2669068"/>
                <a:gd name="connsiteX9" fmla="*/ 529189 w 538915"/>
                <a:gd name="connsiteY9" fmla="*/ 2495811 h 2669068"/>
                <a:gd name="connsiteX10" fmla="*/ 373798 w 538915"/>
                <a:gd name="connsiteY10" fmla="*/ 2330595 h 2669068"/>
                <a:gd name="connsiteX11" fmla="*/ 373798 w 538915"/>
                <a:gd name="connsiteY11" fmla="*/ 1541323 h 2669068"/>
                <a:gd name="connsiteX12" fmla="*/ 214981 w 538915"/>
                <a:gd name="connsiteY12" fmla="*/ 1324755 h 2669068"/>
                <a:gd name="connsiteX13" fmla="*/ 382086 w 538915"/>
                <a:gd name="connsiteY13" fmla="*/ 1002309 h 2669068"/>
                <a:gd name="connsiteX14" fmla="*/ 378911 w 538915"/>
                <a:gd name="connsiteY14" fmla="*/ 323727 h 2669068"/>
                <a:gd name="connsiteX15" fmla="*/ 534152 w 538915"/>
                <a:gd name="connsiteY15" fmla="*/ 174587 h 2669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8915" h="2669068">
                  <a:moveTo>
                    <a:pt x="534152" y="174587"/>
                  </a:moveTo>
                  <a:lnTo>
                    <a:pt x="538915" y="2819"/>
                  </a:lnTo>
                  <a:cubicBezTo>
                    <a:pt x="412182" y="-9063"/>
                    <a:pt x="148925" y="7631"/>
                    <a:pt x="147604" y="232287"/>
                  </a:cubicBezTo>
                  <a:lnTo>
                    <a:pt x="147604" y="1055247"/>
                  </a:lnTo>
                  <a:cubicBezTo>
                    <a:pt x="147087" y="1157549"/>
                    <a:pt x="78305" y="1243976"/>
                    <a:pt x="1588" y="1251028"/>
                  </a:cubicBezTo>
                  <a:cubicBezTo>
                    <a:pt x="1059" y="1307092"/>
                    <a:pt x="529" y="1363155"/>
                    <a:pt x="0" y="1419219"/>
                  </a:cubicBezTo>
                  <a:cubicBezTo>
                    <a:pt x="102085" y="1432537"/>
                    <a:pt x="142257" y="1504593"/>
                    <a:pt x="137979" y="1579824"/>
                  </a:cubicBezTo>
                  <a:lnTo>
                    <a:pt x="137979" y="2345033"/>
                  </a:lnTo>
                  <a:cubicBezTo>
                    <a:pt x="145616" y="2606553"/>
                    <a:pt x="338990" y="2680747"/>
                    <a:pt x="535539" y="2667630"/>
                  </a:cubicBezTo>
                  <a:lnTo>
                    <a:pt x="529189" y="2495811"/>
                  </a:lnTo>
                  <a:cubicBezTo>
                    <a:pt x="436117" y="2491539"/>
                    <a:pt x="368445" y="2406305"/>
                    <a:pt x="373798" y="2330595"/>
                  </a:cubicBezTo>
                  <a:lnTo>
                    <a:pt x="373798" y="1541323"/>
                  </a:lnTo>
                  <a:cubicBezTo>
                    <a:pt x="370071" y="1454847"/>
                    <a:pt x="323482" y="1350907"/>
                    <a:pt x="214981" y="1324755"/>
                  </a:cubicBezTo>
                  <a:cubicBezTo>
                    <a:pt x="336299" y="1320461"/>
                    <a:pt x="373481" y="1124079"/>
                    <a:pt x="382086" y="1002309"/>
                  </a:cubicBezTo>
                  <a:cubicBezTo>
                    <a:pt x="381028" y="776115"/>
                    <a:pt x="379969" y="549921"/>
                    <a:pt x="378911" y="323727"/>
                  </a:cubicBezTo>
                  <a:cubicBezTo>
                    <a:pt x="372450" y="247027"/>
                    <a:pt x="462826" y="175088"/>
                    <a:pt x="534152" y="174587"/>
                  </a:cubicBezTo>
                  <a:close/>
                </a:path>
              </a:pathLst>
            </a:custGeom>
            <a:solidFill>
              <a:srgbClr val="59B4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sp>
          <p:nvSpPr>
            <p:cNvPr id="401" name="Rectangle: Rounded Corners 400">
              <a:extLst/>
            </p:cNvPr>
            <p:cNvSpPr/>
            <p:nvPr/>
          </p:nvSpPr>
          <p:spPr>
            <a:xfrm>
              <a:off x="4982734" y="3848006"/>
              <a:ext cx="638537" cy="614486"/>
            </a:xfrm>
            <a:prstGeom prst="round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sp>
          <p:nvSpPr>
            <p:cNvPr id="402" name="Rectangle: Rounded Corners 401">
              <a:extLst/>
            </p:cNvPr>
            <p:cNvSpPr/>
            <p:nvPr/>
          </p:nvSpPr>
          <p:spPr>
            <a:xfrm>
              <a:off x="6296364" y="3848006"/>
              <a:ext cx="638537" cy="614486"/>
            </a:xfrm>
            <a:prstGeom prst="round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grpSp>
    </p:spTree>
    <p:extLst>
      <p:ext uri="{BB962C8B-B14F-4D97-AF65-F5344CB8AC3E}">
        <p14:creationId xmlns:p14="http://schemas.microsoft.com/office/powerpoint/2010/main" val="2109059976"/>
      </p:ext>
    </p:extLst>
  </p:cSld>
  <p:clrMapOvr>
    <a:masterClrMapping/>
  </p:clrMapOvr>
  <mc:AlternateContent xmlns:mc="http://schemas.openxmlformats.org/markup-compatibility/2006" xmlns:p14="http://schemas.microsoft.com/office/powerpoint/2010/main">
    <mc:Choice Requires="p14">
      <p:transition p14:dur="0" advTm="5000"/>
    </mc:Choice>
    <mc:Fallback xmlns="">
      <p:transition advTm="500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858D3C33-0FA7-4AB0-816D-DDBCEB3299B6}"/>
              </a:ext>
            </a:extLst>
          </p:cNvPr>
          <p:cNvSpPr/>
          <p:nvPr/>
        </p:nvSpPr>
        <p:spPr>
          <a:xfrm>
            <a:off x="1982086" y="208651"/>
            <a:ext cx="8472303" cy="5926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Azure Data Lake Platform Overview (Batch)</a:t>
            </a:r>
          </a:p>
        </p:txBody>
      </p:sp>
      <p:sp>
        <p:nvSpPr>
          <p:cNvPr id="6" name="Rectangle 5">
            <a:extLst>
              <a:ext uri="{FF2B5EF4-FFF2-40B4-BE49-F238E27FC236}">
                <a16:creationId xmlns:a16="http://schemas.microsoft.com/office/drawing/2014/main" id="{D6A6A24A-7266-4F33-8F11-31008839D684}"/>
              </a:ext>
            </a:extLst>
          </p:cNvPr>
          <p:cNvSpPr/>
          <p:nvPr/>
        </p:nvSpPr>
        <p:spPr>
          <a:xfrm>
            <a:off x="624083" y="5194469"/>
            <a:ext cx="11171933" cy="1228841"/>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ata Lake Platform</a:t>
            </a:r>
          </a:p>
        </p:txBody>
      </p:sp>
      <p:sp>
        <p:nvSpPr>
          <p:cNvPr id="11" name="Rectangle 10">
            <a:extLst>
              <a:ext uri="{FF2B5EF4-FFF2-40B4-BE49-F238E27FC236}">
                <a16:creationId xmlns:a16="http://schemas.microsoft.com/office/drawing/2014/main" id="{66731D6A-19FB-4885-9757-887EF48E1E1B}"/>
              </a:ext>
            </a:extLst>
          </p:cNvPr>
          <p:cNvSpPr/>
          <p:nvPr/>
        </p:nvSpPr>
        <p:spPr>
          <a:xfrm>
            <a:off x="640458" y="4446215"/>
            <a:ext cx="11171931" cy="629553"/>
          </a:xfrm>
          <a:prstGeom prst="rect">
            <a:avLst/>
          </a:prstGeom>
          <a:solidFill>
            <a:srgbClr val="ED1B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U-SQL/Core</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language, compiler, optimizer, runtime, data-parallel execution framework</a:t>
            </a:r>
          </a:p>
        </p:txBody>
      </p:sp>
      <p:grpSp>
        <p:nvGrpSpPr>
          <p:cNvPr id="12" name="Group 11">
            <a:extLst>
              <a:ext uri="{FF2B5EF4-FFF2-40B4-BE49-F238E27FC236}">
                <a16:creationId xmlns:a16="http://schemas.microsoft.com/office/drawing/2014/main" id="{1D8D18E5-996F-41CA-BF1A-A8A36D8F40F1}"/>
              </a:ext>
            </a:extLst>
          </p:cNvPr>
          <p:cNvGrpSpPr/>
          <p:nvPr/>
        </p:nvGrpSpPr>
        <p:grpSpPr>
          <a:xfrm>
            <a:off x="3004686" y="5431847"/>
            <a:ext cx="6427103" cy="617702"/>
            <a:chOff x="2853322" y="5431847"/>
            <a:chExt cx="7069813" cy="617702"/>
          </a:xfrm>
        </p:grpSpPr>
        <p:sp>
          <p:nvSpPr>
            <p:cNvPr id="13" name="Rectangle 12">
              <a:extLst>
                <a:ext uri="{FF2B5EF4-FFF2-40B4-BE49-F238E27FC236}">
                  <a16:creationId xmlns:a16="http://schemas.microsoft.com/office/drawing/2014/main" id="{B3EBD489-947A-49CC-9D90-BB2ADC1B3F04}"/>
                </a:ext>
              </a:extLst>
            </p:cNvPr>
            <p:cNvSpPr/>
            <p:nvPr/>
          </p:nvSpPr>
          <p:spPr>
            <a:xfrm>
              <a:off x="2853322" y="5431847"/>
              <a:ext cx="3280355" cy="61770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Resource Management</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YARN++)</a:t>
              </a:r>
            </a:p>
          </p:txBody>
        </p:sp>
        <p:sp>
          <p:nvSpPr>
            <p:cNvPr id="14" name="Rectangle 13">
              <a:extLst>
                <a:ext uri="{FF2B5EF4-FFF2-40B4-BE49-F238E27FC236}">
                  <a16:creationId xmlns:a16="http://schemas.microsoft.com/office/drawing/2014/main" id="{96D71A84-87F6-4E8D-B5D9-DFB5F3D1EAFC}"/>
                </a:ext>
              </a:extLst>
            </p:cNvPr>
            <p:cNvSpPr/>
            <p:nvPr/>
          </p:nvSpPr>
          <p:spPr>
            <a:xfrm>
              <a:off x="6642780" y="5431847"/>
              <a:ext cx="3280355" cy="61770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High-bandwidth Storage</a:t>
              </a:r>
            </a:p>
          </p:txBody>
        </p:sp>
      </p:grpSp>
    </p:spTree>
    <p:extLst>
      <p:ext uri="{BB962C8B-B14F-4D97-AF65-F5344CB8AC3E}">
        <p14:creationId xmlns:p14="http://schemas.microsoft.com/office/powerpoint/2010/main" val="286588949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858D3C33-0FA7-4AB0-816D-DDBCEB3299B6}"/>
              </a:ext>
            </a:extLst>
          </p:cNvPr>
          <p:cNvSpPr/>
          <p:nvPr/>
        </p:nvSpPr>
        <p:spPr>
          <a:xfrm>
            <a:off x="1982086" y="208651"/>
            <a:ext cx="8472303" cy="5926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Azure Data Lake Platform Overview (Batch)</a:t>
            </a:r>
          </a:p>
        </p:txBody>
      </p:sp>
      <p:sp>
        <p:nvSpPr>
          <p:cNvPr id="8" name="Rectangle 7">
            <a:extLst>
              <a:ext uri="{FF2B5EF4-FFF2-40B4-BE49-F238E27FC236}">
                <a16:creationId xmlns:a16="http://schemas.microsoft.com/office/drawing/2014/main" id="{4A5C30D1-C02F-45A9-90C1-CAFC6DE1F257}"/>
              </a:ext>
            </a:extLst>
          </p:cNvPr>
          <p:cNvSpPr/>
          <p:nvPr/>
        </p:nvSpPr>
        <p:spPr>
          <a:xfrm>
            <a:off x="624085" y="1865706"/>
            <a:ext cx="1925849" cy="1842477"/>
          </a:xfrm>
          <a:prstGeom prst="rect">
            <a:avLst/>
          </a:prstGeom>
          <a:solidFill>
            <a:srgbClr val="ED1B4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b"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NET</a:t>
            </a:r>
          </a:p>
        </p:txBody>
      </p:sp>
      <p:sp>
        <p:nvSpPr>
          <p:cNvPr id="6" name="Rectangle 5">
            <a:extLst>
              <a:ext uri="{FF2B5EF4-FFF2-40B4-BE49-F238E27FC236}">
                <a16:creationId xmlns:a16="http://schemas.microsoft.com/office/drawing/2014/main" id="{D6A6A24A-7266-4F33-8F11-31008839D684}"/>
              </a:ext>
            </a:extLst>
          </p:cNvPr>
          <p:cNvSpPr/>
          <p:nvPr/>
        </p:nvSpPr>
        <p:spPr>
          <a:xfrm>
            <a:off x="624083" y="5194469"/>
            <a:ext cx="11171933" cy="1228841"/>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ata Lake Platform</a:t>
            </a:r>
          </a:p>
        </p:txBody>
      </p:sp>
      <p:sp>
        <p:nvSpPr>
          <p:cNvPr id="7" name="Rectangle 6">
            <a:extLst>
              <a:ext uri="{FF2B5EF4-FFF2-40B4-BE49-F238E27FC236}">
                <a16:creationId xmlns:a16="http://schemas.microsoft.com/office/drawing/2014/main" id="{4646EABD-4BB3-4309-8DED-421F706B4170}"/>
              </a:ext>
            </a:extLst>
          </p:cNvPr>
          <p:cNvSpPr/>
          <p:nvPr/>
        </p:nvSpPr>
        <p:spPr>
          <a:xfrm>
            <a:off x="624085" y="3833084"/>
            <a:ext cx="6349069" cy="487129"/>
          </a:xfrm>
          <a:prstGeom prst="rect">
            <a:avLst/>
          </a:prstGeom>
          <a:solidFill>
            <a:srgbClr val="ED1B4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U-SQL / Extensibility</a:t>
            </a:r>
          </a:p>
        </p:txBody>
      </p:sp>
      <p:sp>
        <p:nvSpPr>
          <p:cNvPr id="12" name="Rectangle 11">
            <a:extLst>
              <a:ext uri="{FF2B5EF4-FFF2-40B4-BE49-F238E27FC236}">
                <a16:creationId xmlns:a16="http://schemas.microsoft.com/office/drawing/2014/main" id="{F6A36B1F-F4A1-47E8-B55A-99A40543B178}"/>
              </a:ext>
            </a:extLst>
          </p:cNvPr>
          <p:cNvSpPr/>
          <p:nvPr/>
        </p:nvSpPr>
        <p:spPr>
          <a:xfrm>
            <a:off x="809128" y="2474300"/>
            <a:ext cx="1555763" cy="301013"/>
          </a:xfrm>
          <a:prstGeom prst="rect">
            <a:avLst/>
          </a:prstGeom>
          <a:solidFill>
            <a:srgbClr val="8F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F#</a:t>
            </a:r>
          </a:p>
        </p:txBody>
      </p:sp>
      <p:sp>
        <p:nvSpPr>
          <p:cNvPr id="13" name="Rectangle 12">
            <a:extLst>
              <a:ext uri="{FF2B5EF4-FFF2-40B4-BE49-F238E27FC236}">
                <a16:creationId xmlns:a16="http://schemas.microsoft.com/office/drawing/2014/main" id="{31844017-06F0-430E-8213-8F9F61E1F658}"/>
              </a:ext>
            </a:extLst>
          </p:cNvPr>
          <p:cNvSpPr/>
          <p:nvPr/>
        </p:nvSpPr>
        <p:spPr>
          <a:xfrm>
            <a:off x="809128" y="2042504"/>
            <a:ext cx="1555763" cy="301013"/>
          </a:xfrm>
          <a:prstGeom prst="rect">
            <a:avLst/>
          </a:prstGeom>
          <a:solidFill>
            <a:srgbClr val="8F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VB.NET</a:t>
            </a:r>
          </a:p>
        </p:txBody>
      </p:sp>
      <p:sp>
        <p:nvSpPr>
          <p:cNvPr id="25" name="Rectangle 24">
            <a:extLst>
              <a:ext uri="{FF2B5EF4-FFF2-40B4-BE49-F238E27FC236}">
                <a16:creationId xmlns:a16="http://schemas.microsoft.com/office/drawing/2014/main" id="{AC598974-BB83-48C4-8177-4F258D14706A}"/>
              </a:ext>
            </a:extLst>
          </p:cNvPr>
          <p:cNvSpPr/>
          <p:nvPr/>
        </p:nvSpPr>
        <p:spPr>
          <a:xfrm>
            <a:off x="809128" y="2880185"/>
            <a:ext cx="1555763" cy="301013"/>
          </a:xfrm>
          <a:prstGeom prst="rect">
            <a:avLst/>
          </a:prstGeom>
          <a:solidFill>
            <a:srgbClr val="8F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C#</a:t>
            </a:r>
          </a:p>
        </p:txBody>
      </p:sp>
      <p:sp>
        <p:nvSpPr>
          <p:cNvPr id="28" name="Rectangle 27">
            <a:extLst>
              <a:ext uri="{FF2B5EF4-FFF2-40B4-BE49-F238E27FC236}">
                <a16:creationId xmlns:a16="http://schemas.microsoft.com/office/drawing/2014/main" id="{7A150C82-EC79-4DCA-A0DB-FA31CF39F01C}"/>
              </a:ext>
            </a:extLst>
          </p:cNvPr>
          <p:cNvSpPr/>
          <p:nvPr/>
        </p:nvSpPr>
        <p:spPr>
          <a:xfrm>
            <a:off x="606585" y="1046948"/>
            <a:ext cx="6366569" cy="713887"/>
          </a:xfrm>
          <a:prstGeom prst="rect">
            <a:avLst/>
          </a:prstGeom>
          <a:solidFill>
            <a:srgbClr val="1D93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3</a:t>
            </a:r>
            <a:r>
              <a:rPr kumimoji="0" lang="en-US" sz="1800" b="0" i="0" u="none" strike="noStrike" kern="1200" cap="none" spc="0" normalizeH="0" baseline="30000" noProof="0">
                <a:ln>
                  <a:noFill/>
                </a:ln>
                <a:solidFill>
                  <a:prstClr val="white"/>
                </a:solidFill>
                <a:effectLst/>
                <a:uLnTx/>
                <a:uFillTx/>
                <a:latin typeface="Segoe UI" panose="020B0502040204020203" pitchFamily="34" charset="0"/>
                <a:ea typeface="+mn-ea"/>
                <a:cs typeface="Segoe UI" panose="020B0502040204020203" pitchFamily="34" charset="0"/>
              </a:rPr>
              <a:t>rd</a:t>
            </a: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party libraries for text processing, geospatial, imaging, ML, etc.</a:t>
            </a:r>
          </a:p>
        </p:txBody>
      </p:sp>
      <p:sp>
        <p:nvSpPr>
          <p:cNvPr id="14" name="Rectangle 13">
            <a:extLst>
              <a:ext uri="{FF2B5EF4-FFF2-40B4-BE49-F238E27FC236}">
                <a16:creationId xmlns:a16="http://schemas.microsoft.com/office/drawing/2014/main" id="{554FCB37-4B3C-4FB2-9D87-C9E11D9A1679}"/>
              </a:ext>
            </a:extLst>
          </p:cNvPr>
          <p:cNvSpPr/>
          <p:nvPr/>
        </p:nvSpPr>
        <p:spPr>
          <a:xfrm>
            <a:off x="640458" y="4446215"/>
            <a:ext cx="11171931" cy="629553"/>
          </a:xfrm>
          <a:prstGeom prst="rect">
            <a:avLst/>
          </a:prstGeom>
          <a:solidFill>
            <a:srgbClr val="ED1B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U-SQL/Core</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language, compiler, optimizer, runtime, data-parallel execution framework</a:t>
            </a:r>
          </a:p>
        </p:txBody>
      </p:sp>
      <p:grpSp>
        <p:nvGrpSpPr>
          <p:cNvPr id="15" name="Group 14">
            <a:extLst>
              <a:ext uri="{FF2B5EF4-FFF2-40B4-BE49-F238E27FC236}">
                <a16:creationId xmlns:a16="http://schemas.microsoft.com/office/drawing/2014/main" id="{B897CBD4-1CC2-46B3-9C61-C4C8930B8520}"/>
              </a:ext>
            </a:extLst>
          </p:cNvPr>
          <p:cNvGrpSpPr/>
          <p:nvPr/>
        </p:nvGrpSpPr>
        <p:grpSpPr>
          <a:xfrm>
            <a:off x="3004686" y="5431847"/>
            <a:ext cx="6427103" cy="617702"/>
            <a:chOff x="2853322" y="5431847"/>
            <a:chExt cx="7069813" cy="617702"/>
          </a:xfrm>
        </p:grpSpPr>
        <p:sp>
          <p:nvSpPr>
            <p:cNvPr id="16" name="Rectangle 15">
              <a:extLst>
                <a:ext uri="{FF2B5EF4-FFF2-40B4-BE49-F238E27FC236}">
                  <a16:creationId xmlns:a16="http://schemas.microsoft.com/office/drawing/2014/main" id="{AAC5168D-04B7-4C36-8C4D-6EAA14994B52}"/>
                </a:ext>
              </a:extLst>
            </p:cNvPr>
            <p:cNvSpPr/>
            <p:nvPr/>
          </p:nvSpPr>
          <p:spPr>
            <a:xfrm>
              <a:off x="2853322" y="5431847"/>
              <a:ext cx="3280355" cy="61770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Resource Management</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YARN++)</a:t>
              </a:r>
            </a:p>
          </p:txBody>
        </p:sp>
        <p:sp>
          <p:nvSpPr>
            <p:cNvPr id="17" name="Rectangle 16">
              <a:extLst>
                <a:ext uri="{FF2B5EF4-FFF2-40B4-BE49-F238E27FC236}">
                  <a16:creationId xmlns:a16="http://schemas.microsoft.com/office/drawing/2014/main" id="{A892052B-5670-4618-9D53-32B5D838C2E2}"/>
                </a:ext>
              </a:extLst>
            </p:cNvPr>
            <p:cNvSpPr/>
            <p:nvPr/>
          </p:nvSpPr>
          <p:spPr>
            <a:xfrm>
              <a:off x="6642780" y="5431847"/>
              <a:ext cx="3280355" cy="61770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High-bandwidth Storage</a:t>
              </a:r>
            </a:p>
          </p:txBody>
        </p:sp>
      </p:grpSp>
    </p:spTree>
    <p:extLst>
      <p:ext uri="{BB962C8B-B14F-4D97-AF65-F5344CB8AC3E}">
        <p14:creationId xmlns:p14="http://schemas.microsoft.com/office/powerpoint/2010/main" val="196158467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858D3C33-0FA7-4AB0-816D-DDBCEB3299B6}"/>
              </a:ext>
            </a:extLst>
          </p:cNvPr>
          <p:cNvSpPr/>
          <p:nvPr/>
        </p:nvSpPr>
        <p:spPr>
          <a:xfrm>
            <a:off x="1982086" y="208651"/>
            <a:ext cx="8472303" cy="5926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Azure Data Lake Platform Overview (Batch)</a:t>
            </a:r>
          </a:p>
        </p:txBody>
      </p:sp>
      <p:sp>
        <p:nvSpPr>
          <p:cNvPr id="8" name="Rectangle 7">
            <a:extLst>
              <a:ext uri="{FF2B5EF4-FFF2-40B4-BE49-F238E27FC236}">
                <a16:creationId xmlns:a16="http://schemas.microsoft.com/office/drawing/2014/main" id="{4A5C30D1-C02F-45A9-90C1-CAFC6DE1F257}"/>
              </a:ext>
            </a:extLst>
          </p:cNvPr>
          <p:cNvSpPr/>
          <p:nvPr/>
        </p:nvSpPr>
        <p:spPr>
          <a:xfrm>
            <a:off x="624085" y="1865706"/>
            <a:ext cx="1925849" cy="1842477"/>
          </a:xfrm>
          <a:prstGeom prst="rect">
            <a:avLst/>
          </a:prstGeom>
          <a:solidFill>
            <a:srgbClr val="ED1B4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b"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NET</a:t>
            </a:r>
          </a:p>
        </p:txBody>
      </p:sp>
      <p:sp>
        <p:nvSpPr>
          <p:cNvPr id="10" name="Rectangle 9">
            <a:extLst>
              <a:ext uri="{FF2B5EF4-FFF2-40B4-BE49-F238E27FC236}">
                <a16:creationId xmlns:a16="http://schemas.microsoft.com/office/drawing/2014/main" id="{DE72EF37-858D-4C56-8CA2-C0F4615BAC48}"/>
              </a:ext>
            </a:extLst>
          </p:cNvPr>
          <p:cNvSpPr/>
          <p:nvPr/>
        </p:nvSpPr>
        <p:spPr>
          <a:xfrm>
            <a:off x="2853322" y="1854074"/>
            <a:ext cx="1925849" cy="1842477"/>
          </a:xfrm>
          <a:prstGeom prst="rect">
            <a:avLst/>
          </a:prstGeom>
          <a:solidFill>
            <a:srgbClr val="ED1B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cripting</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Runtimes</a:t>
            </a:r>
          </a:p>
        </p:txBody>
      </p:sp>
      <p:sp>
        <p:nvSpPr>
          <p:cNvPr id="6" name="Rectangle 5">
            <a:extLst>
              <a:ext uri="{FF2B5EF4-FFF2-40B4-BE49-F238E27FC236}">
                <a16:creationId xmlns:a16="http://schemas.microsoft.com/office/drawing/2014/main" id="{D6A6A24A-7266-4F33-8F11-31008839D684}"/>
              </a:ext>
            </a:extLst>
          </p:cNvPr>
          <p:cNvSpPr/>
          <p:nvPr/>
        </p:nvSpPr>
        <p:spPr>
          <a:xfrm>
            <a:off x="624083" y="5194469"/>
            <a:ext cx="11171933" cy="1228841"/>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ata Lake Platform</a:t>
            </a:r>
          </a:p>
        </p:txBody>
      </p:sp>
      <p:sp>
        <p:nvSpPr>
          <p:cNvPr id="7" name="Rectangle 6">
            <a:extLst>
              <a:ext uri="{FF2B5EF4-FFF2-40B4-BE49-F238E27FC236}">
                <a16:creationId xmlns:a16="http://schemas.microsoft.com/office/drawing/2014/main" id="{4646EABD-4BB3-4309-8DED-421F706B4170}"/>
              </a:ext>
            </a:extLst>
          </p:cNvPr>
          <p:cNvSpPr/>
          <p:nvPr/>
        </p:nvSpPr>
        <p:spPr>
          <a:xfrm>
            <a:off x="624085" y="3833084"/>
            <a:ext cx="6349069" cy="487129"/>
          </a:xfrm>
          <a:prstGeom prst="rect">
            <a:avLst/>
          </a:prstGeom>
          <a:solidFill>
            <a:srgbClr val="ED1B4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U-SQL / Extensibility</a:t>
            </a:r>
          </a:p>
        </p:txBody>
      </p:sp>
      <p:sp>
        <p:nvSpPr>
          <p:cNvPr id="12" name="Rectangle 11">
            <a:extLst>
              <a:ext uri="{FF2B5EF4-FFF2-40B4-BE49-F238E27FC236}">
                <a16:creationId xmlns:a16="http://schemas.microsoft.com/office/drawing/2014/main" id="{F6A36B1F-F4A1-47E8-B55A-99A40543B178}"/>
              </a:ext>
            </a:extLst>
          </p:cNvPr>
          <p:cNvSpPr/>
          <p:nvPr/>
        </p:nvSpPr>
        <p:spPr>
          <a:xfrm>
            <a:off x="809128" y="2474300"/>
            <a:ext cx="1555763" cy="301013"/>
          </a:xfrm>
          <a:prstGeom prst="rect">
            <a:avLst/>
          </a:prstGeom>
          <a:solidFill>
            <a:srgbClr val="8F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F#</a:t>
            </a:r>
          </a:p>
        </p:txBody>
      </p:sp>
      <p:sp>
        <p:nvSpPr>
          <p:cNvPr id="13" name="Rectangle 12">
            <a:extLst>
              <a:ext uri="{FF2B5EF4-FFF2-40B4-BE49-F238E27FC236}">
                <a16:creationId xmlns:a16="http://schemas.microsoft.com/office/drawing/2014/main" id="{31844017-06F0-430E-8213-8F9F61E1F658}"/>
              </a:ext>
            </a:extLst>
          </p:cNvPr>
          <p:cNvSpPr/>
          <p:nvPr/>
        </p:nvSpPr>
        <p:spPr>
          <a:xfrm>
            <a:off x="809128" y="2042504"/>
            <a:ext cx="1555763" cy="301013"/>
          </a:xfrm>
          <a:prstGeom prst="rect">
            <a:avLst/>
          </a:prstGeom>
          <a:solidFill>
            <a:srgbClr val="8F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VB.NET</a:t>
            </a:r>
          </a:p>
        </p:txBody>
      </p:sp>
      <p:sp>
        <p:nvSpPr>
          <p:cNvPr id="16" name="Rectangle 15">
            <a:extLst>
              <a:ext uri="{FF2B5EF4-FFF2-40B4-BE49-F238E27FC236}">
                <a16:creationId xmlns:a16="http://schemas.microsoft.com/office/drawing/2014/main" id="{9B858F97-BE3A-4220-9F45-2F755CEEB598}"/>
              </a:ext>
            </a:extLst>
          </p:cNvPr>
          <p:cNvSpPr/>
          <p:nvPr/>
        </p:nvSpPr>
        <p:spPr>
          <a:xfrm>
            <a:off x="3045939" y="2462668"/>
            <a:ext cx="1540618" cy="301013"/>
          </a:xfrm>
          <a:prstGeom prst="rect">
            <a:avLst/>
          </a:prstGeom>
          <a:solidFill>
            <a:srgbClr val="8F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Python</a:t>
            </a:r>
          </a:p>
        </p:txBody>
      </p:sp>
      <p:sp>
        <p:nvSpPr>
          <p:cNvPr id="17" name="Rectangle 16">
            <a:extLst>
              <a:ext uri="{FF2B5EF4-FFF2-40B4-BE49-F238E27FC236}">
                <a16:creationId xmlns:a16="http://schemas.microsoft.com/office/drawing/2014/main" id="{AF270F12-80B4-46C5-B623-D8A88944B5FB}"/>
              </a:ext>
            </a:extLst>
          </p:cNvPr>
          <p:cNvSpPr/>
          <p:nvPr/>
        </p:nvSpPr>
        <p:spPr>
          <a:xfrm>
            <a:off x="3045939" y="2030872"/>
            <a:ext cx="1540618" cy="301013"/>
          </a:xfrm>
          <a:prstGeom prst="rect">
            <a:avLst/>
          </a:prstGeom>
          <a:solidFill>
            <a:srgbClr val="8F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R</a:t>
            </a:r>
          </a:p>
        </p:txBody>
      </p:sp>
      <p:sp>
        <p:nvSpPr>
          <p:cNvPr id="25" name="Rectangle 24">
            <a:extLst>
              <a:ext uri="{FF2B5EF4-FFF2-40B4-BE49-F238E27FC236}">
                <a16:creationId xmlns:a16="http://schemas.microsoft.com/office/drawing/2014/main" id="{AC598974-BB83-48C4-8177-4F258D14706A}"/>
              </a:ext>
            </a:extLst>
          </p:cNvPr>
          <p:cNvSpPr/>
          <p:nvPr/>
        </p:nvSpPr>
        <p:spPr>
          <a:xfrm>
            <a:off x="809128" y="2880185"/>
            <a:ext cx="1555763" cy="301013"/>
          </a:xfrm>
          <a:prstGeom prst="rect">
            <a:avLst/>
          </a:prstGeom>
          <a:solidFill>
            <a:srgbClr val="8F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C#</a:t>
            </a:r>
          </a:p>
        </p:txBody>
      </p:sp>
      <p:sp>
        <p:nvSpPr>
          <p:cNvPr id="28" name="Rectangle 27">
            <a:extLst>
              <a:ext uri="{FF2B5EF4-FFF2-40B4-BE49-F238E27FC236}">
                <a16:creationId xmlns:a16="http://schemas.microsoft.com/office/drawing/2014/main" id="{7A150C82-EC79-4DCA-A0DB-FA31CF39F01C}"/>
              </a:ext>
            </a:extLst>
          </p:cNvPr>
          <p:cNvSpPr/>
          <p:nvPr/>
        </p:nvSpPr>
        <p:spPr>
          <a:xfrm>
            <a:off x="606585" y="1046948"/>
            <a:ext cx="6366569" cy="713887"/>
          </a:xfrm>
          <a:prstGeom prst="rect">
            <a:avLst/>
          </a:prstGeom>
          <a:solidFill>
            <a:srgbClr val="1D93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3</a:t>
            </a:r>
            <a:r>
              <a:rPr kumimoji="0" lang="en-US" sz="1800" b="0" i="0" u="none" strike="noStrike" kern="1200" cap="none" spc="0" normalizeH="0" baseline="30000" noProof="0">
                <a:ln>
                  <a:noFill/>
                </a:ln>
                <a:solidFill>
                  <a:prstClr val="white"/>
                </a:solidFill>
                <a:effectLst/>
                <a:uLnTx/>
                <a:uFillTx/>
                <a:latin typeface="Segoe UI" panose="020B0502040204020203" pitchFamily="34" charset="0"/>
                <a:ea typeface="+mn-ea"/>
                <a:cs typeface="Segoe UI" panose="020B0502040204020203" pitchFamily="34" charset="0"/>
              </a:rPr>
              <a:t>rd</a:t>
            </a: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party libraries for text processing, geospatial, imaging, ML, etc.</a:t>
            </a:r>
          </a:p>
        </p:txBody>
      </p:sp>
      <p:sp>
        <p:nvSpPr>
          <p:cNvPr id="21" name="Rectangle 20">
            <a:extLst>
              <a:ext uri="{FF2B5EF4-FFF2-40B4-BE49-F238E27FC236}">
                <a16:creationId xmlns:a16="http://schemas.microsoft.com/office/drawing/2014/main" id="{4CA3ABE1-5245-45C8-9CB7-E62540D83EE9}"/>
              </a:ext>
            </a:extLst>
          </p:cNvPr>
          <p:cNvSpPr/>
          <p:nvPr/>
        </p:nvSpPr>
        <p:spPr>
          <a:xfrm>
            <a:off x="640458" y="4446215"/>
            <a:ext cx="11171931" cy="629553"/>
          </a:xfrm>
          <a:prstGeom prst="rect">
            <a:avLst/>
          </a:prstGeom>
          <a:solidFill>
            <a:srgbClr val="ED1B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U-SQL/Core</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language, compiler, optimizer, runtime, data-parallel execution framework</a:t>
            </a:r>
          </a:p>
        </p:txBody>
      </p:sp>
      <p:grpSp>
        <p:nvGrpSpPr>
          <p:cNvPr id="22" name="Group 21">
            <a:extLst>
              <a:ext uri="{FF2B5EF4-FFF2-40B4-BE49-F238E27FC236}">
                <a16:creationId xmlns:a16="http://schemas.microsoft.com/office/drawing/2014/main" id="{F960A5E9-E198-41A9-BE3A-E6C050C6441A}"/>
              </a:ext>
            </a:extLst>
          </p:cNvPr>
          <p:cNvGrpSpPr/>
          <p:nvPr/>
        </p:nvGrpSpPr>
        <p:grpSpPr>
          <a:xfrm>
            <a:off x="3004686" y="5431847"/>
            <a:ext cx="6427103" cy="617702"/>
            <a:chOff x="2853322" y="5431847"/>
            <a:chExt cx="7069813" cy="617702"/>
          </a:xfrm>
        </p:grpSpPr>
        <p:sp>
          <p:nvSpPr>
            <p:cNvPr id="23" name="Rectangle 22">
              <a:extLst>
                <a:ext uri="{FF2B5EF4-FFF2-40B4-BE49-F238E27FC236}">
                  <a16:creationId xmlns:a16="http://schemas.microsoft.com/office/drawing/2014/main" id="{FCB702C0-209A-4057-97F5-8CDB892991C6}"/>
                </a:ext>
              </a:extLst>
            </p:cNvPr>
            <p:cNvSpPr/>
            <p:nvPr/>
          </p:nvSpPr>
          <p:spPr>
            <a:xfrm>
              <a:off x="2853322" y="5431847"/>
              <a:ext cx="3280355" cy="61770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Resource Management</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YARN++)</a:t>
              </a:r>
            </a:p>
          </p:txBody>
        </p:sp>
        <p:sp>
          <p:nvSpPr>
            <p:cNvPr id="24" name="Rectangle 23">
              <a:extLst>
                <a:ext uri="{FF2B5EF4-FFF2-40B4-BE49-F238E27FC236}">
                  <a16:creationId xmlns:a16="http://schemas.microsoft.com/office/drawing/2014/main" id="{6023DE3B-D543-4606-902A-34CCF3D72833}"/>
                </a:ext>
              </a:extLst>
            </p:cNvPr>
            <p:cNvSpPr/>
            <p:nvPr/>
          </p:nvSpPr>
          <p:spPr>
            <a:xfrm>
              <a:off x="6642780" y="5431847"/>
              <a:ext cx="3280355" cy="61770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High-bandwidth Storage</a:t>
              </a:r>
            </a:p>
          </p:txBody>
        </p:sp>
      </p:grpSp>
    </p:spTree>
    <p:extLst>
      <p:ext uri="{BB962C8B-B14F-4D97-AF65-F5344CB8AC3E}">
        <p14:creationId xmlns:p14="http://schemas.microsoft.com/office/powerpoint/2010/main" val="54507227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858D3C33-0FA7-4AB0-816D-DDBCEB3299B6}"/>
              </a:ext>
            </a:extLst>
          </p:cNvPr>
          <p:cNvSpPr/>
          <p:nvPr/>
        </p:nvSpPr>
        <p:spPr>
          <a:xfrm>
            <a:off x="1982086" y="208651"/>
            <a:ext cx="8472303" cy="5926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Azure Data Lake Platform Overview (Batch)</a:t>
            </a:r>
          </a:p>
        </p:txBody>
      </p:sp>
      <p:sp>
        <p:nvSpPr>
          <p:cNvPr id="8" name="Rectangle 7">
            <a:extLst>
              <a:ext uri="{FF2B5EF4-FFF2-40B4-BE49-F238E27FC236}">
                <a16:creationId xmlns:a16="http://schemas.microsoft.com/office/drawing/2014/main" id="{4A5C30D1-C02F-45A9-90C1-CAFC6DE1F257}"/>
              </a:ext>
            </a:extLst>
          </p:cNvPr>
          <p:cNvSpPr/>
          <p:nvPr/>
        </p:nvSpPr>
        <p:spPr>
          <a:xfrm>
            <a:off x="624085" y="1865706"/>
            <a:ext cx="1925849" cy="1842477"/>
          </a:xfrm>
          <a:prstGeom prst="rect">
            <a:avLst/>
          </a:prstGeom>
          <a:solidFill>
            <a:srgbClr val="ED1B4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b"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NET</a:t>
            </a:r>
          </a:p>
        </p:txBody>
      </p:sp>
      <p:sp>
        <p:nvSpPr>
          <p:cNvPr id="10" name="Rectangle 9">
            <a:extLst>
              <a:ext uri="{FF2B5EF4-FFF2-40B4-BE49-F238E27FC236}">
                <a16:creationId xmlns:a16="http://schemas.microsoft.com/office/drawing/2014/main" id="{DE72EF37-858D-4C56-8CA2-C0F4615BAC48}"/>
              </a:ext>
            </a:extLst>
          </p:cNvPr>
          <p:cNvSpPr/>
          <p:nvPr/>
        </p:nvSpPr>
        <p:spPr>
          <a:xfrm>
            <a:off x="2853322" y="1854074"/>
            <a:ext cx="1925849" cy="1842477"/>
          </a:xfrm>
          <a:prstGeom prst="rect">
            <a:avLst/>
          </a:prstGeom>
          <a:solidFill>
            <a:srgbClr val="ED1B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cripting</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Runtimes</a:t>
            </a:r>
          </a:p>
        </p:txBody>
      </p:sp>
      <p:sp>
        <p:nvSpPr>
          <p:cNvPr id="6" name="Rectangle 5">
            <a:extLst>
              <a:ext uri="{FF2B5EF4-FFF2-40B4-BE49-F238E27FC236}">
                <a16:creationId xmlns:a16="http://schemas.microsoft.com/office/drawing/2014/main" id="{D6A6A24A-7266-4F33-8F11-31008839D684}"/>
              </a:ext>
            </a:extLst>
          </p:cNvPr>
          <p:cNvSpPr/>
          <p:nvPr/>
        </p:nvSpPr>
        <p:spPr>
          <a:xfrm>
            <a:off x="624083" y="5194469"/>
            <a:ext cx="11171933" cy="1228841"/>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ata Lake Platform</a:t>
            </a:r>
          </a:p>
        </p:txBody>
      </p:sp>
      <p:sp>
        <p:nvSpPr>
          <p:cNvPr id="7" name="Rectangle 6">
            <a:extLst>
              <a:ext uri="{FF2B5EF4-FFF2-40B4-BE49-F238E27FC236}">
                <a16:creationId xmlns:a16="http://schemas.microsoft.com/office/drawing/2014/main" id="{4646EABD-4BB3-4309-8DED-421F706B4170}"/>
              </a:ext>
            </a:extLst>
          </p:cNvPr>
          <p:cNvSpPr/>
          <p:nvPr/>
        </p:nvSpPr>
        <p:spPr>
          <a:xfrm>
            <a:off x="624085" y="3833084"/>
            <a:ext cx="6349069" cy="487129"/>
          </a:xfrm>
          <a:prstGeom prst="rect">
            <a:avLst/>
          </a:prstGeom>
          <a:solidFill>
            <a:srgbClr val="ED1B4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U-SQL / Extensibility</a:t>
            </a:r>
          </a:p>
        </p:txBody>
      </p:sp>
      <p:sp>
        <p:nvSpPr>
          <p:cNvPr id="12" name="Rectangle 11">
            <a:extLst>
              <a:ext uri="{FF2B5EF4-FFF2-40B4-BE49-F238E27FC236}">
                <a16:creationId xmlns:a16="http://schemas.microsoft.com/office/drawing/2014/main" id="{F6A36B1F-F4A1-47E8-B55A-99A40543B178}"/>
              </a:ext>
            </a:extLst>
          </p:cNvPr>
          <p:cNvSpPr/>
          <p:nvPr/>
        </p:nvSpPr>
        <p:spPr>
          <a:xfrm>
            <a:off x="809128" y="2474300"/>
            <a:ext cx="1555763" cy="301013"/>
          </a:xfrm>
          <a:prstGeom prst="rect">
            <a:avLst/>
          </a:prstGeom>
          <a:solidFill>
            <a:srgbClr val="8F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F#</a:t>
            </a:r>
          </a:p>
        </p:txBody>
      </p:sp>
      <p:sp>
        <p:nvSpPr>
          <p:cNvPr id="13" name="Rectangle 12">
            <a:extLst>
              <a:ext uri="{FF2B5EF4-FFF2-40B4-BE49-F238E27FC236}">
                <a16:creationId xmlns:a16="http://schemas.microsoft.com/office/drawing/2014/main" id="{31844017-06F0-430E-8213-8F9F61E1F658}"/>
              </a:ext>
            </a:extLst>
          </p:cNvPr>
          <p:cNvSpPr/>
          <p:nvPr/>
        </p:nvSpPr>
        <p:spPr>
          <a:xfrm>
            <a:off x="809128" y="2042504"/>
            <a:ext cx="1555763" cy="301013"/>
          </a:xfrm>
          <a:prstGeom prst="rect">
            <a:avLst/>
          </a:prstGeom>
          <a:solidFill>
            <a:srgbClr val="8F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VB.NET</a:t>
            </a:r>
          </a:p>
        </p:txBody>
      </p:sp>
      <p:sp>
        <p:nvSpPr>
          <p:cNvPr id="16" name="Rectangle 15">
            <a:extLst>
              <a:ext uri="{FF2B5EF4-FFF2-40B4-BE49-F238E27FC236}">
                <a16:creationId xmlns:a16="http://schemas.microsoft.com/office/drawing/2014/main" id="{9B858F97-BE3A-4220-9F45-2F755CEEB598}"/>
              </a:ext>
            </a:extLst>
          </p:cNvPr>
          <p:cNvSpPr/>
          <p:nvPr/>
        </p:nvSpPr>
        <p:spPr>
          <a:xfrm>
            <a:off x="3045939" y="2462668"/>
            <a:ext cx="1540618" cy="301013"/>
          </a:xfrm>
          <a:prstGeom prst="rect">
            <a:avLst/>
          </a:prstGeom>
          <a:solidFill>
            <a:srgbClr val="8F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Python</a:t>
            </a:r>
          </a:p>
        </p:txBody>
      </p:sp>
      <p:sp>
        <p:nvSpPr>
          <p:cNvPr id="17" name="Rectangle 16">
            <a:extLst>
              <a:ext uri="{FF2B5EF4-FFF2-40B4-BE49-F238E27FC236}">
                <a16:creationId xmlns:a16="http://schemas.microsoft.com/office/drawing/2014/main" id="{AF270F12-80B4-46C5-B623-D8A88944B5FB}"/>
              </a:ext>
            </a:extLst>
          </p:cNvPr>
          <p:cNvSpPr/>
          <p:nvPr/>
        </p:nvSpPr>
        <p:spPr>
          <a:xfrm>
            <a:off x="3045939" y="2030872"/>
            <a:ext cx="1540618" cy="301013"/>
          </a:xfrm>
          <a:prstGeom prst="rect">
            <a:avLst/>
          </a:prstGeom>
          <a:solidFill>
            <a:srgbClr val="8F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R</a:t>
            </a:r>
          </a:p>
        </p:txBody>
      </p:sp>
      <p:sp>
        <p:nvSpPr>
          <p:cNvPr id="25" name="Rectangle 24">
            <a:extLst>
              <a:ext uri="{FF2B5EF4-FFF2-40B4-BE49-F238E27FC236}">
                <a16:creationId xmlns:a16="http://schemas.microsoft.com/office/drawing/2014/main" id="{AC598974-BB83-48C4-8177-4F258D14706A}"/>
              </a:ext>
            </a:extLst>
          </p:cNvPr>
          <p:cNvSpPr/>
          <p:nvPr/>
        </p:nvSpPr>
        <p:spPr>
          <a:xfrm>
            <a:off x="809128" y="2880185"/>
            <a:ext cx="1555763" cy="301013"/>
          </a:xfrm>
          <a:prstGeom prst="rect">
            <a:avLst/>
          </a:prstGeom>
          <a:solidFill>
            <a:srgbClr val="8F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C#</a:t>
            </a:r>
          </a:p>
        </p:txBody>
      </p:sp>
      <p:sp>
        <p:nvSpPr>
          <p:cNvPr id="28" name="Rectangle 27">
            <a:extLst>
              <a:ext uri="{FF2B5EF4-FFF2-40B4-BE49-F238E27FC236}">
                <a16:creationId xmlns:a16="http://schemas.microsoft.com/office/drawing/2014/main" id="{7A150C82-EC79-4DCA-A0DB-FA31CF39F01C}"/>
              </a:ext>
            </a:extLst>
          </p:cNvPr>
          <p:cNvSpPr/>
          <p:nvPr/>
        </p:nvSpPr>
        <p:spPr>
          <a:xfrm>
            <a:off x="606585" y="1046948"/>
            <a:ext cx="6366569" cy="713887"/>
          </a:xfrm>
          <a:prstGeom prst="rect">
            <a:avLst/>
          </a:prstGeom>
          <a:solidFill>
            <a:srgbClr val="1D93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3</a:t>
            </a:r>
            <a:r>
              <a:rPr kumimoji="0" lang="en-US" sz="1800" b="0" i="0" u="none" strike="noStrike" kern="1200" cap="none" spc="0" normalizeH="0" baseline="30000" noProof="0">
                <a:ln>
                  <a:noFill/>
                </a:ln>
                <a:solidFill>
                  <a:prstClr val="white"/>
                </a:solidFill>
                <a:effectLst/>
                <a:uLnTx/>
                <a:uFillTx/>
                <a:latin typeface="Segoe UI" panose="020B0502040204020203" pitchFamily="34" charset="0"/>
                <a:ea typeface="+mn-ea"/>
                <a:cs typeface="Segoe UI" panose="020B0502040204020203" pitchFamily="34" charset="0"/>
              </a:rPr>
              <a:t>rd</a:t>
            </a: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party libraries for text processing, geospatial, imaging, ML, etc.</a:t>
            </a:r>
          </a:p>
        </p:txBody>
      </p:sp>
      <p:sp>
        <p:nvSpPr>
          <p:cNvPr id="38" name="Rectangle 37">
            <a:extLst>
              <a:ext uri="{FF2B5EF4-FFF2-40B4-BE49-F238E27FC236}">
                <a16:creationId xmlns:a16="http://schemas.microsoft.com/office/drawing/2014/main" id="{3592DCAA-B623-47A5-A96F-A85D7665D10F}"/>
              </a:ext>
            </a:extLst>
          </p:cNvPr>
          <p:cNvSpPr/>
          <p:nvPr/>
        </p:nvSpPr>
        <p:spPr>
          <a:xfrm>
            <a:off x="5036116" y="1844361"/>
            <a:ext cx="1925849" cy="1842477"/>
          </a:xfrm>
          <a:prstGeom prst="rect">
            <a:avLst/>
          </a:prstGeom>
          <a:solidFill>
            <a:schemeClr val="bg1">
              <a:lumMod val="85000"/>
            </a:schemeClr>
          </a:solidFill>
          <a:ln w="3810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Future Platform support</a:t>
            </a:r>
          </a:p>
        </p:txBody>
      </p:sp>
      <p:sp>
        <p:nvSpPr>
          <p:cNvPr id="21" name="Rectangle 20">
            <a:extLst>
              <a:ext uri="{FF2B5EF4-FFF2-40B4-BE49-F238E27FC236}">
                <a16:creationId xmlns:a16="http://schemas.microsoft.com/office/drawing/2014/main" id="{EDDC0AA9-C57F-475E-B54B-39E3D75BB473}"/>
              </a:ext>
            </a:extLst>
          </p:cNvPr>
          <p:cNvSpPr/>
          <p:nvPr/>
        </p:nvSpPr>
        <p:spPr>
          <a:xfrm>
            <a:off x="640458" y="4446215"/>
            <a:ext cx="11171931" cy="629553"/>
          </a:xfrm>
          <a:prstGeom prst="rect">
            <a:avLst/>
          </a:prstGeom>
          <a:solidFill>
            <a:srgbClr val="ED1B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U-SQL/Core</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language, compiler, optimizer, runtime, data-parallel execution framework</a:t>
            </a:r>
          </a:p>
        </p:txBody>
      </p:sp>
      <p:grpSp>
        <p:nvGrpSpPr>
          <p:cNvPr id="22" name="Group 21">
            <a:extLst>
              <a:ext uri="{FF2B5EF4-FFF2-40B4-BE49-F238E27FC236}">
                <a16:creationId xmlns:a16="http://schemas.microsoft.com/office/drawing/2014/main" id="{CF70616C-0CE8-4056-95B1-36D27D8D6F4C}"/>
              </a:ext>
            </a:extLst>
          </p:cNvPr>
          <p:cNvGrpSpPr/>
          <p:nvPr/>
        </p:nvGrpSpPr>
        <p:grpSpPr>
          <a:xfrm>
            <a:off x="3004686" y="5431847"/>
            <a:ext cx="6427103" cy="617702"/>
            <a:chOff x="2853322" y="5431847"/>
            <a:chExt cx="7069813" cy="617702"/>
          </a:xfrm>
        </p:grpSpPr>
        <p:sp>
          <p:nvSpPr>
            <p:cNvPr id="23" name="Rectangle 22">
              <a:extLst>
                <a:ext uri="{FF2B5EF4-FFF2-40B4-BE49-F238E27FC236}">
                  <a16:creationId xmlns:a16="http://schemas.microsoft.com/office/drawing/2014/main" id="{2933B058-D3BC-4C19-99D0-A69E485AA87B}"/>
                </a:ext>
              </a:extLst>
            </p:cNvPr>
            <p:cNvSpPr/>
            <p:nvPr/>
          </p:nvSpPr>
          <p:spPr>
            <a:xfrm>
              <a:off x="2853322" y="5431847"/>
              <a:ext cx="3280355" cy="61770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Resource Management</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YARN++)</a:t>
              </a:r>
            </a:p>
          </p:txBody>
        </p:sp>
        <p:sp>
          <p:nvSpPr>
            <p:cNvPr id="24" name="Rectangle 23">
              <a:extLst>
                <a:ext uri="{FF2B5EF4-FFF2-40B4-BE49-F238E27FC236}">
                  <a16:creationId xmlns:a16="http://schemas.microsoft.com/office/drawing/2014/main" id="{58DA2D7C-C466-460C-B33F-4892E02CE65C}"/>
                </a:ext>
              </a:extLst>
            </p:cNvPr>
            <p:cNvSpPr/>
            <p:nvPr/>
          </p:nvSpPr>
          <p:spPr>
            <a:xfrm>
              <a:off x="6642780" y="5431847"/>
              <a:ext cx="3280355" cy="61770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High-bandwidth Storage</a:t>
              </a:r>
            </a:p>
          </p:txBody>
        </p:sp>
      </p:grpSp>
    </p:spTree>
    <p:extLst>
      <p:ext uri="{BB962C8B-B14F-4D97-AF65-F5344CB8AC3E}">
        <p14:creationId xmlns:p14="http://schemas.microsoft.com/office/powerpoint/2010/main" val="291697427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858D3C33-0FA7-4AB0-816D-DDBCEB3299B6}"/>
              </a:ext>
            </a:extLst>
          </p:cNvPr>
          <p:cNvSpPr/>
          <p:nvPr/>
        </p:nvSpPr>
        <p:spPr>
          <a:xfrm>
            <a:off x="1982086" y="208651"/>
            <a:ext cx="8472303" cy="5926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Azure Data Lake Platform Overview (Batch)</a:t>
            </a:r>
          </a:p>
        </p:txBody>
      </p:sp>
      <p:sp>
        <p:nvSpPr>
          <p:cNvPr id="8" name="Rectangle 7">
            <a:extLst>
              <a:ext uri="{FF2B5EF4-FFF2-40B4-BE49-F238E27FC236}">
                <a16:creationId xmlns:a16="http://schemas.microsoft.com/office/drawing/2014/main" id="{4A5C30D1-C02F-45A9-90C1-CAFC6DE1F257}"/>
              </a:ext>
            </a:extLst>
          </p:cNvPr>
          <p:cNvSpPr/>
          <p:nvPr/>
        </p:nvSpPr>
        <p:spPr>
          <a:xfrm>
            <a:off x="624085" y="1865706"/>
            <a:ext cx="1925849" cy="1842477"/>
          </a:xfrm>
          <a:prstGeom prst="rect">
            <a:avLst/>
          </a:prstGeom>
          <a:solidFill>
            <a:srgbClr val="ED1B4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b"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NET</a:t>
            </a:r>
          </a:p>
        </p:txBody>
      </p:sp>
      <p:sp>
        <p:nvSpPr>
          <p:cNvPr id="10" name="Rectangle 9">
            <a:extLst>
              <a:ext uri="{FF2B5EF4-FFF2-40B4-BE49-F238E27FC236}">
                <a16:creationId xmlns:a16="http://schemas.microsoft.com/office/drawing/2014/main" id="{DE72EF37-858D-4C56-8CA2-C0F4615BAC48}"/>
              </a:ext>
            </a:extLst>
          </p:cNvPr>
          <p:cNvSpPr/>
          <p:nvPr/>
        </p:nvSpPr>
        <p:spPr>
          <a:xfrm>
            <a:off x="2853322" y="1854074"/>
            <a:ext cx="1925849" cy="1842477"/>
          </a:xfrm>
          <a:prstGeom prst="rect">
            <a:avLst/>
          </a:prstGeom>
          <a:solidFill>
            <a:srgbClr val="ED1B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cripting</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Runtimes</a:t>
            </a:r>
          </a:p>
        </p:txBody>
      </p:sp>
      <p:sp>
        <p:nvSpPr>
          <p:cNvPr id="6" name="Rectangle 5">
            <a:extLst>
              <a:ext uri="{FF2B5EF4-FFF2-40B4-BE49-F238E27FC236}">
                <a16:creationId xmlns:a16="http://schemas.microsoft.com/office/drawing/2014/main" id="{D6A6A24A-7266-4F33-8F11-31008839D684}"/>
              </a:ext>
            </a:extLst>
          </p:cNvPr>
          <p:cNvSpPr/>
          <p:nvPr/>
        </p:nvSpPr>
        <p:spPr>
          <a:xfrm>
            <a:off x="624083" y="5194469"/>
            <a:ext cx="11171933" cy="1228841"/>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ata Lake Platform</a:t>
            </a:r>
          </a:p>
        </p:txBody>
      </p:sp>
      <p:sp>
        <p:nvSpPr>
          <p:cNvPr id="7" name="Rectangle 6">
            <a:extLst>
              <a:ext uri="{FF2B5EF4-FFF2-40B4-BE49-F238E27FC236}">
                <a16:creationId xmlns:a16="http://schemas.microsoft.com/office/drawing/2014/main" id="{4646EABD-4BB3-4309-8DED-421F706B4170}"/>
              </a:ext>
            </a:extLst>
          </p:cNvPr>
          <p:cNvSpPr/>
          <p:nvPr/>
        </p:nvSpPr>
        <p:spPr>
          <a:xfrm>
            <a:off x="624085" y="3833084"/>
            <a:ext cx="6349069" cy="487129"/>
          </a:xfrm>
          <a:prstGeom prst="rect">
            <a:avLst/>
          </a:prstGeom>
          <a:solidFill>
            <a:srgbClr val="ED1B4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U-SQL / Extensibility</a:t>
            </a:r>
          </a:p>
        </p:txBody>
      </p:sp>
      <p:sp>
        <p:nvSpPr>
          <p:cNvPr id="12" name="Rectangle 11">
            <a:extLst>
              <a:ext uri="{FF2B5EF4-FFF2-40B4-BE49-F238E27FC236}">
                <a16:creationId xmlns:a16="http://schemas.microsoft.com/office/drawing/2014/main" id="{F6A36B1F-F4A1-47E8-B55A-99A40543B178}"/>
              </a:ext>
            </a:extLst>
          </p:cNvPr>
          <p:cNvSpPr/>
          <p:nvPr/>
        </p:nvSpPr>
        <p:spPr>
          <a:xfrm>
            <a:off x="809128" y="2474300"/>
            <a:ext cx="1555763" cy="301013"/>
          </a:xfrm>
          <a:prstGeom prst="rect">
            <a:avLst/>
          </a:prstGeom>
          <a:solidFill>
            <a:srgbClr val="8F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F#</a:t>
            </a:r>
          </a:p>
        </p:txBody>
      </p:sp>
      <p:sp>
        <p:nvSpPr>
          <p:cNvPr id="13" name="Rectangle 12">
            <a:extLst>
              <a:ext uri="{FF2B5EF4-FFF2-40B4-BE49-F238E27FC236}">
                <a16:creationId xmlns:a16="http://schemas.microsoft.com/office/drawing/2014/main" id="{31844017-06F0-430E-8213-8F9F61E1F658}"/>
              </a:ext>
            </a:extLst>
          </p:cNvPr>
          <p:cNvSpPr/>
          <p:nvPr/>
        </p:nvSpPr>
        <p:spPr>
          <a:xfrm>
            <a:off x="809128" y="2042504"/>
            <a:ext cx="1555763" cy="301013"/>
          </a:xfrm>
          <a:prstGeom prst="rect">
            <a:avLst/>
          </a:prstGeom>
          <a:solidFill>
            <a:srgbClr val="8F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VB.NET</a:t>
            </a:r>
          </a:p>
        </p:txBody>
      </p:sp>
      <p:sp>
        <p:nvSpPr>
          <p:cNvPr id="16" name="Rectangle 15">
            <a:extLst>
              <a:ext uri="{FF2B5EF4-FFF2-40B4-BE49-F238E27FC236}">
                <a16:creationId xmlns:a16="http://schemas.microsoft.com/office/drawing/2014/main" id="{9B858F97-BE3A-4220-9F45-2F755CEEB598}"/>
              </a:ext>
            </a:extLst>
          </p:cNvPr>
          <p:cNvSpPr/>
          <p:nvPr/>
        </p:nvSpPr>
        <p:spPr>
          <a:xfrm>
            <a:off x="3045939" y="2462668"/>
            <a:ext cx="1540618" cy="301013"/>
          </a:xfrm>
          <a:prstGeom prst="rect">
            <a:avLst/>
          </a:prstGeom>
          <a:solidFill>
            <a:srgbClr val="8F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Python</a:t>
            </a:r>
          </a:p>
        </p:txBody>
      </p:sp>
      <p:sp>
        <p:nvSpPr>
          <p:cNvPr id="17" name="Rectangle 16">
            <a:extLst>
              <a:ext uri="{FF2B5EF4-FFF2-40B4-BE49-F238E27FC236}">
                <a16:creationId xmlns:a16="http://schemas.microsoft.com/office/drawing/2014/main" id="{AF270F12-80B4-46C5-B623-D8A88944B5FB}"/>
              </a:ext>
            </a:extLst>
          </p:cNvPr>
          <p:cNvSpPr/>
          <p:nvPr/>
        </p:nvSpPr>
        <p:spPr>
          <a:xfrm>
            <a:off x="3045939" y="2030872"/>
            <a:ext cx="1540618" cy="301013"/>
          </a:xfrm>
          <a:prstGeom prst="rect">
            <a:avLst/>
          </a:prstGeom>
          <a:solidFill>
            <a:srgbClr val="8F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R</a:t>
            </a:r>
          </a:p>
        </p:txBody>
      </p:sp>
      <p:sp>
        <p:nvSpPr>
          <p:cNvPr id="18" name="Rectangle 17">
            <a:extLst>
              <a:ext uri="{FF2B5EF4-FFF2-40B4-BE49-F238E27FC236}">
                <a16:creationId xmlns:a16="http://schemas.microsoft.com/office/drawing/2014/main" id="{E65EFEAF-039F-4230-AE1D-28970AE49490}"/>
              </a:ext>
            </a:extLst>
          </p:cNvPr>
          <p:cNvSpPr/>
          <p:nvPr/>
        </p:nvSpPr>
        <p:spPr>
          <a:xfrm>
            <a:off x="7218910" y="3833084"/>
            <a:ext cx="4577106" cy="487129"/>
          </a:xfrm>
          <a:prstGeom prst="rect">
            <a:avLst/>
          </a:prstGeom>
          <a:solidFill>
            <a:srgbClr val="C10B7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U-SQL / Artificial Intelligence</a:t>
            </a:r>
          </a:p>
        </p:txBody>
      </p:sp>
      <p:sp>
        <p:nvSpPr>
          <p:cNvPr id="19" name="Rectangle 18">
            <a:extLst>
              <a:ext uri="{FF2B5EF4-FFF2-40B4-BE49-F238E27FC236}">
                <a16:creationId xmlns:a16="http://schemas.microsoft.com/office/drawing/2014/main" id="{ADDE14BD-EE29-4A2C-96E9-DCD09A3971CD}"/>
              </a:ext>
            </a:extLst>
          </p:cNvPr>
          <p:cNvSpPr/>
          <p:nvPr/>
        </p:nvSpPr>
        <p:spPr>
          <a:xfrm>
            <a:off x="7218910" y="1865706"/>
            <a:ext cx="2380990" cy="1842477"/>
          </a:xfrm>
          <a:prstGeom prst="rect">
            <a:avLst/>
          </a:prstGeom>
          <a:solidFill>
            <a:srgbClr val="C10B7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b"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U-SQL/Cognitive</a:t>
            </a:r>
          </a:p>
        </p:txBody>
      </p:sp>
      <p:sp>
        <p:nvSpPr>
          <p:cNvPr id="25" name="Rectangle 24">
            <a:extLst>
              <a:ext uri="{FF2B5EF4-FFF2-40B4-BE49-F238E27FC236}">
                <a16:creationId xmlns:a16="http://schemas.microsoft.com/office/drawing/2014/main" id="{AC598974-BB83-48C4-8177-4F258D14706A}"/>
              </a:ext>
            </a:extLst>
          </p:cNvPr>
          <p:cNvSpPr/>
          <p:nvPr/>
        </p:nvSpPr>
        <p:spPr>
          <a:xfrm>
            <a:off x="809128" y="2880185"/>
            <a:ext cx="1555763" cy="301013"/>
          </a:xfrm>
          <a:prstGeom prst="rect">
            <a:avLst/>
          </a:prstGeom>
          <a:solidFill>
            <a:srgbClr val="8F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C#</a:t>
            </a:r>
          </a:p>
        </p:txBody>
      </p:sp>
      <p:sp>
        <p:nvSpPr>
          <p:cNvPr id="26" name="Rectangle 25">
            <a:extLst>
              <a:ext uri="{FF2B5EF4-FFF2-40B4-BE49-F238E27FC236}">
                <a16:creationId xmlns:a16="http://schemas.microsoft.com/office/drawing/2014/main" id="{42E8F683-8405-4316-BCD9-BA25C5C1A61E}"/>
              </a:ext>
            </a:extLst>
          </p:cNvPr>
          <p:cNvSpPr/>
          <p:nvPr/>
        </p:nvSpPr>
        <p:spPr>
          <a:xfrm>
            <a:off x="7589325" y="2474300"/>
            <a:ext cx="1636823" cy="301013"/>
          </a:xfrm>
          <a:prstGeom prst="rect">
            <a:avLst/>
          </a:prstGeom>
          <a:solidFill>
            <a:srgbClr val="4C216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Images</a:t>
            </a:r>
          </a:p>
        </p:txBody>
      </p:sp>
      <p:sp>
        <p:nvSpPr>
          <p:cNvPr id="27" name="Rectangle 26">
            <a:extLst>
              <a:ext uri="{FF2B5EF4-FFF2-40B4-BE49-F238E27FC236}">
                <a16:creationId xmlns:a16="http://schemas.microsoft.com/office/drawing/2014/main" id="{51F7401D-65B1-41D9-8F1B-856CAE539246}"/>
              </a:ext>
            </a:extLst>
          </p:cNvPr>
          <p:cNvSpPr/>
          <p:nvPr/>
        </p:nvSpPr>
        <p:spPr>
          <a:xfrm>
            <a:off x="7589325" y="2042504"/>
            <a:ext cx="1636823" cy="301013"/>
          </a:xfrm>
          <a:prstGeom prst="rect">
            <a:avLst/>
          </a:prstGeom>
          <a:solidFill>
            <a:srgbClr val="4C216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Text</a:t>
            </a:r>
          </a:p>
        </p:txBody>
      </p:sp>
      <p:sp>
        <p:nvSpPr>
          <p:cNvPr id="28" name="Rectangle 27">
            <a:extLst>
              <a:ext uri="{FF2B5EF4-FFF2-40B4-BE49-F238E27FC236}">
                <a16:creationId xmlns:a16="http://schemas.microsoft.com/office/drawing/2014/main" id="{7A150C82-EC79-4DCA-A0DB-FA31CF39F01C}"/>
              </a:ext>
            </a:extLst>
          </p:cNvPr>
          <p:cNvSpPr/>
          <p:nvPr/>
        </p:nvSpPr>
        <p:spPr>
          <a:xfrm>
            <a:off x="606585" y="1046948"/>
            <a:ext cx="6366569" cy="713887"/>
          </a:xfrm>
          <a:prstGeom prst="rect">
            <a:avLst/>
          </a:prstGeom>
          <a:solidFill>
            <a:srgbClr val="1D93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3</a:t>
            </a:r>
            <a:r>
              <a:rPr kumimoji="0" lang="en-US" sz="1800" b="0" i="0" u="none" strike="noStrike" kern="1200" cap="none" spc="0" normalizeH="0" baseline="30000" noProof="0">
                <a:ln>
                  <a:noFill/>
                </a:ln>
                <a:solidFill>
                  <a:prstClr val="white"/>
                </a:solidFill>
                <a:effectLst/>
                <a:uLnTx/>
                <a:uFillTx/>
                <a:latin typeface="Segoe UI" panose="020B0502040204020203" pitchFamily="34" charset="0"/>
                <a:ea typeface="+mn-ea"/>
                <a:cs typeface="Segoe UI" panose="020B0502040204020203" pitchFamily="34" charset="0"/>
              </a:rPr>
              <a:t>rd</a:t>
            </a: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party libraries for text processing, geospatial, imaging, ML, etc.</a:t>
            </a:r>
          </a:p>
        </p:txBody>
      </p:sp>
      <p:sp>
        <p:nvSpPr>
          <p:cNvPr id="38" name="Rectangle 37">
            <a:extLst>
              <a:ext uri="{FF2B5EF4-FFF2-40B4-BE49-F238E27FC236}">
                <a16:creationId xmlns:a16="http://schemas.microsoft.com/office/drawing/2014/main" id="{3592DCAA-B623-47A5-A96F-A85D7665D10F}"/>
              </a:ext>
            </a:extLst>
          </p:cNvPr>
          <p:cNvSpPr/>
          <p:nvPr/>
        </p:nvSpPr>
        <p:spPr>
          <a:xfrm>
            <a:off x="5036116" y="1844361"/>
            <a:ext cx="1925849" cy="1842477"/>
          </a:xfrm>
          <a:prstGeom prst="rect">
            <a:avLst/>
          </a:prstGeom>
          <a:solidFill>
            <a:schemeClr val="bg1">
              <a:lumMod val="85000"/>
            </a:schemeClr>
          </a:solidFill>
          <a:ln w="3810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Future Platform support</a:t>
            </a:r>
          </a:p>
        </p:txBody>
      </p:sp>
      <p:sp>
        <p:nvSpPr>
          <p:cNvPr id="29" name="Rectangle 28">
            <a:extLst>
              <a:ext uri="{FF2B5EF4-FFF2-40B4-BE49-F238E27FC236}">
                <a16:creationId xmlns:a16="http://schemas.microsoft.com/office/drawing/2014/main" id="{74ADF602-53BB-4860-A38D-6512218955A0}"/>
              </a:ext>
            </a:extLst>
          </p:cNvPr>
          <p:cNvSpPr/>
          <p:nvPr/>
        </p:nvSpPr>
        <p:spPr>
          <a:xfrm>
            <a:off x="640458" y="4446215"/>
            <a:ext cx="11171931" cy="629553"/>
          </a:xfrm>
          <a:prstGeom prst="rect">
            <a:avLst/>
          </a:prstGeom>
          <a:solidFill>
            <a:srgbClr val="ED1B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U-SQL/Core</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language, compiler, optimizer, runtime, data-parallel execution framework</a:t>
            </a:r>
          </a:p>
        </p:txBody>
      </p:sp>
      <p:grpSp>
        <p:nvGrpSpPr>
          <p:cNvPr id="30" name="Group 29">
            <a:extLst>
              <a:ext uri="{FF2B5EF4-FFF2-40B4-BE49-F238E27FC236}">
                <a16:creationId xmlns:a16="http://schemas.microsoft.com/office/drawing/2014/main" id="{36E2E997-1EB0-4505-BAC9-74F8733A52CD}"/>
              </a:ext>
            </a:extLst>
          </p:cNvPr>
          <p:cNvGrpSpPr/>
          <p:nvPr/>
        </p:nvGrpSpPr>
        <p:grpSpPr>
          <a:xfrm>
            <a:off x="3004686" y="5431847"/>
            <a:ext cx="6427103" cy="617702"/>
            <a:chOff x="2853322" y="5431847"/>
            <a:chExt cx="7069813" cy="617702"/>
          </a:xfrm>
        </p:grpSpPr>
        <p:sp>
          <p:nvSpPr>
            <p:cNvPr id="31" name="Rectangle 30">
              <a:extLst>
                <a:ext uri="{FF2B5EF4-FFF2-40B4-BE49-F238E27FC236}">
                  <a16:creationId xmlns:a16="http://schemas.microsoft.com/office/drawing/2014/main" id="{1876695C-1714-4E2D-871B-3CB24CCBEA53}"/>
                </a:ext>
              </a:extLst>
            </p:cNvPr>
            <p:cNvSpPr/>
            <p:nvPr/>
          </p:nvSpPr>
          <p:spPr>
            <a:xfrm>
              <a:off x="2853322" y="5431847"/>
              <a:ext cx="3280355" cy="61770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Resource Management</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YARN++)</a:t>
              </a:r>
            </a:p>
          </p:txBody>
        </p:sp>
        <p:sp>
          <p:nvSpPr>
            <p:cNvPr id="32" name="Rectangle 31">
              <a:extLst>
                <a:ext uri="{FF2B5EF4-FFF2-40B4-BE49-F238E27FC236}">
                  <a16:creationId xmlns:a16="http://schemas.microsoft.com/office/drawing/2014/main" id="{1F54A1CE-7ED3-4096-AA2D-AC6BBC97264E}"/>
                </a:ext>
              </a:extLst>
            </p:cNvPr>
            <p:cNvSpPr/>
            <p:nvPr/>
          </p:nvSpPr>
          <p:spPr>
            <a:xfrm>
              <a:off x="6642780" y="5431847"/>
              <a:ext cx="3280355" cy="61770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High-bandwidth Storage</a:t>
              </a:r>
            </a:p>
          </p:txBody>
        </p:sp>
      </p:grpSp>
    </p:spTree>
    <p:extLst>
      <p:ext uri="{BB962C8B-B14F-4D97-AF65-F5344CB8AC3E}">
        <p14:creationId xmlns:p14="http://schemas.microsoft.com/office/powerpoint/2010/main" val="25334604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858D3C33-0FA7-4AB0-816D-DDBCEB3299B6}"/>
              </a:ext>
            </a:extLst>
          </p:cNvPr>
          <p:cNvSpPr/>
          <p:nvPr/>
        </p:nvSpPr>
        <p:spPr>
          <a:xfrm>
            <a:off x="1982086" y="208651"/>
            <a:ext cx="8472303" cy="5926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Azure Data Lake Platform Overview (Batch)</a:t>
            </a:r>
          </a:p>
        </p:txBody>
      </p:sp>
      <p:sp>
        <p:nvSpPr>
          <p:cNvPr id="20" name="Rectangle 19">
            <a:extLst>
              <a:ext uri="{FF2B5EF4-FFF2-40B4-BE49-F238E27FC236}">
                <a16:creationId xmlns:a16="http://schemas.microsoft.com/office/drawing/2014/main" id="{CA1F3065-2048-4E9D-803D-7454BFF94BB7}"/>
              </a:ext>
            </a:extLst>
          </p:cNvPr>
          <p:cNvSpPr/>
          <p:nvPr/>
        </p:nvSpPr>
        <p:spPr>
          <a:xfrm>
            <a:off x="9831826" y="1865706"/>
            <a:ext cx="1964188" cy="1842477"/>
          </a:xfrm>
          <a:prstGeom prst="rect">
            <a:avLst/>
          </a:prstGeom>
          <a:solidFill>
            <a:srgbClr val="C10B7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b"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U-SQL/ML</a:t>
            </a:r>
          </a:p>
        </p:txBody>
      </p:sp>
      <p:sp>
        <p:nvSpPr>
          <p:cNvPr id="8" name="Rectangle 7">
            <a:extLst>
              <a:ext uri="{FF2B5EF4-FFF2-40B4-BE49-F238E27FC236}">
                <a16:creationId xmlns:a16="http://schemas.microsoft.com/office/drawing/2014/main" id="{4A5C30D1-C02F-45A9-90C1-CAFC6DE1F257}"/>
              </a:ext>
            </a:extLst>
          </p:cNvPr>
          <p:cNvSpPr/>
          <p:nvPr/>
        </p:nvSpPr>
        <p:spPr>
          <a:xfrm>
            <a:off x="624085" y="1865706"/>
            <a:ext cx="1925849" cy="1842477"/>
          </a:xfrm>
          <a:prstGeom prst="rect">
            <a:avLst/>
          </a:prstGeom>
          <a:solidFill>
            <a:srgbClr val="ED1B4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b"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NET</a:t>
            </a:r>
          </a:p>
        </p:txBody>
      </p:sp>
      <p:sp>
        <p:nvSpPr>
          <p:cNvPr id="10" name="Rectangle 9">
            <a:extLst>
              <a:ext uri="{FF2B5EF4-FFF2-40B4-BE49-F238E27FC236}">
                <a16:creationId xmlns:a16="http://schemas.microsoft.com/office/drawing/2014/main" id="{DE72EF37-858D-4C56-8CA2-C0F4615BAC48}"/>
              </a:ext>
            </a:extLst>
          </p:cNvPr>
          <p:cNvSpPr/>
          <p:nvPr/>
        </p:nvSpPr>
        <p:spPr>
          <a:xfrm>
            <a:off x="2853322" y="1854074"/>
            <a:ext cx="1925849" cy="1842477"/>
          </a:xfrm>
          <a:prstGeom prst="rect">
            <a:avLst/>
          </a:prstGeom>
          <a:solidFill>
            <a:srgbClr val="ED1B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cripting</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Runtimes</a:t>
            </a:r>
          </a:p>
        </p:txBody>
      </p:sp>
      <p:sp>
        <p:nvSpPr>
          <p:cNvPr id="5" name="Rectangle 4">
            <a:extLst>
              <a:ext uri="{FF2B5EF4-FFF2-40B4-BE49-F238E27FC236}">
                <a16:creationId xmlns:a16="http://schemas.microsoft.com/office/drawing/2014/main" id="{C11C4D05-1859-419D-BB25-BB7DC8BCCFED}"/>
              </a:ext>
            </a:extLst>
          </p:cNvPr>
          <p:cNvSpPr/>
          <p:nvPr/>
        </p:nvSpPr>
        <p:spPr>
          <a:xfrm>
            <a:off x="640458" y="4446215"/>
            <a:ext cx="11171931" cy="629553"/>
          </a:xfrm>
          <a:prstGeom prst="rect">
            <a:avLst/>
          </a:prstGeom>
          <a:solidFill>
            <a:srgbClr val="ED1B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U-SQL/Core</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language, compiler, optimizer, runtime, data-parallel execution framework</a:t>
            </a:r>
          </a:p>
        </p:txBody>
      </p:sp>
      <p:sp>
        <p:nvSpPr>
          <p:cNvPr id="6" name="Rectangle 5">
            <a:extLst>
              <a:ext uri="{FF2B5EF4-FFF2-40B4-BE49-F238E27FC236}">
                <a16:creationId xmlns:a16="http://schemas.microsoft.com/office/drawing/2014/main" id="{D6A6A24A-7266-4F33-8F11-31008839D684}"/>
              </a:ext>
            </a:extLst>
          </p:cNvPr>
          <p:cNvSpPr/>
          <p:nvPr/>
        </p:nvSpPr>
        <p:spPr>
          <a:xfrm>
            <a:off x="624083" y="5194469"/>
            <a:ext cx="11171933" cy="1228841"/>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ata Lake Platform</a:t>
            </a:r>
          </a:p>
        </p:txBody>
      </p:sp>
      <p:sp>
        <p:nvSpPr>
          <p:cNvPr id="7" name="Rectangle 6">
            <a:extLst>
              <a:ext uri="{FF2B5EF4-FFF2-40B4-BE49-F238E27FC236}">
                <a16:creationId xmlns:a16="http://schemas.microsoft.com/office/drawing/2014/main" id="{4646EABD-4BB3-4309-8DED-421F706B4170}"/>
              </a:ext>
            </a:extLst>
          </p:cNvPr>
          <p:cNvSpPr/>
          <p:nvPr/>
        </p:nvSpPr>
        <p:spPr>
          <a:xfrm>
            <a:off x="624085" y="3833084"/>
            <a:ext cx="6349069" cy="487129"/>
          </a:xfrm>
          <a:prstGeom prst="rect">
            <a:avLst/>
          </a:prstGeom>
          <a:solidFill>
            <a:srgbClr val="ED1B4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U-SQL / Extensibility</a:t>
            </a:r>
          </a:p>
        </p:txBody>
      </p:sp>
      <p:sp>
        <p:nvSpPr>
          <p:cNvPr id="12" name="Rectangle 11">
            <a:extLst>
              <a:ext uri="{FF2B5EF4-FFF2-40B4-BE49-F238E27FC236}">
                <a16:creationId xmlns:a16="http://schemas.microsoft.com/office/drawing/2014/main" id="{F6A36B1F-F4A1-47E8-B55A-99A40543B178}"/>
              </a:ext>
            </a:extLst>
          </p:cNvPr>
          <p:cNvSpPr/>
          <p:nvPr/>
        </p:nvSpPr>
        <p:spPr>
          <a:xfrm>
            <a:off x="809128" y="2474300"/>
            <a:ext cx="1555763" cy="301013"/>
          </a:xfrm>
          <a:prstGeom prst="rect">
            <a:avLst/>
          </a:prstGeom>
          <a:solidFill>
            <a:srgbClr val="8F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F#</a:t>
            </a:r>
          </a:p>
        </p:txBody>
      </p:sp>
      <p:sp>
        <p:nvSpPr>
          <p:cNvPr id="13" name="Rectangle 12">
            <a:extLst>
              <a:ext uri="{FF2B5EF4-FFF2-40B4-BE49-F238E27FC236}">
                <a16:creationId xmlns:a16="http://schemas.microsoft.com/office/drawing/2014/main" id="{31844017-06F0-430E-8213-8F9F61E1F658}"/>
              </a:ext>
            </a:extLst>
          </p:cNvPr>
          <p:cNvSpPr/>
          <p:nvPr/>
        </p:nvSpPr>
        <p:spPr>
          <a:xfrm>
            <a:off x="809128" y="2042504"/>
            <a:ext cx="1555763" cy="301013"/>
          </a:xfrm>
          <a:prstGeom prst="rect">
            <a:avLst/>
          </a:prstGeom>
          <a:solidFill>
            <a:srgbClr val="8F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VB.NET</a:t>
            </a:r>
          </a:p>
        </p:txBody>
      </p:sp>
      <p:sp>
        <p:nvSpPr>
          <p:cNvPr id="16" name="Rectangle 15">
            <a:extLst>
              <a:ext uri="{FF2B5EF4-FFF2-40B4-BE49-F238E27FC236}">
                <a16:creationId xmlns:a16="http://schemas.microsoft.com/office/drawing/2014/main" id="{9B858F97-BE3A-4220-9F45-2F755CEEB598}"/>
              </a:ext>
            </a:extLst>
          </p:cNvPr>
          <p:cNvSpPr/>
          <p:nvPr/>
        </p:nvSpPr>
        <p:spPr>
          <a:xfrm>
            <a:off x="3045939" y="2462668"/>
            <a:ext cx="1540618" cy="301013"/>
          </a:xfrm>
          <a:prstGeom prst="rect">
            <a:avLst/>
          </a:prstGeom>
          <a:solidFill>
            <a:srgbClr val="8F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Python</a:t>
            </a:r>
          </a:p>
        </p:txBody>
      </p:sp>
      <p:sp>
        <p:nvSpPr>
          <p:cNvPr id="17" name="Rectangle 16">
            <a:extLst>
              <a:ext uri="{FF2B5EF4-FFF2-40B4-BE49-F238E27FC236}">
                <a16:creationId xmlns:a16="http://schemas.microsoft.com/office/drawing/2014/main" id="{AF270F12-80B4-46C5-B623-D8A88944B5FB}"/>
              </a:ext>
            </a:extLst>
          </p:cNvPr>
          <p:cNvSpPr/>
          <p:nvPr/>
        </p:nvSpPr>
        <p:spPr>
          <a:xfrm>
            <a:off x="3045939" y="2030872"/>
            <a:ext cx="1540618" cy="301013"/>
          </a:xfrm>
          <a:prstGeom prst="rect">
            <a:avLst/>
          </a:prstGeom>
          <a:solidFill>
            <a:srgbClr val="8F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R</a:t>
            </a:r>
          </a:p>
        </p:txBody>
      </p:sp>
      <p:sp>
        <p:nvSpPr>
          <p:cNvPr id="18" name="Rectangle 17">
            <a:extLst>
              <a:ext uri="{FF2B5EF4-FFF2-40B4-BE49-F238E27FC236}">
                <a16:creationId xmlns:a16="http://schemas.microsoft.com/office/drawing/2014/main" id="{E65EFEAF-039F-4230-AE1D-28970AE49490}"/>
              </a:ext>
            </a:extLst>
          </p:cNvPr>
          <p:cNvSpPr/>
          <p:nvPr/>
        </p:nvSpPr>
        <p:spPr>
          <a:xfrm>
            <a:off x="7218910" y="3833084"/>
            <a:ext cx="4577106" cy="487129"/>
          </a:xfrm>
          <a:prstGeom prst="rect">
            <a:avLst/>
          </a:prstGeom>
          <a:solidFill>
            <a:srgbClr val="C10B7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U-SQL / Artificial Intelligence</a:t>
            </a:r>
          </a:p>
        </p:txBody>
      </p:sp>
      <p:sp>
        <p:nvSpPr>
          <p:cNvPr id="19" name="Rectangle 18">
            <a:extLst>
              <a:ext uri="{FF2B5EF4-FFF2-40B4-BE49-F238E27FC236}">
                <a16:creationId xmlns:a16="http://schemas.microsoft.com/office/drawing/2014/main" id="{ADDE14BD-EE29-4A2C-96E9-DCD09A3971CD}"/>
              </a:ext>
            </a:extLst>
          </p:cNvPr>
          <p:cNvSpPr/>
          <p:nvPr/>
        </p:nvSpPr>
        <p:spPr>
          <a:xfrm>
            <a:off x="7218910" y="1865706"/>
            <a:ext cx="2380990" cy="1842477"/>
          </a:xfrm>
          <a:prstGeom prst="rect">
            <a:avLst/>
          </a:prstGeom>
          <a:solidFill>
            <a:srgbClr val="C10B7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b"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U-SQL/Cognitive</a:t>
            </a:r>
          </a:p>
        </p:txBody>
      </p:sp>
      <p:sp>
        <p:nvSpPr>
          <p:cNvPr id="21" name="Rectangle 20">
            <a:extLst>
              <a:ext uri="{FF2B5EF4-FFF2-40B4-BE49-F238E27FC236}">
                <a16:creationId xmlns:a16="http://schemas.microsoft.com/office/drawing/2014/main" id="{8C31C142-FD9D-4767-BFDC-7AAD355311CA}"/>
              </a:ext>
            </a:extLst>
          </p:cNvPr>
          <p:cNvSpPr/>
          <p:nvPr/>
        </p:nvSpPr>
        <p:spPr>
          <a:xfrm>
            <a:off x="9969480" y="2880185"/>
            <a:ext cx="1636823" cy="301013"/>
          </a:xfrm>
          <a:prstGeom prst="rect">
            <a:avLst/>
          </a:prstGeom>
          <a:solidFill>
            <a:srgbClr val="4C216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solidFill>
                  <a:prstClr val="white"/>
                </a:solidFill>
                <a:effectLst/>
                <a:uLnTx/>
                <a:uFillTx/>
                <a:latin typeface="Segoe UI" panose="020B0502040204020203" pitchFamily="34" charset="0"/>
                <a:ea typeface="+mn-ea"/>
                <a:cs typeface="Segoe UI" panose="020B0502040204020203" pitchFamily="34" charset="0"/>
              </a:rPr>
              <a:t>AzureML</a:t>
            </a:r>
            <a:endPar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2" name="Rectangle 21">
            <a:extLst>
              <a:ext uri="{FF2B5EF4-FFF2-40B4-BE49-F238E27FC236}">
                <a16:creationId xmlns:a16="http://schemas.microsoft.com/office/drawing/2014/main" id="{25B6DD66-1FF7-49C9-9444-2488768F20D8}"/>
              </a:ext>
            </a:extLst>
          </p:cNvPr>
          <p:cNvSpPr/>
          <p:nvPr/>
        </p:nvSpPr>
        <p:spPr>
          <a:xfrm>
            <a:off x="9986996" y="2474300"/>
            <a:ext cx="1636823" cy="301013"/>
          </a:xfrm>
          <a:prstGeom prst="rect">
            <a:avLst/>
          </a:prstGeom>
          <a:solidFill>
            <a:srgbClr val="4C216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TLC++</a:t>
            </a:r>
          </a:p>
        </p:txBody>
      </p:sp>
      <p:sp>
        <p:nvSpPr>
          <p:cNvPr id="23" name="Rectangle 22">
            <a:extLst>
              <a:ext uri="{FF2B5EF4-FFF2-40B4-BE49-F238E27FC236}">
                <a16:creationId xmlns:a16="http://schemas.microsoft.com/office/drawing/2014/main" id="{28B2A8E5-EA67-46B0-B53D-2A8DEBFD8E1A}"/>
              </a:ext>
            </a:extLst>
          </p:cNvPr>
          <p:cNvSpPr/>
          <p:nvPr/>
        </p:nvSpPr>
        <p:spPr>
          <a:xfrm>
            <a:off x="10004512" y="2042504"/>
            <a:ext cx="1636823" cy="301013"/>
          </a:xfrm>
          <a:prstGeom prst="rect">
            <a:avLst/>
          </a:prstGeom>
          <a:solidFill>
            <a:srgbClr val="4C216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solidFill>
                  <a:prstClr val="white"/>
                </a:solidFill>
                <a:effectLst/>
                <a:uLnTx/>
                <a:uFillTx/>
                <a:latin typeface="Segoe UI" panose="020B0502040204020203" pitchFamily="34" charset="0"/>
                <a:ea typeface="+mn-ea"/>
                <a:cs typeface="Segoe UI" panose="020B0502040204020203" pitchFamily="34" charset="0"/>
              </a:rPr>
              <a:t>SparkML</a:t>
            </a:r>
            <a:endPar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5" name="Rectangle 24">
            <a:extLst>
              <a:ext uri="{FF2B5EF4-FFF2-40B4-BE49-F238E27FC236}">
                <a16:creationId xmlns:a16="http://schemas.microsoft.com/office/drawing/2014/main" id="{AC598974-BB83-48C4-8177-4F258D14706A}"/>
              </a:ext>
            </a:extLst>
          </p:cNvPr>
          <p:cNvSpPr/>
          <p:nvPr/>
        </p:nvSpPr>
        <p:spPr>
          <a:xfrm>
            <a:off x="809128" y="2880185"/>
            <a:ext cx="1555763" cy="301013"/>
          </a:xfrm>
          <a:prstGeom prst="rect">
            <a:avLst/>
          </a:prstGeom>
          <a:solidFill>
            <a:srgbClr val="8F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C#</a:t>
            </a:r>
          </a:p>
        </p:txBody>
      </p:sp>
      <p:sp>
        <p:nvSpPr>
          <p:cNvPr id="26" name="Rectangle 25">
            <a:extLst>
              <a:ext uri="{FF2B5EF4-FFF2-40B4-BE49-F238E27FC236}">
                <a16:creationId xmlns:a16="http://schemas.microsoft.com/office/drawing/2014/main" id="{42E8F683-8405-4316-BCD9-BA25C5C1A61E}"/>
              </a:ext>
            </a:extLst>
          </p:cNvPr>
          <p:cNvSpPr/>
          <p:nvPr/>
        </p:nvSpPr>
        <p:spPr>
          <a:xfrm>
            <a:off x="7589325" y="2474300"/>
            <a:ext cx="1636823" cy="301013"/>
          </a:xfrm>
          <a:prstGeom prst="rect">
            <a:avLst/>
          </a:prstGeom>
          <a:solidFill>
            <a:srgbClr val="4C216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Images</a:t>
            </a:r>
          </a:p>
        </p:txBody>
      </p:sp>
      <p:sp>
        <p:nvSpPr>
          <p:cNvPr id="27" name="Rectangle 26">
            <a:extLst>
              <a:ext uri="{FF2B5EF4-FFF2-40B4-BE49-F238E27FC236}">
                <a16:creationId xmlns:a16="http://schemas.microsoft.com/office/drawing/2014/main" id="{51F7401D-65B1-41D9-8F1B-856CAE539246}"/>
              </a:ext>
            </a:extLst>
          </p:cNvPr>
          <p:cNvSpPr/>
          <p:nvPr/>
        </p:nvSpPr>
        <p:spPr>
          <a:xfrm>
            <a:off x="7589325" y="2042504"/>
            <a:ext cx="1636823" cy="301013"/>
          </a:xfrm>
          <a:prstGeom prst="rect">
            <a:avLst/>
          </a:prstGeom>
          <a:solidFill>
            <a:srgbClr val="4C216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Text</a:t>
            </a:r>
          </a:p>
        </p:txBody>
      </p:sp>
      <p:sp>
        <p:nvSpPr>
          <p:cNvPr id="28" name="Rectangle 27">
            <a:extLst>
              <a:ext uri="{FF2B5EF4-FFF2-40B4-BE49-F238E27FC236}">
                <a16:creationId xmlns:a16="http://schemas.microsoft.com/office/drawing/2014/main" id="{7A150C82-EC79-4DCA-A0DB-FA31CF39F01C}"/>
              </a:ext>
            </a:extLst>
          </p:cNvPr>
          <p:cNvSpPr/>
          <p:nvPr/>
        </p:nvSpPr>
        <p:spPr>
          <a:xfrm>
            <a:off x="606585" y="1046948"/>
            <a:ext cx="6366569" cy="713887"/>
          </a:xfrm>
          <a:prstGeom prst="rect">
            <a:avLst/>
          </a:prstGeom>
          <a:solidFill>
            <a:srgbClr val="1D93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3</a:t>
            </a:r>
            <a:r>
              <a:rPr kumimoji="0" lang="en-US" sz="1800" b="0" i="0" u="none" strike="noStrike" kern="1200" cap="none" spc="0" normalizeH="0" baseline="30000" noProof="0">
                <a:ln>
                  <a:noFill/>
                </a:ln>
                <a:solidFill>
                  <a:prstClr val="white"/>
                </a:solidFill>
                <a:effectLst/>
                <a:uLnTx/>
                <a:uFillTx/>
                <a:latin typeface="Segoe UI" panose="020B0502040204020203" pitchFamily="34" charset="0"/>
                <a:ea typeface="+mn-ea"/>
                <a:cs typeface="Segoe UI" panose="020B0502040204020203" pitchFamily="34" charset="0"/>
              </a:rPr>
              <a:t>rd</a:t>
            </a: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party libraries for text processing, geospatial, imaging, ML, etc.</a:t>
            </a:r>
          </a:p>
        </p:txBody>
      </p:sp>
      <p:sp>
        <p:nvSpPr>
          <p:cNvPr id="38" name="Rectangle 37">
            <a:extLst>
              <a:ext uri="{FF2B5EF4-FFF2-40B4-BE49-F238E27FC236}">
                <a16:creationId xmlns:a16="http://schemas.microsoft.com/office/drawing/2014/main" id="{3592DCAA-B623-47A5-A96F-A85D7665D10F}"/>
              </a:ext>
            </a:extLst>
          </p:cNvPr>
          <p:cNvSpPr/>
          <p:nvPr/>
        </p:nvSpPr>
        <p:spPr>
          <a:xfrm>
            <a:off x="5036116" y="1844361"/>
            <a:ext cx="1925849" cy="1842477"/>
          </a:xfrm>
          <a:prstGeom prst="rect">
            <a:avLst/>
          </a:prstGeom>
          <a:solidFill>
            <a:schemeClr val="bg1">
              <a:lumMod val="85000"/>
            </a:schemeClr>
          </a:solidFill>
          <a:ln w="3810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Future Platform support</a:t>
            </a:r>
          </a:p>
        </p:txBody>
      </p:sp>
      <p:grpSp>
        <p:nvGrpSpPr>
          <p:cNvPr id="2" name="Group 1">
            <a:extLst>
              <a:ext uri="{FF2B5EF4-FFF2-40B4-BE49-F238E27FC236}">
                <a16:creationId xmlns:a16="http://schemas.microsoft.com/office/drawing/2014/main" id="{218F91BB-831F-43D6-8922-79308D72EE94}"/>
              </a:ext>
            </a:extLst>
          </p:cNvPr>
          <p:cNvGrpSpPr/>
          <p:nvPr/>
        </p:nvGrpSpPr>
        <p:grpSpPr>
          <a:xfrm>
            <a:off x="3004686" y="5431847"/>
            <a:ext cx="6427103" cy="617702"/>
            <a:chOff x="2853322" y="5431847"/>
            <a:chExt cx="7069813" cy="617702"/>
          </a:xfrm>
        </p:grpSpPr>
        <p:sp>
          <p:nvSpPr>
            <p:cNvPr id="34" name="Rectangle 33">
              <a:extLst>
                <a:ext uri="{FF2B5EF4-FFF2-40B4-BE49-F238E27FC236}">
                  <a16:creationId xmlns:a16="http://schemas.microsoft.com/office/drawing/2014/main" id="{C1F766F4-FA23-4F63-AE01-061DFC11E0B9}"/>
                </a:ext>
              </a:extLst>
            </p:cNvPr>
            <p:cNvSpPr/>
            <p:nvPr/>
          </p:nvSpPr>
          <p:spPr>
            <a:xfrm>
              <a:off x="2853322" y="5431847"/>
              <a:ext cx="3280355" cy="61770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Resource Management</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YARN++)</a:t>
              </a:r>
            </a:p>
          </p:txBody>
        </p:sp>
        <p:sp>
          <p:nvSpPr>
            <p:cNvPr id="35" name="Rectangle 34">
              <a:extLst>
                <a:ext uri="{FF2B5EF4-FFF2-40B4-BE49-F238E27FC236}">
                  <a16:creationId xmlns:a16="http://schemas.microsoft.com/office/drawing/2014/main" id="{494BE5E8-3ECF-46EE-AEDB-E1C4E579BF24}"/>
                </a:ext>
              </a:extLst>
            </p:cNvPr>
            <p:cNvSpPr/>
            <p:nvPr/>
          </p:nvSpPr>
          <p:spPr>
            <a:xfrm>
              <a:off x="6642780" y="5431847"/>
              <a:ext cx="3280355" cy="61770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High-bandwidth Storage</a:t>
              </a:r>
            </a:p>
          </p:txBody>
        </p:sp>
      </p:grpSp>
    </p:spTree>
    <p:extLst>
      <p:ext uri="{BB962C8B-B14F-4D97-AF65-F5344CB8AC3E}">
        <p14:creationId xmlns:p14="http://schemas.microsoft.com/office/powerpoint/2010/main" val="196040880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CB37DBF-B185-4E2B-A5D2-137EA1F21305}"/>
              </a:ext>
            </a:extLst>
          </p:cNvPr>
          <p:cNvSpPr/>
          <p:nvPr/>
        </p:nvSpPr>
        <p:spPr>
          <a:xfrm>
            <a:off x="-1" y="1851360"/>
            <a:ext cx="5303847" cy="10058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marL="0" marR="0" lvl="0" indent="0" algn="l" defTabSz="777149"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 name="Rectangle 6"/>
          <p:cNvSpPr/>
          <p:nvPr/>
        </p:nvSpPr>
        <p:spPr>
          <a:xfrm>
            <a:off x="5029530" y="1577043"/>
            <a:ext cx="7406946" cy="264493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marL="342900" marR="0" lvl="0" indent="-342900" algn="l" defTabSz="7771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he </a:t>
            </a:r>
            <a:r>
              <a:rPr kumimoji="0" lang="en-US" sz="2800" b="1"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ransformation and preparation</a:t>
            </a:r>
            <a:r>
              <a:rPr kumimoji="0" lang="en-US" sz="2800" b="0"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 of data for use in other systems</a:t>
            </a:r>
          </a:p>
          <a:p>
            <a:pPr marL="342900" marR="0" lvl="0" indent="-342900" algn="l" defTabSz="7771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1"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assively Parallel programs</a:t>
            </a:r>
            <a:r>
              <a:rPr kumimoji="0" lang="en-US" sz="2800" b="0"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 using U-SQL with Python and R </a:t>
            </a:r>
          </a:p>
          <a:p>
            <a:pPr marL="342900" marR="0" lvl="0" indent="-342900" algn="l" defTabSz="7771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erform </a:t>
            </a:r>
            <a:r>
              <a:rPr kumimoji="0" lang="en-US" sz="2800" b="1"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ognition at Scale</a:t>
            </a:r>
            <a:endParaRPr kumimoji="0" lang="en-US" sz="2800" b="0"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2" name="Title 1"/>
          <p:cNvSpPr>
            <a:spLocks noGrp="1"/>
          </p:cNvSpPr>
          <p:nvPr>
            <p:ph type="title"/>
          </p:nvPr>
        </p:nvSpPr>
        <p:spPr/>
        <p:txBody>
          <a:bodyPr/>
          <a:lstStyle/>
          <a:p>
            <a:pPr algn="ctr"/>
            <a:r>
              <a:rPr lang="en-GB" dirty="0"/>
              <a:t>Analytics Workloads</a:t>
            </a:r>
          </a:p>
        </p:txBody>
      </p:sp>
      <p:sp>
        <p:nvSpPr>
          <p:cNvPr id="42" name="Rectangle 41"/>
          <p:cNvSpPr/>
          <p:nvPr/>
        </p:nvSpPr>
        <p:spPr>
          <a:xfrm>
            <a:off x="6235641" y="2125676"/>
            <a:ext cx="2896779" cy="32003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777149"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43" name="Rectangle 42"/>
          <p:cNvSpPr/>
          <p:nvPr/>
        </p:nvSpPr>
        <p:spPr>
          <a:xfrm>
            <a:off x="9075790" y="2125676"/>
            <a:ext cx="2896779" cy="32003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777149"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9" name="Rectangle 8">
            <a:extLst>
              <a:ext uri="{FF2B5EF4-FFF2-40B4-BE49-F238E27FC236}">
                <a16:creationId xmlns:a16="http://schemas.microsoft.com/office/drawing/2014/main" id="{F4B9E8A7-91FA-47E6-8907-8538C039086F}"/>
              </a:ext>
            </a:extLst>
          </p:cNvPr>
          <p:cNvSpPr/>
          <p:nvPr/>
        </p:nvSpPr>
        <p:spPr>
          <a:xfrm>
            <a:off x="194320" y="1851360"/>
            <a:ext cx="4692927" cy="41147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r" defTabSz="777149" rtl="0" eaLnBrk="1" fontAlgn="auto" latinLnBrk="0" hangingPunct="1">
              <a:lnSpc>
                <a:spcPct val="100000"/>
              </a:lnSpc>
              <a:spcBef>
                <a:spcPts val="0"/>
              </a:spcBef>
              <a:spcAft>
                <a:spcPts val="0"/>
              </a:spcAft>
              <a:buClrTx/>
              <a:buSzTx/>
              <a:buFontTx/>
              <a:buNone/>
              <a:tabLst/>
              <a:defRPr/>
            </a:pPr>
            <a:r>
              <a:rPr lang="en-US" sz="3200" kern="0" dirty="0">
                <a:solidFill>
                  <a:prstClr val="black"/>
                </a:solidFill>
                <a:latin typeface="Segoe UI"/>
                <a:cs typeface="Segoe UI Light" panose="020B0502040204020203" pitchFamily="34" charset="0"/>
              </a:rPr>
              <a:t>Batch</a:t>
            </a:r>
            <a:br>
              <a:rPr kumimoji="0" lang="en-US" sz="28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rPr>
            </a:br>
            <a:r>
              <a:rPr kumimoji="0" lang="en-US" sz="18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rPr>
              <a:t>AVAILABLE NOW</a:t>
            </a:r>
          </a:p>
          <a:p>
            <a:pPr marL="0" marR="0" lvl="0" indent="0" algn="r" defTabSz="777149"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endParaRPr>
          </a:p>
          <a:p>
            <a:pPr marL="0" marR="0" lvl="0" indent="0" algn="r" defTabSz="777149"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rPr>
              <a:t>Interactive</a:t>
            </a:r>
            <a:endParaRPr kumimoji="0" lang="en-US" sz="28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endParaRPr>
          </a:p>
          <a:p>
            <a:pPr marL="0" marR="0" lvl="0" indent="0" algn="r" defTabSz="777149"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rPr>
              <a:t>PUBLIC PREVIEW IN 2018</a:t>
            </a:r>
          </a:p>
          <a:p>
            <a:pPr marL="0" marR="0" lvl="0" indent="0" algn="r" defTabSz="777149"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endParaRPr>
          </a:p>
          <a:p>
            <a:pPr marL="0" marR="0" lvl="0" indent="0" algn="r" defTabSz="777149"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rPr>
              <a:t>Machine Learning</a:t>
            </a:r>
          </a:p>
          <a:p>
            <a:pPr marL="0" marR="0" lvl="0" indent="0" algn="r" defTabSz="777149"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rPr>
              <a:t>PUBLIC PREVIEW IN 2017</a:t>
            </a:r>
          </a:p>
          <a:p>
            <a:pPr marL="0" marR="0" lvl="0" indent="0" algn="r" defTabSz="777149"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endParaRPr>
          </a:p>
          <a:p>
            <a:pPr marL="0" marR="0" lvl="0" indent="0" algn="r" defTabSz="777149"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rPr>
              <a:t>Streaming Analytics</a:t>
            </a:r>
          </a:p>
          <a:p>
            <a:pPr marL="0" marR="0" lvl="0" indent="0" algn="r" defTabSz="777149"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rPr>
              <a:t>ON ROADMAP</a:t>
            </a:r>
          </a:p>
          <a:p>
            <a:pPr marL="0" marR="0" lvl="0" indent="0" algn="r" defTabSz="777149"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endParaRPr>
          </a:p>
        </p:txBody>
      </p:sp>
    </p:spTree>
    <p:extLst>
      <p:ext uri="{BB962C8B-B14F-4D97-AF65-F5344CB8AC3E}">
        <p14:creationId xmlns:p14="http://schemas.microsoft.com/office/powerpoint/2010/main" val="413007700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16D28EC-206B-4B02-BA90-17D2D1658AEC}"/>
              </a:ext>
            </a:extLst>
          </p:cNvPr>
          <p:cNvSpPr/>
          <p:nvPr/>
        </p:nvSpPr>
        <p:spPr>
          <a:xfrm>
            <a:off x="384" y="3040067"/>
            <a:ext cx="5212024" cy="12170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marL="0" marR="0" lvl="0" indent="0" algn="l" defTabSz="777149"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 name="Rectangle 6"/>
          <p:cNvSpPr/>
          <p:nvPr/>
        </p:nvSpPr>
        <p:spPr>
          <a:xfrm>
            <a:off x="5029530" y="2399669"/>
            <a:ext cx="7406945" cy="250355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marL="342900" marR="0" lvl="0" indent="-342900" algn="l" defTabSz="7771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1"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rue T-SQL </a:t>
            </a:r>
            <a:r>
              <a:rPr kumimoji="0" lang="en-US" sz="2800" b="0"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queries against massive datasets.</a:t>
            </a:r>
          </a:p>
          <a:p>
            <a:pPr marL="342900" marR="0" lvl="0" indent="-342900" algn="l" defTabSz="7771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cale-out of SQL Server Engine</a:t>
            </a:r>
          </a:p>
          <a:p>
            <a:pPr marL="342900" marR="0" lvl="0" indent="-342900" algn="l" defTabSz="7771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onnect directly with </a:t>
            </a:r>
            <a:r>
              <a:rPr kumimoji="0" lang="en-US" sz="2800" b="0" i="0" u="none" strike="noStrike" kern="0" cap="none" spc="0" normalizeH="0" baseline="0" noProof="0" dirty="0" err="1">
                <a:ln>
                  <a:noFill/>
                </a:ln>
                <a:solidFill>
                  <a:prstClr val="black"/>
                </a:solidFill>
                <a:effectLst/>
                <a:uLnTx/>
                <a:uFillTx/>
                <a:latin typeface="Segoe UI" panose="020B0502040204020203" pitchFamily="34" charset="0"/>
                <a:ea typeface="+mn-ea"/>
                <a:cs typeface="Segoe UI" panose="020B0502040204020203" pitchFamily="34" charset="0"/>
              </a:rPr>
              <a:t>PowerBI</a:t>
            </a:r>
            <a:r>
              <a:rPr kumimoji="0" lang="en-US" sz="2800" b="0"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 Excel, SQL Reporting Services, Tableau, etc.</a:t>
            </a:r>
          </a:p>
        </p:txBody>
      </p:sp>
      <p:sp>
        <p:nvSpPr>
          <p:cNvPr id="2" name="Title 1"/>
          <p:cNvSpPr>
            <a:spLocks noGrp="1"/>
          </p:cNvSpPr>
          <p:nvPr>
            <p:ph type="title"/>
          </p:nvPr>
        </p:nvSpPr>
        <p:spPr>
          <a:xfrm>
            <a:off x="194320" y="194292"/>
            <a:ext cx="12047836" cy="1513687"/>
          </a:xfrm>
        </p:spPr>
        <p:txBody>
          <a:bodyPr/>
          <a:lstStyle/>
          <a:p>
            <a:pPr algn="ctr"/>
            <a:r>
              <a:rPr lang="en-GB" dirty="0"/>
              <a:t>Analytics Workloads</a:t>
            </a:r>
          </a:p>
        </p:txBody>
      </p:sp>
      <p:sp>
        <p:nvSpPr>
          <p:cNvPr id="42" name="Rectangle 41"/>
          <p:cNvSpPr/>
          <p:nvPr/>
        </p:nvSpPr>
        <p:spPr>
          <a:xfrm>
            <a:off x="6235641" y="2125676"/>
            <a:ext cx="2896779" cy="32003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777149"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43" name="Rectangle 42"/>
          <p:cNvSpPr/>
          <p:nvPr/>
        </p:nvSpPr>
        <p:spPr>
          <a:xfrm>
            <a:off x="9075790" y="2125676"/>
            <a:ext cx="2896779" cy="32003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777149"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0" name="Rectangle 9">
            <a:extLst>
              <a:ext uri="{FF2B5EF4-FFF2-40B4-BE49-F238E27FC236}">
                <a16:creationId xmlns:a16="http://schemas.microsoft.com/office/drawing/2014/main" id="{E5596811-DB5F-4A74-A2FD-C29CF6EA3D9C}"/>
              </a:ext>
            </a:extLst>
          </p:cNvPr>
          <p:cNvSpPr/>
          <p:nvPr/>
        </p:nvSpPr>
        <p:spPr>
          <a:xfrm>
            <a:off x="194320" y="1851360"/>
            <a:ext cx="4692927" cy="41147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r" defTabSz="777149" rtl="0" eaLnBrk="1" fontAlgn="auto" latinLnBrk="0" hangingPunct="1">
              <a:lnSpc>
                <a:spcPct val="100000"/>
              </a:lnSpc>
              <a:spcBef>
                <a:spcPts val="0"/>
              </a:spcBef>
              <a:spcAft>
                <a:spcPts val="0"/>
              </a:spcAft>
              <a:buClrTx/>
              <a:buSzTx/>
              <a:buFontTx/>
              <a:buNone/>
              <a:tabLst/>
              <a:defRPr/>
            </a:pPr>
            <a:r>
              <a:rPr lang="en-US" sz="3200" kern="0" dirty="0">
                <a:solidFill>
                  <a:prstClr val="black"/>
                </a:solidFill>
                <a:latin typeface="Segoe UI"/>
                <a:cs typeface="Segoe UI Light" panose="020B0502040204020203" pitchFamily="34" charset="0"/>
              </a:rPr>
              <a:t>Batch</a:t>
            </a:r>
            <a:br>
              <a:rPr kumimoji="0" lang="en-US" sz="28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rPr>
            </a:br>
            <a:r>
              <a:rPr kumimoji="0" lang="en-US" sz="18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rPr>
              <a:t>AVAILABLE NOW</a:t>
            </a:r>
          </a:p>
          <a:p>
            <a:pPr marL="0" marR="0" lvl="0" indent="0" algn="r" defTabSz="777149"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endParaRPr>
          </a:p>
          <a:p>
            <a:pPr marL="0" marR="0" lvl="0" indent="0" algn="r" defTabSz="777149"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rPr>
              <a:t>Interactive</a:t>
            </a:r>
            <a:endParaRPr kumimoji="0" lang="en-US" sz="28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endParaRPr>
          </a:p>
          <a:p>
            <a:pPr marL="0" marR="0" lvl="0" indent="0" algn="r" defTabSz="777149"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rPr>
              <a:t>PUBLIC PREVIEW IN 2018</a:t>
            </a:r>
          </a:p>
          <a:p>
            <a:pPr marL="0" marR="0" lvl="0" indent="0" algn="r" defTabSz="777149"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endParaRPr>
          </a:p>
          <a:p>
            <a:pPr marL="0" marR="0" lvl="0" indent="0" algn="r" defTabSz="777149"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rPr>
              <a:t>Machine Learning</a:t>
            </a:r>
          </a:p>
          <a:p>
            <a:pPr marL="0" marR="0" lvl="0" indent="0" algn="r" defTabSz="777149"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rPr>
              <a:t>PUBLIC PREVIEW IN 2017</a:t>
            </a:r>
          </a:p>
          <a:p>
            <a:pPr marL="0" marR="0" lvl="0" indent="0" algn="r" defTabSz="777149"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endParaRPr>
          </a:p>
          <a:p>
            <a:pPr marL="0" marR="0" lvl="0" indent="0" algn="r" defTabSz="777149"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rPr>
              <a:t>Streaming Analytics</a:t>
            </a:r>
          </a:p>
          <a:p>
            <a:pPr marL="0" marR="0" lvl="0" indent="0" algn="r" defTabSz="777149"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rPr>
              <a:t>ON ROADMAP</a:t>
            </a:r>
          </a:p>
          <a:p>
            <a:pPr marL="0" marR="0" lvl="0" indent="0" algn="r" defTabSz="777149"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endParaRPr>
          </a:p>
        </p:txBody>
      </p:sp>
    </p:spTree>
    <p:extLst>
      <p:ext uri="{BB962C8B-B14F-4D97-AF65-F5344CB8AC3E}">
        <p14:creationId xmlns:p14="http://schemas.microsoft.com/office/powerpoint/2010/main" val="410110947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16D28EC-206B-4B02-BA90-17D2D1658AEC}"/>
              </a:ext>
            </a:extLst>
          </p:cNvPr>
          <p:cNvSpPr/>
          <p:nvPr/>
        </p:nvSpPr>
        <p:spPr>
          <a:xfrm>
            <a:off x="384" y="4137335"/>
            <a:ext cx="5212024" cy="12170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marL="0" marR="0" lvl="0" indent="0" algn="l" defTabSz="777149"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 name="Rectangle 6"/>
          <p:cNvSpPr/>
          <p:nvPr/>
        </p:nvSpPr>
        <p:spPr>
          <a:xfrm>
            <a:off x="5029530" y="3714187"/>
            <a:ext cx="7406945" cy="20690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marL="0" marR="0" lvl="0" indent="0" algn="l" defTabSz="777149"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rain models with …</a:t>
            </a:r>
          </a:p>
          <a:p>
            <a:pPr marL="457200" marR="0" lvl="0" indent="-457200" algn="l" defTabSz="7771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1" i="0" u="none" strike="noStrike" kern="0" cap="none" spc="0" normalizeH="0" baseline="0" noProof="0" dirty="0" err="1">
                <a:ln>
                  <a:noFill/>
                </a:ln>
                <a:solidFill>
                  <a:prstClr val="black"/>
                </a:solidFill>
                <a:effectLst/>
                <a:uLnTx/>
                <a:uFillTx/>
                <a:latin typeface="Segoe UI" panose="020B0502040204020203" pitchFamily="34" charset="0"/>
                <a:ea typeface="+mn-ea"/>
                <a:cs typeface="Segoe UI" panose="020B0502040204020203" pitchFamily="34" charset="0"/>
              </a:rPr>
              <a:t>SparkML</a:t>
            </a:r>
            <a:r>
              <a:rPr kumimoji="0" lang="en-US" sz="2800" b="0"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 algorithms</a:t>
            </a:r>
          </a:p>
          <a:p>
            <a:pPr marL="457200" marR="0" lvl="0" indent="-457200" algn="l" defTabSz="7771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1" i="0" u="none" strike="noStrike" kern="0" cap="none" spc="0" normalizeH="0" baseline="0" noProof="0" dirty="0" err="1">
                <a:ln>
                  <a:noFill/>
                </a:ln>
                <a:solidFill>
                  <a:prstClr val="black"/>
                </a:solidFill>
                <a:effectLst/>
                <a:uLnTx/>
                <a:uFillTx/>
                <a:latin typeface="Segoe UI" panose="020B0502040204020203" pitchFamily="34" charset="0"/>
                <a:ea typeface="+mn-ea"/>
                <a:cs typeface="Segoe UI" panose="020B0502040204020203" pitchFamily="34" charset="0"/>
              </a:rPr>
              <a:t>AzureML</a:t>
            </a:r>
            <a:r>
              <a:rPr kumimoji="0" lang="en-US" sz="2800" b="0"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 algorithms (one-box)</a:t>
            </a:r>
          </a:p>
          <a:p>
            <a:pPr marL="457200" marR="0" lvl="0" indent="-457200" algn="l" defTabSz="7771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1"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LC++</a:t>
            </a:r>
            <a:r>
              <a:rPr kumimoji="0" lang="en-US" sz="2800" b="0"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 algorithms (distributed)</a:t>
            </a:r>
          </a:p>
        </p:txBody>
      </p:sp>
      <p:sp>
        <p:nvSpPr>
          <p:cNvPr id="2" name="Title 1"/>
          <p:cNvSpPr>
            <a:spLocks noGrp="1"/>
          </p:cNvSpPr>
          <p:nvPr>
            <p:ph type="title"/>
          </p:nvPr>
        </p:nvSpPr>
        <p:spPr>
          <a:xfrm>
            <a:off x="194320" y="194292"/>
            <a:ext cx="12047836" cy="1513687"/>
          </a:xfrm>
        </p:spPr>
        <p:txBody>
          <a:bodyPr/>
          <a:lstStyle/>
          <a:p>
            <a:pPr algn="ctr"/>
            <a:r>
              <a:rPr lang="en-GB" dirty="0"/>
              <a:t>Analytics Workloads</a:t>
            </a:r>
          </a:p>
        </p:txBody>
      </p:sp>
      <p:sp>
        <p:nvSpPr>
          <p:cNvPr id="42" name="Rectangle 41"/>
          <p:cNvSpPr/>
          <p:nvPr/>
        </p:nvSpPr>
        <p:spPr>
          <a:xfrm>
            <a:off x="6235641" y="2125676"/>
            <a:ext cx="2896779" cy="32003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777149"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43" name="Rectangle 42"/>
          <p:cNvSpPr/>
          <p:nvPr/>
        </p:nvSpPr>
        <p:spPr>
          <a:xfrm>
            <a:off x="9075790" y="2125676"/>
            <a:ext cx="2896779" cy="32003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777149"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0" name="Rectangle 9">
            <a:extLst>
              <a:ext uri="{FF2B5EF4-FFF2-40B4-BE49-F238E27FC236}">
                <a16:creationId xmlns:a16="http://schemas.microsoft.com/office/drawing/2014/main" id="{71F81AB5-D744-4F9B-BA2F-3874B7204501}"/>
              </a:ext>
            </a:extLst>
          </p:cNvPr>
          <p:cNvSpPr/>
          <p:nvPr/>
        </p:nvSpPr>
        <p:spPr>
          <a:xfrm>
            <a:off x="194320" y="1851360"/>
            <a:ext cx="4692927" cy="41147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r" defTabSz="777149" rtl="0" eaLnBrk="1" fontAlgn="auto" latinLnBrk="0" hangingPunct="1">
              <a:lnSpc>
                <a:spcPct val="100000"/>
              </a:lnSpc>
              <a:spcBef>
                <a:spcPts val="0"/>
              </a:spcBef>
              <a:spcAft>
                <a:spcPts val="0"/>
              </a:spcAft>
              <a:buClrTx/>
              <a:buSzTx/>
              <a:buFontTx/>
              <a:buNone/>
              <a:tabLst/>
              <a:defRPr/>
            </a:pPr>
            <a:r>
              <a:rPr lang="en-US" sz="3200" kern="0" dirty="0">
                <a:solidFill>
                  <a:prstClr val="black"/>
                </a:solidFill>
                <a:latin typeface="Segoe UI"/>
                <a:cs typeface="Segoe UI Light" panose="020B0502040204020203" pitchFamily="34" charset="0"/>
              </a:rPr>
              <a:t>Batch</a:t>
            </a:r>
            <a:br>
              <a:rPr kumimoji="0" lang="en-US" sz="28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rPr>
            </a:br>
            <a:r>
              <a:rPr kumimoji="0" lang="en-US" sz="18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rPr>
              <a:t>AVAILABLE NOW</a:t>
            </a:r>
          </a:p>
          <a:p>
            <a:pPr marL="0" marR="0" lvl="0" indent="0" algn="r" defTabSz="777149"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endParaRPr>
          </a:p>
          <a:p>
            <a:pPr marL="0" marR="0" lvl="0" indent="0" algn="r" defTabSz="777149"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rPr>
              <a:t>Interactive</a:t>
            </a:r>
            <a:endParaRPr kumimoji="0" lang="en-US" sz="28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endParaRPr>
          </a:p>
          <a:p>
            <a:pPr marL="0" marR="0" lvl="0" indent="0" algn="r" defTabSz="777149"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rPr>
              <a:t>PUBLIC PREVIEW IN 2018</a:t>
            </a:r>
          </a:p>
          <a:p>
            <a:pPr marL="0" marR="0" lvl="0" indent="0" algn="r" defTabSz="777149"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endParaRPr>
          </a:p>
          <a:p>
            <a:pPr marL="0" marR="0" lvl="0" indent="0" algn="r" defTabSz="777149"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rPr>
              <a:t>Machine Learning</a:t>
            </a:r>
          </a:p>
          <a:p>
            <a:pPr marL="0" marR="0" lvl="0" indent="0" algn="r" defTabSz="777149"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rPr>
              <a:t>PUBLIC PREVIEW IN 2017</a:t>
            </a:r>
          </a:p>
          <a:p>
            <a:pPr marL="0" marR="0" lvl="0" indent="0" algn="r" defTabSz="777149"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endParaRPr>
          </a:p>
          <a:p>
            <a:pPr marL="0" marR="0" lvl="0" indent="0" algn="r" defTabSz="777149"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rPr>
              <a:t>Streaming Analytics</a:t>
            </a:r>
          </a:p>
          <a:p>
            <a:pPr marL="0" marR="0" lvl="0" indent="0" algn="r" defTabSz="777149"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rPr>
              <a:t>ON ROADMAP</a:t>
            </a:r>
          </a:p>
          <a:p>
            <a:pPr marL="0" marR="0" lvl="0" indent="0" algn="r" defTabSz="777149"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endParaRPr>
          </a:p>
        </p:txBody>
      </p:sp>
    </p:spTree>
    <p:extLst>
      <p:ext uri="{BB962C8B-B14F-4D97-AF65-F5344CB8AC3E}">
        <p14:creationId xmlns:p14="http://schemas.microsoft.com/office/powerpoint/2010/main" val="380828563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0070C0">
            <a:alpha val="99000"/>
          </a:srgbClr>
        </a:solidFill>
        <a:effectLst/>
      </p:bgPr>
    </p:bg>
    <p:spTree>
      <p:nvGrpSpPr>
        <p:cNvPr id="1" name=""/>
        <p:cNvGrpSpPr/>
        <p:nvPr/>
      </p:nvGrpSpPr>
      <p:grpSpPr>
        <a:xfrm>
          <a:off x="0" y="0"/>
          <a:ext cx="0" cy="0"/>
          <a:chOff x="0" y="0"/>
          <a:chExt cx="0" cy="0"/>
        </a:xfrm>
      </p:grpSpPr>
      <p:sp>
        <p:nvSpPr>
          <p:cNvPr id="3" name="Title 1"/>
          <p:cNvSpPr txBox="1">
            <a:spLocks/>
          </p:cNvSpPr>
          <p:nvPr/>
        </p:nvSpPr>
        <p:spPr>
          <a:xfrm>
            <a:off x="195174" y="194292"/>
            <a:ext cx="12046126" cy="6605940"/>
          </a:xfrm>
          <a:prstGeom prst="rect">
            <a:avLst/>
          </a:prstGeom>
          <a:noFill/>
          <a:ln>
            <a:noFill/>
          </a:ln>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777149" rtl="0" eaLnBrk="1" fontAlgn="auto" latinLnBrk="0" hangingPunct="1">
              <a:lnSpc>
                <a:spcPct val="90000"/>
              </a:lnSpc>
              <a:spcBef>
                <a:spcPct val="0"/>
              </a:spcBef>
              <a:spcAft>
                <a:spcPts val="0"/>
              </a:spcAft>
              <a:buClrTx/>
              <a:buSzTx/>
              <a:buFontTx/>
              <a:buNone/>
              <a:tabLst/>
              <a:defRPr/>
            </a:pPr>
            <a:r>
              <a:rPr kumimoji="0" lang="en-US" sz="5609" b="0" i="0" u="none" strike="noStrike" kern="1200" cap="none" spc="0" normalizeH="0" baseline="0" noProof="0" dirty="0">
                <a:ln>
                  <a:noFill/>
                </a:ln>
                <a:solidFill>
                  <a:prstClr val="white"/>
                </a:solidFill>
                <a:effectLst/>
                <a:uLnTx/>
                <a:uFillTx/>
                <a:latin typeface="Segoe UI Light"/>
                <a:ea typeface="+mj-ea"/>
                <a:cs typeface="+mj-cs"/>
              </a:rPr>
              <a:t>Building Big Data Programs</a:t>
            </a:r>
          </a:p>
        </p:txBody>
      </p:sp>
    </p:spTree>
    <p:extLst>
      <p:ext uri="{BB962C8B-B14F-4D97-AF65-F5344CB8AC3E}">
        <p14:creationId xmlns:p14="http://schemas.microsoft.com/office/powerpoint/2010/main" val="25476180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82" y="1538687"/>
            <a:ext cx="12434711" cy="499897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rgbClr val="FFFFFF"/>
              </a:solidFill>
              <a:latin typeface="Segoe UI Light"/>
              <a:ea typeface="Segoe UI" pitchFamily="34" charset="0"/>
              <a:cs typeface="Segoe UI" pitchFamily="34" charset="0"/>
            </a:endParaRPr>
          </a:p>
        </p:txBody>
      </p:sp>
      <p:sp>
        <p:nvSpPr>
          <p:cNvPr id="126" name="Title 1"/>
          <p:cNvSpPr>
            <a:spLocks noGrp="1"/>
          </p:cNvSpPr>
          <p:nvPr>
            <p:ph type="title"/>
          </p:nvPr>
        </p:nvSpPr>
        <p:spPr>
          <a:xfrm>
            <a:off x="275163" y="292082"/>
            <a:ext cx="11885514" cy="946413"/>
          </a:xfrm>
        </p:spPr>
        <p:txBody>
          <a:bodyPr/>
          <a:lstStyle/>
          <a:p>
            <a:r>
              <a:rPr lang="en-US" dirty="0"/>
              <a:t>Azure Data Lake</a:t>
            </a:r>
            <a:br>
              <a:rPr lang="en-US" dirty="0"/>
            </a:br>
            <a:r>
              <a:rPr lang="en-US" sz="3672" dirty="0">
                <a:solidFill>
                  <a:schemeClr val="accent2"/>
                </a:solidFill>
              </a:rPr>
              <a:t>as part of Cortana Intelligence Suite</a:t>
            </a:r>
          </a:p>
        </p:txBody>
      </p:sp>
      <p:grpSp>
        <p:nvGrpSpPr>
          <p:cNvPr id="128" name="Group 127"/>
          <p:cNvGrpSpPr/>
          <p:nvPr/>
        </p:nvGrpSpPr>
        <p:grpSpPr>
          <a:xfrm>
            <a:off x="9780483" y="1699363"/>
            <a:ext cx="2285652" cy="4707172"/>
            <a:chOff x="9588714" y="1666194"/>
            <a:chExt cx="2241039" cy="4615293"/>
          </a:xfrm>
        </p:grpSpPr>
        <p:sp>
          <p:nvSpPr>
            <p:cNvPr id="129" name="Rectangle 128"/>
            <p:cNvSpPr/>
            <p:nvPr/>
          </p:nvSpPr>
          <p:spPr>
            <a:xfrm>
              <a:off x="10329146" y="5953575"/>
              <a:ext cx="1500607" cy="327912"/>
            </a:xfrm>
            <a:prstGeom prst="rect">
              <a:avLst/>
            </a:prstGeom>
          </p:spPr>
          <p:txBody>
            <a:bodyPr wrap="none" lIns="0" tIns="0" rIns="0" bIns="0" anchor="ctr">
              <a:noAutofit/>
            </a:bodyPr>
            <a:lstStyle/>
            <a:p>
              <a:pPr defTabSz="932597">
                <a:lnSpc>
                  <a:spcPct val="90000"/>
                </a:lnSpc>
                <a:defRPr/>
              </a:pPr>
              <a:r>
                <a:rPr lang="en-US" sz="2448" kern="0" dirty="0">
                  <a:solidFill>
                    <a:srgbClr val="002050"/>
                  </a:solidFill>
                  <a:latin typeface="Segoe UI Light"/>
                </a:rPr>
                <a:t>Action</a:t>
              </a:r>
            </a:p>
          </p:txBody>
        </p:sp>
        <p:sp>
          <p:nvSpPr>
            <p:cNvPr id="130" name="Freeform 5"/>
            <p:cNvSpPr/>
            <p:nvPr/>
          </p:nvSpPr>
          <p:spPr bwMode="auto">
            <a:xfrm flipH="1">
              <a:off x="9588714" y="1666194"/>
              <a:ext cx="123857" cy="4199169"/>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algn="ctr" defTabSz="932597">
                <a:defRPr/>
              </a:pPr>
              <a:endParaRPr lang="en-US" sz="1836" kern="0" dirty="0">
                <a:solidFill>
                  <a:srgbClr val="FFFFFF"/>
                </a:solidFill>
                <a:latin typeface="Segoe UI"/>
              </a:endParaRPr>
            </a:p>
          </p:txBody>
        </p:sp>
        <p:sp>
          <p:nvSpPr>
            <p:cNvPr id="131" name="TextBox 130"/>
            <p:cNvSpPr txBox="1"/>
            <p:nvPr/>
          </p:nvSpPr>
          <p:spPr>
            <a:xfrm>
              <a:off x="10381650" y="1978779"/>
              <a:ext cx="1090058" cy="461622"/>
            </a:xfrm>
            <a:prstGeom prst="rect">
              <a:avLst/>
            </a:prstGeom>
            <a:noFill/>
          </p:spPr>
          <p:txBody>
            <a:bodyPr wrap="square" lIns="186494" tIns="149195" rIns="186494" bIns="149195" rtlCol="0">
              <a:spAutoFit/>
            </a:bodyPr>
            <a:lstStyle/>
            <a:p>
              <a:pPr defTabSz="951121">
                <a:lnSpc>
                  <a:spcPct val="90000"/>
                </a:lnSpc>
                <a:spcBef>
                  <a:spcPct val="0"/>
                </a:spcBef>
                <a:spcAft>
                  <a:spcPts val="612"/>
                </a:spcAft>
                <a:defRPr/>
              </a:pPr>
              <a:r>
                <a:rPr lang="en-US" sz="1224" kern="0" spc="-31" dirty="0">
                  <a:solidFill>
                    <a:srgbClr val="002050"/>
                  </a:solidFill>
                  <a:latin typeface="Segoe UI Semilight" panose="020B0402040204020203" pitchFamily="34" charset="0"/>
                  <a:cs typeface="Segoe UI Semilight" panose="020B0402040204020203" pitchFamily="34" charset="0"/>
                </a:rPr>
                <a:t>People</a:t>
              </a:r>
            </a:p>
          </p:txBody>
        </p:sp>
        <p:sp>
          <p:nvSpPr>
            <p:cNvPr id="132" name="TextBox 131"/>
            <p:cNvSpPr txBox="1"/>
            <p:nvPr/>
          </p:nvSpPr>
          <p:spPr>
            <a:xfrm>
              <a:off x="10650440" y="5204331"/>
              <a:ext cx="868271" cy="339067"/>
            </a:xfrm>
            <a:prstGeom prst="rect">
              <a:avLst/>
            </a:prstGeom>
            <a:noFill/>
          </p:spPr>
          <p:txBody>
            <a:bodyPr wrap="square" lIns="0" tIns="0" rIns="0" bIns="0" rtlCol="0">
              <a:spAutoFit/>
            </a:bodyPr>
            <a:lstStyle/>
            <a:p>
              <a:pPr defTabSz="951121">
                <a:lnSpc>
                  <a:spcPct val="90000"/>
                </a:lnSpc>
                <a:spcBef>
                  <a:spcPct val="0"/>
                </a:spcBef>
                <a:spcAft>
                  <a:spcPts val="612"/>
                </a:spcAft>
                <a:defRPr/>
              </a:pPr>
              <a:r>
                <a:rPr lang="en-US" sz="1224" kern="0" spc="-31" dirty="0">
                  <a:solidFill>
                    <a:srgbClr val="002050"/>
                  </a:solidFill>
                  <a:latin typeface="Segoe UI Semilight" panose="020B0402040204020203" pitchFamily="34" charset="0"/>
                  <a:cs typeface="Segoe UI Semilight" panose="020B0402040204020203" pitchFamily="34" charset="0"/>
                </a:rPr>
                <a:t>Automated </a:t>
              </a:r>
              <a:br>
                <a:rPr lang="en-US" sz="1224" kern="0" spc="-31" dirty="0">
                  <a:solidFill>
                    <a:srgbClr val="002050"/>
                  </a:solidFill>
                  <a:latin typeface="Segoe UI Semilight" panose="020B0402040204020203" pitchFamily="34" charset="0"/>
                  <a:cs typeface="Segoe UI Semilight" panose="020B0402040204020203" pitchFamily="34" charset="0"/>
                </a:rPr>
              </a:br>
              <a:r>
                <a:rPr lang="en-US" sz="1224" kern="0" spc="-31" dirty="0">
                  <a:solidFill>
                    <a:srgbClr val="002050"/>
                  </a:solidFill>
                  <a:latin typeface="Segoe UI Semilight" panose="020B0402040204020203" pitchFamily="34" charset="0"/>
                  <a:cs typeface="Segoe UI Semilight" panose="020B0402040204020203" pitchFamily="34" charset="0"/>
                </a:rPr>
                <a:t>Systems</a:t>
              </a:r>
            </a:p>
          </p:txBody>
        </p:sp>
        <p:grpSp>
          <p:nvGrpSpPr>
            <p:cNvPr id="133" name="Group 132"/>
            <p:cNvGrpSpPr/>
            <p:nvPr/>
          </p:nvGrpSpPr>
          <p:grpSpPr>
            <a:xfrm>
              <a:off x="9984119" y="2016920"/>
              <a:ext cx="377227" cy="385340"/>
              <a:chOff x="6112510" y="6954657"/>
              <a:chExt cx="1181100" cy="1206500"/>
            </a:xfrm>
            <a:solidFill>
              <a:srgbClr val="0078D7"/>
            </a:solidFill>
          </p:grpSpPr>
          <p:sp>
            <p:nvSpPr>
              <p:cNvPr id="151"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latin typeface="Segoe UI"/>
                </a:endParaRPr>
              </a:p>
            </p:txBody>
          </p:sp>
          <p:sp>
            <p:nvSpPr>
              <p:cNvPr id="152"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latin typeface="Segoe UI"/>
                </a:endParaRPr>
              </a:p>
            </p:txBody>
          </p:sp>
          <p:sp>
            <p:nvSpPr>
              <p:cNvPr id="153"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latin typeface="Segoe UI"/>
                </a:endParaRPr>
              </a:p>
            </p:txBody>
          </p:sp>
          <p:sp>
            <p:nvSpPr>
              <p:cNvPr id="154"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latin typeface="Segoe UI"/>
                </a:endParaRPr>
              </a:p>
            </p:txBody>
          </p:sp>
        </p:grpSp>
        <p:grpSp>
          <p:nvGrpSpPr>
            <p:cNvPr id="134" name="Group 133"/>
            <p:cNvGrpSpPr/>
            <p:nvPr/>
          </p:nvGrpSpPr>
          <p:grpSpPr>
            <a:xfrm>
              <a:off x="10034296" y="5129436"/>
              <a:ext cx="385751" cy="482188"/>
              <a:chOff x="2954338" y="6831013"/>
              <a:chExt cx="1041400" cy="1301750"/>
            </a:xfrm>
            <a:solidFill>
              <a:srgbClr val="0078D7"/>
            </a:solidFill>
          </p:grpSpPr>
          <p:sp>
            <p:nvSpPr>
              <p:cNvPr id="149"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latin typeface="Segoe UI"/>
                </a:endParaRPr>
              </a:p>
            </p:txBody>
          </p:sp>
          <p:sp>
            <p:nvSpPr>
              <p:cNvPr id="150"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latin typeface="Segoe UI"/>
                </a:endParaRPr>
              </a:p>
            </p:txBody>
          </p:sp>
        </p:grpSp>
        <p:grpSp>
          <p:nvGrpSpPr>
            <p:cNvPr id="135" name="Group 134"/>
            <p:cNvGrpSpPr/>
            <p:nvPr/>
          </p:nvGrpSpPr>
          <p:grpSpPr>
            <a:xfrm>
              <a:off x="9872701" y="3060921"/>
              <a:ext cx="1878892" cy="1542780"/>
              <a:chOff x="9910801" y="2434267"/>
              <a:chExt cx="1878892" cy="1542780"/>
            </a:xfrm>
          </p:grpSpPr>
          <p:sp>
            <p:nvSpPr>
              <p:cNvPr id="136" name="TextBox 135"/>
              <p:cNvSpPr txBox="1"/>
              <p:nvPr/>
            </p:nvSpPr>
            <p:spPr>
              <a:xfrm>
                <a:off x="9910801" y="3234749"/>
                <a:ext cx="1090058" cy="461622"/>
              </a:xfrm>
              <a:prstGeom prst="rect">
                <a:avLst/>
              </a:prstGeom>
              <a:noFill/>
            </p:spPr>
            <p:txBody>
              <a:bodyPr wrap="square" lIns="186494" tIns="149195" rIns="186494" bIns="149195" rtlCol="0">
                <a:spAutoFit/>
              </a:bodyPr>
              <a:lstStyle/>
              <a:p>
                <a:pPr defTabSz="951121">
                  <a:lnSpc>
                    <a:spcPct val="90000"/>
                  </a:lnSpc>
                  <a:spcBef>
                    <a:spcPct val="0"/>
                  </a:spcBef>
                  <a:spcAft>
                    <a:spcPts val="612"/>
                  </a:spcAft>
                  <a:defRPr/>
                </a:pPr>
                <a:r>
                  <a:rPr lang="en-US" sz="1224" kern="0" spc="-31" dirty="0">
                    <a:solidFill>
                      <a:srgbClr val="002050"/>
                    </a:solidFill>
                    <a:latin typeface="Segoe UI Semilight" panose="020B0402040204020203" pitchFamily="34" charset="0"/>
                    <a:cs typeface="Segoe UI Semilight" panose="020B0402040204020203" pitchFamily="34" charset="0"/>
                  </a:rPr>
                  <a:t>Apps</a:t>
                </a:r>
              </a:p>
            </p:txBody>
          </p:sp>
          <p:grpSp>
            <p:nvGrpSpPr>
              <p:cNvPr id="137" name="Group 136"/>
              <p:cNvGrpSpPr/>
              <p:nvPr/>
            </p:nvGrpSpPr>
            <p:grpSpPr>
              <a:xfrm>
                <a:off x="10012430" y="2917883"/>
                <a:ext cx="462396" cy="357669"/>
                <a:chOff x="5007615" y="2323753"/>
                <a:chExt cx="649029" cy="502032"/>
              </a:xfrm>
              <a:solidFill>
                <a:srgbClr val="0078D7"/>
              </a:solidFill>
            </p:grpSpPr>
            <p:sp>
              <p:nvSpPr>
                <p:cNvPr id="147" name="Freeform 22"/>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rgbClr val="FFFFFF"/>
                    </a:solidFill>
                    <a:latin typeface="Segoe UI"/>
                  </a:endParaRPr>
                </a:p>
              </p:txBody>
            </p:sp>
            <p:sp>
              <p:nvSpPr>
                <p:cNvPr id="148" name="Freeform 23"/>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rgbClr val="FFFFFF"/>
                    </a:solidFill>
                    <a:latin typeface="Segoe UI"/>
                  </a:endParaRPr>
                </a:p>
              </p:txBody>
            </p:sp>
          </p:grpSp>
          <p:grpSp>
            <p:nvGrpSpPr>
              <p:cNvPr id="138" name="Group 137"/>
              <p:cNvGrpSpPr/>
              <p:nvPr/>
            </p:nvGrpSpPr>
            <p:grpSpPr>
              <a:xfrm>
                <a:off x="10486805" y="2434267"/>
                <a:ext cx="1302888" cy="1542780"/>
                <a:chOff x="10486805" y="2923046"/>
                <a:chExt cx="1302888" cy="1542780"/>
              </a:xfrm>
            </p:grpSpPr>
            <p:sp>
              <p:nvSpPr>
                <p:cNvPr id="139" name="Rectangle 138"/>
                <p:cNvSpPr/>
                <p:nvPr/>
              </p:nvSpPr>
              <p:spPr bwMode="auto">
                <a:xfrm>
                  <a:off x="10802824" y="2923046"/>
                  <a:ext cx="986869" cy="1542780"/>
                </a:xfrm>
                <a:prstGeom prst="rect">
                  <a:avLst/>
                </a:prstGeom>
                <a:noFill/>
                <a:ln w="9525" cap="flat" cmpd="sng" algn="ctr">
                  <a:solidFill>
                    <a:srgbClr val="FFFFFF">
                      <a:lumMod val="65000"/>
                    </a:srgbClr>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0" name="TextBox 139"/>
                <p:cNvSpPr txBox="1"/>
                <p:nvPr/>
              </p:nvSpPr>
              <p:spPr>
                <a:xfrm>
                  <a:off x="11212738" y="3022354"/>
                  <a:ext cx="473389" cy="164789"/>
                </a:xfrm>
                <a:prstGeom prst="rect">
                  <a:avLst/>
                </a:prstGeom>
                <a:noFill/>
              </p:spPr>
              <p:txBody>
                <a:bodyPr wrap="square" lIns="0" tIns="0" rIns="0" bIns="0" rtlCol="0">
                  <a:spAutoFit/>
                </a:bodyPr>
                <a:lstStyle/>
                <a:p>
                  <a:pPr defTabSz="951121">
                    <a:spcBef>
                      <a:spcPct val="0"/>
                    </a:spcBef>
                    <a:spcAft>
                      <a:spcPts val="612"/>
                    </a:spcAft>
                    <a:defRPr/>
                  </a:pPr>
                  <a:r>
                    <a:rPr lang="en-US" sz="1071" kern="0" dirty="0">
                      <a:solidFill>
                        <a:srgbClr val="505050"/>
                      </a:solidFill>
                      <a:latin typeface="Segoe UI"/>
                      <a:cs typeface="Segoe UI Semilight" panose="020B0402040204020203" pitchFamily="34" charset="0"/>
                    </a:rPr>
                    <a:t>Web</a:t>
                  </a:r>
                </a:p>
              </p:txBody>
            </p:sp>
            <p:sp>
              <p:nvSpPr>
                <p:cNvPr id="141" name="TextBox 140"/>
                <p:cNvSpPr txBox="1"/>
                <p:nvPr/>
              </p:nvSpPr>
              <p:spPr>
                <a:xfrm>
                  <a:off x="11212738" y="3571986"/>
                  <a:ext cx="473389" cy="164789"/>
                </a:xfrm>
                <a:prstGeom prst="rect">
                  <a:avLst/>
                </a:prstGeom>
                <a:noFill/>
              </p:spPr>
              <p:txBody>
                <a:bodyPr wrap="square" lIns="0" tIns="0" rIns="0" bIns="0" rtlCol="0">
                  <a:spAutoFit/>
                </a:bodyPr>
                <a:lstStyle/>
                <a:p>
                  <a:pPr defTabSz="951121">
                    <a:spcBef>
                      <a:spcPct val="0"/>
                    </a:spcBef>
                    <a:spcAft>
                      <a:spcPts val="612"/>
                    </a:spcAft>
                    <a:defRPr/>
                  </a:pPr>
                  <a:r>
                    <a:rPr lang="en-US" sz="1071" kern="0" dirty="0">
                      <a:solidFill>
                        <a:srgbClr val="505050"/>
                      </a:solidFill>
                      <a:latin typeface="Segoe UI"/>
                      <a:cs typeface="Segoe UI Semilight" panose="020B0402040204020203" pitchFamily="34" charset="0"/>
                    </a:rPr>
                    <a:t>Mobile</a:t>
                  </a:r>
                </a:p>
              </p:txBody>
            </p:sp>
            <p:sp>
              <p:nvSpPr>
                <p:cNvPr id="142" name="TextBox 141"/>
                <p:cNvSpPr txBox="1"/>
                <p:nvPr/>
              </p:nvSpPr>
              <p:spPr>
                <a:xfrm>
                  <a:off x="11212738" y="4160203"/>
                  <a:ext cx="473389" cy="164789"/>
                </a:xfrm>
                <a:prstGeom prst="rect">
                  <a:avLst/>
                </a:prstGeom>
                <a:noFill/>
              </p:spPr>
              <p:txBody>
                <a:bodyPr wrap="square" lIns="0" tIns="0" rIns="0" bIns="0" rtlCol="0">
                  <a:spAutoFit/>
                </a:bodyPr>
                <a:lstStyle/>
                <a:p>
                  <a:pPr defTabSz="951121">
                    <a:spcBef>
                      <a:spcPct val="0"/>
                    </a:spcBef>
                    <a:spcAft>
                      <a:spcPts val="612"/>
                    </a:spcAft>
                    <a:defRPr/>
                  </a:pPr>
                  <a:r>
                    <a:rPr lang="en-US" sz="1071" kern="0" dirty="0">
                      <a:solidFill>
                        <a:srgbClr val="505050"/>
                      </a:solidFill>
                      <a:latin typeface="Segoe UI"/>
                      <a:cs typeface="Segoe UI Semilight" panose="020B0402040204020203" pitchFamily="34" charset="0"/>
                    </a:rPr>
                    <a:t>Bots</a:t>
                  </a:r>
                </a:p>
              </p:txBody>
            </p:sp>
            <p:sp>
              <p:nvSpPr>
                <p:cNvPr id="143" name="Freeform 18"/>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solidFill>
                  <a:srgbClr val="0078D7"/>
                </a:solidFill>
                <a:ln>
                  <a:noFill/>
                </a:ln>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rgbClr val="FFFFFF"/>
                    </a:solidFill>
                    <a:latin typeface="Segoe UI"/>
                  </a:endParaRPr>
                </a:p>
              </p:txBody>
            </p:sp>
            <p:sp>
              <p:nvSpPr>
                <p:cNvPr id="144" name="Freeform 19"/>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rgbClr val="0078D7"/>
                </a:solidFill>
                <a:ln>
                  <a:noFill/>
                </a:ln>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rgbClr val="FFFFFF"/>
                    </a:solidFill>
                    <a:latin typeface="Segoe UI"/>
                  </a:endParaRPr>
                </a:p>
              </p:txBody>
            </p:sp>
            <p:sp>
              <p:nvSpPr>
                <p:cNvPr id="145" name="Freeform 20"/>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solidFill>
                  <a:srgbClr val="0078D7"/>
                </a:solidFill>
                <a:ln w="3175" cap="flat" cmpd="sng" algn="ctr">
                  <a:solidFill>
                    <a:srgbClr val="0078D7"/>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46" name="Straight Connector 145"/>
                <p:cNvCxnSpPr/>
                <p:nvPr/>
              </p:nvCxnSpPr>
              <p:spPr>
                <a:xfrm flipH="1">
                  <a:off x="10486805" y="3605293"/>
                  <a:ext cx="308472" cy="0"/>
                </a:xfrm>
                <a:prstGeom prst="line">
                  <a:avLst/>
                </a:prstGeom>
                <a:noFill/>
                <a:ln w="9525" cap="flat" cmpd="sng" algn="ctr">
                  <a:solidFill>
                    <a:srgbClr val="FFFFFF">
                      <a:lumMod val="65000"/>
                    </a:srgbClr>
                  </a:solidFill>
                  <a:prstDash val="solid"/>
                  <a:headEnd type="none" w="med" len="med"/>
                  <a:tailEnd type="none" w="med" len="med"/>
                </a:ln>
                <a:effectLst/>
              </p:spPr>
            </p:cxnSp>
          </p:grpSp>
        </p:grpSp>
      </p:grpSp>
      <p:grpSp>
        <p:nvGrpSpPr>
          <p:cNvPr id="155" name="Group 154"/>
          <p:cNvGrpSpPr/>
          <p:nvPr/>
        </p:nvGrpSpPr>
        <p:grpSpPr>
          <a:xfrm>
            <a:off x="7476248" y="1690035"/>
            <a:ext cx="2618848" cy="4641835"/>
            <a:chOff x="7329456" y="1657048"/>
            <a:chExt cx="2567731" cy="4551232"/>
          </a:xfrm>
        </p:grpSpPr>
        <p:sp>
          <p:nvSpPr>
            <p:cNvPr id="156" name="Rectangle 155"/>
            <p:cNvSpPr/>
            <p:nvPr/>
          </p:nvSpPr>
          <p:spPr bwMode="auto">
            <a:xfrm>
              <a:off x="7759316" y="1657048"/>
              <a:ext cx="1737360" cy="2734231"/>
            </a:xfrm>
            <a:prstGeom prst="rect">
              <a:avLst/>
            </a:prstGeom>
            <a:solidFill>
              <a:schemeClr val="accent1"/>
            </a:solidFill>
            <a:ln w="3175">
              <a:noFill/>
            </a:ln>
            <a:effectLst/>
          </p:spPr>
          <p:txBody>
            <a:bodyPr spcFirstLastPara="0" vert="horz" wrap="square" lIns="18645" tIns="93260" rIns="18645" bIns="93221" numCol="1" spcCol="1270" anchor="t" anchorCtr="0">
              <a:noAutofit/>
            </a:bodyPr>
            <a:lstStyle/>
            <a:p>
              <a:pPr algn="ctr" defTabSz="739440">
                <a:spcBef>
                  <a:spcPct val="0"/>
                </a:spcBef>
                <a:spcAft>
                  <a:spcPct val="35000"/>
                </a:spcAft>
                <a:defRPr/>
              </a:pPr>
              <a:r>
                <a:rPr lang="en-US" sz="1428" kern="0" dirty="0">
                  <a:solidFill>
                    <a:srgbClr val="FFFFFF"/>
                  </a:solidFill>
                  <a:latin typeface="Segoe UI Semibold" panose="020B0702040204020203" pitchFamily="34" charset="0"/>
                  <a:cs typeface="Segoe UI Semibold" panose="020B0702040204020203" pitchFamily="34" charset="0"/>
                </a:rPr>
                <a:t>Intelligence</a:t>
              </a:r>
            </a:p>
          </p:txBody>
        </p:sp>
        <p:sp>
          <p:nvSpPr>
            <p:cNvPr id="157" name="Rectangle 156"/>
            <p:cNvSpPr/>
            <p:nvPr/>
          </p:nvSpPr>
          <p:spPr bwMode="auto">
            <a:xfrm>
              <a:off x="7759316" y="4491484"/>
              <a:ext cx="1737360" cy="1352961"/>
            </a:xfrm>
            <a:prstGeom prst="rect">
              <a:avLst/>
            </a:prstGeom>
            <a:solidFill>
              <a:schemeClr val="accent1"/>
            </a:solidFill>
            <a:ln w="3175">
              <a:noFill/>
            </a:ln>
            <a:effectLst/>
          </p:spPr>
          <p:txBody>
            <a:bodyPr spcFirstLastPara="0" vert="horz" wrap="square" lIns="18645" tIns="93260" rIns="18645" bIns="93221" numCol="1" spcCol="1270" anchor="t" anchorCtr="0">
              <a:noAutofit/>
            </a:bodyPr>
            <a:lstStyle/>
            <a:p>
              <a:pPr algn="ctr" defTabSz="739440">
                <a:spcBef>
                  <a:spcPct val="0"/>
                </a:spcBef>
                <a:spcAft>
                  <a:spcPct val="35000"/>
                </a:spcAft>
                <a:defRPr/>
              </a:pPr>
              <a:r>
                <a:rPr lang="en-US" sz="1428" kern="0" dirty="0">
                  <a:solidFill>
                    <a:srgbClr val="FFFFFF"/>
                  </a:solidFill>
                  <a:latin typeface="Segoe UI Semibold" panose="020B0702040204020203" pitchFamily="34" charset="0"/>
                  <a:cs typeface="Segoe UI Semibold" panose="020B0702040204020203" pitchFamily="34" charset="0"/>
                </a:rPr>
                <a:t>Dashboards &amp; Visualizations</a:t>
              </a:r>
            </a:p>
          </p:txBody>
        </p:sp>
        <p:sp>
          <p:nvSpPr>
            <p:cNvPr id="158" name="Rectangle 157"/>
            <p:cNvSpPr/>
            <p:nvPr/>
          </p:nvSpPr>
          <p:spPr>
            <a:xfrm>
              <a:off x="8282077" y="3724639"/>
              <a:ext cx="1268870" cy="265009"/>
            </a:xfrm>
            <a:prstGeom prst="rect">
              <a:avLst/>
            </a:prstGeom>
          </p:spPr>
          <p:txBody>
            <a:bodyPr wrap="square">
              <a:spAutoFit/>
            </a:bodyPr>
            <a:lstStyle/>
            <a:p>
              <a:pPr defTabSz="932597">
                <a:defRPr/>
              </a:pPr>
              <a:r>
                <a:rPr lang="en-US" sz="1122" kern="0" dirty="0">
                  <a:solidFill>
                    <a:srgbClr val="FFFFFF"/>
                  </a:solidFill>
                  <a:latin typeface="Segoe UI"/>
                  <a:cs typeface="Segoe UI Semilight" panose="020B0402040204020203" pitchFamily="34" charset="0"/>
                </a:rPr>
                <a:t>Cortana</a:t>
              </a:r>
            </a:p>
          </p:txBody>
        </p:sp>
        <p:grpSp>
          <p:nvGrpSpPr>
            <p:cNvPr id="159" name="Group 158"/>
            <p:cNvGrpSpPr/>
            <p:nvPr/>
          </p:nvGrpSpPr>
          <p:grpSpPr>
            <a:xfrm>
              <a:off x="7886100" y="3695712"/>
              <a:ext cx="315759" cy="315759"/>
              <a:chOff x="3236100" y="589298"/>
              <a:chExt cx="5641200" cy="5641200"/>
            </a:xfrm>
          </p:grpSpPr>
          <p:sp>
            <p:nvSpPr>
              <p:cNvPr id="178" name="Freeform 53"/>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3672" kern="0" dirty="0">
                  <a:solidFill>
                    <a:srgbClr val="FFFFFF"/>
                  </a:solidFill>
                  <a:latin typeface="Segoe UI"/>
                  <a:ea typeface="Segoe UI" pitchFamily="34" charset="0"/>
                  <a:cs typeface="Segoe UI" pitchFamily="34" charset="0"/>
                </a:endParaRPr>
              </a:p>
            </p:txBody>
          </p:sp>
          <p:sp>
            <p:nvSpPr>
              <p:cNvPr id="179" name="Freeform 54"/>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3672" kern="0" dirty="0">
                  <a:solidFill>
                    <a:srgbClr val="FFFFFF"/>
                  </a:solidFill>
                  <a:latin typeface="Segoe UI"/>
                  <a:ea typeface="Segoe UI" pitchFamily="34" charset="0"/>
                  <a:cs typeface="Segoe UI" pitchFamily="34" charset="0"/>
                </a:endParaRPr>
              </a:p>
            </p:txBody>
          </p:sp>
        </p:grpSp>
        <p:cxnSp>
          <p:nvCxnSpPr>
            <p:cNvPr id="160" name="Straight Connector 159"/>
            <p:cNvCxnSpPr/>
            <p:nvPr/>
          </p:nvCxnSpPr>
          <p:spPr>
            <a:xfrm>
              <a:off x="7329456" y="6118143"/>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161" name="Group 160"/>
            <p:cNvGrpSpPr/>
            <p:nvPr/>
          </p:nvGrpSpPr>
          <p:grpSpPr>
            <a:xfrm rot="13500000">
              <a:off x="9515255" y="6028138"/>
              <a:ext cx="181498" cy="178786"/>
              <a:chOff x="402446" y="5872915"/>
              <a:chExt cx="292608" cy="288235"/>
            </a:xfrm>
            <a:solidFill>
              <a:srgbClr val="FFFFFF">
                <a:lumMod val="85000"/>
              </a:srgbClr>
            </a:solidFill>
          </p:grpSpPr>
          <p:cxnSp>
            <p:nvCxnSpPr>
              <p:cNvPr id="176" name="Straight Connector 175"/>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177" name="Straight Connector 176"/>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cxnSp>
          <p:nvCxnSpPr>
            <p:cNvPr id="162" name="Straight Connector 161"/>
            <p:cNvCxnSpPr/>
            <p:nvPr/>
          </p:nvCxnSpPr>
          <p:spPr>
            <a:xfrm flipH="1">
              <a:off x="9588715" y="3765778"/>
              <a:ext cx="308472" cy="0"/>
            </a:xfrm>
            <a:prstGeom prst="line">
              <a:avLst/>
            </a:prstGeom>
            <a:noFill/>
            <a:ln w="12700" cap="flat" cmpd="sng" algn="ctr">
              <a:solidFill>
                <a:srgbClr val="0078D7"/>
              </a:solidFill>
              <a:prstDash val="solid"/>
              <a:headEnd type="none"/>
              <a:tailEnd type="none"/>
            </a:ln>
            <a:effectLst/>
          </p:spPr>
        </p:cxnSp>
        <p:sp>
          <p:nvSpPr>
            <p:cNvPr id="163" name="Rectangle 162"/>
            <p:cNvSpPr/>
            <p:nvPr/>
          </p:nvSpPr>
          <p:spPr>
            <a:xfrm>
              <a:off x="8282077" y="3052541"/>
              <a:ext cx="1268870" cy="437684"/>
            </a:xfrm>
            <a:prstGeom prst="rect">
              <a:avLst/>
            </a:prstGeom>
          </p:spPr>
          <p:txBody>
            <a:bodyPr wrap="square" anchor="ctr">
              <a:spAutoFit/>
            </a:bodyPr>
            <a:lstStyle/>
            <a:p>
              <a:pPr defTabSz="932597">
                <a:defRPr/>
              </a:pPr>
              <a:r>
                <a:rPr lang="en-US" sz="1122" kern="0" dirty="0">
                  <a:solidFill>
                    <a:srgbClr val="FFFFFF"/>
                  </a:solidFill>
                  <a:latin typeface="Segoe UI"/>
                  <a:cs typeface="Segoe UI Semilight" panose="020B0402040204020203" pitchFamily="34" charset="0"/>
                </a:rPr>
                <a:t>Bot </a:t>
              </a:r>
              <a:br>
                <a:rPr lang="en-US" sz="1122" kern="0" dirty="0">
                  <a:solidFill>
                    <a:srgbClr val="FFFFFF"/>
                  </a:solidFill>
                  <a:latin typeface="Segoe UI"/>
                  <a:cs typeface="Segoe UI Semilight" panose="020B0402040204020203" pitchFamily="34" charset="0"/>
                </a:rPr>
              </a:br>
              <a:r>
                <a:rPr lang="en-US" sz="1122" kern="0" dirty="0">
                  <a:solidFill>
                    <a:srgbClr val="FFFFFF"/>
                  </a:solidFill>
                  <a:latin typeface="Segoe UI"/>
                  <a:cs typeface="Segoe UI Semilight" panose="020B0402040204020203" pitchFamily="34" charset="0"/>
                </a:rPr>
                <a:t>Framework</a:t>
              </a:r>
            </a:p>
          </p:txBody>
        </p:sp>
        <p:sp>
          <p:nvSpPr>
            <p:cNvPr id="164" name="Rectangle 163"/>
            <p:cNvSpPr/>
            <p:nvPr/>
          </p:nvSpPr>
          <p:spPr>
            <a:xfrm>
              <a:off x="8282077" y="2443589"/>
              <a:ext cx="1268870" cy="437684"/>
            </a:xfrm>
            <a:prstGeom prst="rect">
              <a:avLst/>
            </a:prstGeom>
          </p:spPr>
          <p:txBody>
            <a:bodyPr wrap="square">
              <a:spAutoFit/>
            </a:bodyPr>
            <a:lstStyle/>
            <a:p>
              <a:pPr defTabSz="932597">
                <a:defRPr/>
              </a:pPr>
              <a:r>
                <a:rPr lang="en-US" sz="1122" kern="0" dirty="0">
                  <a:solidFill>
                    <a:srgbClr val="FFFFFF"/>
                  </a:solidFill>
                  <a:latin typeface="Segoe UI"/>
                  <a:cs typeface="Segoe UI Semilight" panose="020B0402040204020203" pitchFamily="34" charset="0"/>
                </a:rPr>
                <a:t>Cognitive Services</a:t>
              </a:r>
            </a:p>
          </p:txBody>
        </p:sp>
        <p:grpSp>
          <p:nvGrpSpPr>
            <p:cNvPr id="165" name="Group 164"/>
            <p:cNvGrpSpPr/>
            <p:nvPr/>
          </p:nvGrpSpPr>
          <p:grpSpPr>
            <a:xfrm>
              <a:off x="7830264" y="2521994"/>
              <a:ext cx="427431" cy="274077"/>
              <a:chOff x="7822816" y="2717080"/>
              <a:chExt cx="427431" cy="274077"/>
            </a:xfrm>
          </p:grpSpPr>
          <p:sp>
            <p:nvSpPr>
              <p:cNvPr id="174" name="Freeform 49"/>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rgbClr val="FFFFFF"/>
                  </a:solidFill>
                  <a:latin typeface="Segoe UI"/>
                </a:endParaRPr>
              </a:p>
            </p:txBody>
          </p:sp>
          <p:sp>
            <p:nvSpPr>
              <p:cNvPr id="175"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latin typeface="Segoe UI"/>
                </a:endParaRPr>
              </a:p>
            </p:txBody>
          </p:sp>
        </p:grpSp>
        <p:sp>
          <p:nvSpPr>
            <p:cNvPr id="166" name="Rectangle 165"/>
            <p:cNvSpPr/>
            <p:nvPr/>
          </p:nvSpPr>
          <p:spPr>
            <a:xfrm>
              <a:off x="8241821" y="5297166"/>
              <a:ext cx="1271016" cy="265009"/>
            </a:xfrm>
            <a:prstGeom prst="rect">
              <a:avLst/>
            </a:prstGeom>
          </p:spPr>
          <p:txBody>
            <a:bodyPr wrap="square">
              <a:spAutoFit/>
            </a:bodyPr>
            <a:lstStyle/>
            <a:p>
              <a:pPr defTabSz="932597">
                <a:defRPr/>
              </a:pPr>
              <a:r>
                <a:rPr lang="en-US" sz="1122" kern="0" dirty="0">
                  <a:solidFill>
                    <a:srgbClr val="FFFFFF"/>
                  </a:solidFill>
                  <a:latin typeface="Segoe UI"/>
                  <a:cs typeface="Segoe UI Semilight" panose="020B0402040204020203" pitchFamily="34" charset="0"/>
                </a:rPr>
                <a:t>Power BI</a:t>
              </a:r>
            </a:p>
          </p:txBody>
        </p:sp>
        <p:grpSp>
          <p:nvGrpSpPr>
            <p:cNvPr id="167" name="Group 166"/>
            <p:cNvGrpSpPr/>
            <p:nvPr/>
          </p:nvGrpSpPr>
          <p:grpSpPr>
            <a:xfrm>
              <a:off x="7884058" y="5324140"/>
              <a:ext cx="324905" cy="207663"/>
              <a:chOff x="7884058" y="5368509"/>
              <a:chExt cx="324905" cy="207663"/>
            </a:xfrm>
          </p:grpSpPr>
          <p:sp>
            <p:nvSpPr>
              <p:cNvPr id="169"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170"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171"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172"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FFFFFF"/>
                  </a:solidFill>
                  <a:latin typeface="Segoe UI"/>
                </a:endParaRPr>
              </a:p>
            </p:txBody>
          </p:sp>
          <p:sp>
            <p:nvSpPr>
              <p:cNvPr id="173"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FFFFFF"/>
                  </a:solidFill>
                  <a:latin typeface="Segoe UI"/>
                </a:endParaRPr>
              </a:p>
            </p:txBody>
          </p:sp>
        </p:grpSp>
        <p:sp>
          <p:nvSpPr>
            <p:cNvPr id="168" name="Freeform 43"/>
            <p:cNvSpPr/>
            <p:nvPr/>
          </p:nvSpPr>
          <p:spPr bwMode="auto">
            <a:xfrm>
              <a:off x="7857300" y="3140323"/>
              <a:ext cx="373358" cy="253796"/>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kern="0" dirty="0">
                <a:solidFill>
                  <a:srgbClr val="FFFFFF"/>
                </a:solidFill>
                <a:latin typeface="Segoe UI"/>
                <a:ea typeface="Segoe UI" pitchFamily="34" charset="0"/>
                <a:cs typeface="Segoe UI" pitchFamily="34" charset="0"/>
              </a:endParaRPr>
            </a:p>
          </p:txBody>
        </p:sp>
      </p:grpSp>
      <p:grpSp>
        <p:nvGrpSpPr>
          <p:cNvPr id="180" name="Group 179"/>
          <p:cNvGrpSpPr/>
          <p:nvPr/>
        </p:nvGrpSpPr>
        <p:grpSpPr>
          <a:xfrm>
            <a:off x="2060450" y="1690035"/>
            <a:ext cx="2424769" cy="4641835"/>
            <a:chOff x="2019368" y="1657048"/>
            <a:chExt cx="2377440" cy="4551232"/>
          </a:xfrm>
        </p:grpSpPr>
        <p:sp>
          <p:nvSpPr>
            <p:cNvPr id="181" name="Rectangle 180"/>
            <p:cNvSpPr/>
            <p:nvPr/>
          </p:nvSpPr>
          <p:spPr bwMode="auto">
            <a:xfrm>
              <a:off x="2186019" y="1657048"/>
              <a:ext cx="1737360" cy="4187396"/>
            </a:xfrm>
            <a:prstGeom prst="rect">
              <a:avLst/>
            </a:prstGeom>
            <a:solidFill>
              <a:schemeClr val="accent1"/>
            </a:solidFill>
            <a:ln w="3175">
              <a:noFill/>
            </a:ln>
            <a:effectLst/>
          </p:spPr>
          <p:txBody>
            <a:bodyPr spcFirstLastPara="0" vert="horz" wrap="square" lIns="18645" tIns="93260" rIns="18645" bIns="93221" numCol="1" spcCol="1270" anchor="t" anchorCtr="0">
              <a:noAutofit/>
            </a:bodyPr>
            <a:lstStyle/>
            <a:p>
              <a:pPr algn="ctr" defTabSz="739440">
                <a:spcBef>
                  <a:spcPct val="0"/>
                </a:spcBef>
                <a:spcAft>
                  <a:spcPct val="35000"/>
                </a:spcAft>
                <a:defRPr/>
              </a:pPr>
              <a:r>
                <a:rPr lang="en-US" sz="1428" kern="0" dirty="0">
                  <a:solidFill>
                    <a:srgbClr val="FFFFFF"/>
                  </a:solidFill>
                  <a:latin typeface="Segoe UI Semibold" panose="020B0702040204020203" pitchFamily="34" charset="0"/>
                  <a:cs typeface="Segoe UI Semibold" panose="020B0702040204020203" pitchFamily="34" charset="0"/>
                </a:rPr>
                <a:t>Information Management</a:t>
              </a:r>
            </a:p>
          </p:txBody>
        </p:sp>
        <p:sp>
          <p:nvSpPr>
            <p:cNvPr id="182" name="Rectangle 181"/>
            <p:cNvSpPr/>
            <p:nvPr/>
          </p:nvSpPr>
          <p:spPr>
            <a:xfrm>
              <a:off x="2652706" y="3724639"/>
              <a:ext cx="1271016" cy="265009"/>
            </a:xfrm>
            <a:prstGeom prst="rect">
              <a:avLst/>
            </a:prstGeom>
          </p:spPr>
          <p:txBody>
            <a:bodyPr wrap="square">
              <a:spAutoFit/>
            </a:bodyPr>
            <a:lstStyle/>
            <a:p>
              <a:pPr defTabSz="932597">
                <a:defRPr/>
              </a:pPr>
              <a:r>
                <a:rPr lang="en-US" sz="1122" kern="0" dirty="0">
                  <a:solidFill>
                    <a:srgbClr val="FFFFFF"/>
                  </a:solidFill>
                  <a:latin typeface="Segoe UI"/>
                  <a:cs typeface="Segoe UI Semilight" panose="020B0402040204020203" pitchFamily="34" charset="0"/>
                </a:rPr>
                <a:t>Event Hubs</a:t>
              </a:r>
              <a:endParaRPr lang="en-US" sz="1122" kern="0" dirty="0">
                <a:solidFill>
                  <a:srgbClr val="FFFFFF"/>
                </a:solidFill>
                <a:latin typeface="Segoe UI"/>
              </a:endParaRPr>
            </a:p>
          </p:txBody>
        </p:sp>
        <p:cxnSp>
          <p:nvCxnSpPr>
            <p:cNvPr id="183" name="Straight Connector 182"/>
            <p:cNvCxnSpPr/>
            <p:nvPr/>
          </p:nvCxnSpPr>
          <p:spPr>
            <a:xfrm>
              <a:off x="2019368" y="6118143"/>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184" name="Group 183"/>
            <p:cNvGrpSpPr/>
            <p:nvPr/>
          </p:nvGrpSpPr>
          <p:grpSpPr>
            <a:xfrm rot="13500000">
              <a:off x="4205167" y="6028138"/>
              <a:ext cx="181498" cy="178786"/>
              <a:chOff x="402446" y="5872915"/>
              <a:chExt cx="292608" cy="288235"/>
            </a:xfrm>
            <a:solidFill>
              <a:srgbClr val="FFFFFF">
                <a:lumMod val="85000"/>
              </a:srgbClr>
            </a:solidFill>
          </p:grpSpPr>
          <p:cxnSp>
            <p:nvCxnSpPr>
              <p:cNvPr id="193" name="Straight Connector 192"/>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194" name="Straight Connector 193"/>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sp>
          <p:nvSpPr>
            <p:cNvPr id="185" name="Rectangle 184"/>
            <p:cNvSpPr/>
            <p:nvPr/>
          </p:nvSpPr>
          <p:spPr>
            <a:xfrm>
              <a:off x="2652706" y="3161800"/>
              <a:ext cx="1271016" cy="265009"/>
            </a:xfrm>
            <a:prstGeom prst="rect">
              <a:avLst/>
            </a:prstGeom>
          </p:spPr>
          <p:txBody>
            <a:bodyPr wrap="square">
              <a:spAutoFit/>
            </a:bodyPr>
            <a:lstStyle/>
            <a:p>
              <a:pPr defTabSz="932597">
                <a:defRPr/>
              </a:pPr>
              <a:r>
                <a:rPr lang="en-US" sz="1122" kern="0" dirty="0">
                  <a:solidFill>
                    <a:srgbClr val="FFFFFF"/>
                  </a:solidFill>
                  <a:latin typeface="Segoe UI"/>
                  <a:cs typeface="Segoe UI Semilight" panose="020B0402040204020203" pitchFamily="34" charset="0"/>
                </a:rPr>
                <a:t>Data Catalog</a:t>
              </a:r>
            </a:p>
          </p:txBody>
        </p:sp>
        <p:grpSp>
          <p:nvGrpSpPr>
            <p:cNvPr id="186" name="Group 185"/>
            <p:cNvGrpSpPr/>
            <p:nvPr/>
          </p:nvGrpSpPr>
          <p:grpSpPr>
            <a:xfrm>
              <a:off x="2337798" y="3119355"/>
              <a:ext cx="274997" cy="292527"/>
              <a:chOff x="3232150" y="382588"/>
              <a:chExt cx="5727700" cy="6092825"/>
            </a:xfrm>
            <a:solidFill>
              <a:srgbClr val="FFFFFF"/>
            </a:solidFill>
          </p:grpSpPr>
          <p:sp>
            <p:nvSpPr>
              <p:cNvPr id="190"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latin typeface="Segoe UI"/>
                </a:endParaRPr>
              </a:p>
            </p:txBody>
          </p:sp>
          <p:sp>
            <p:nvSpPr>
              <p:cNvPr id="191"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latin typeface="Segoe UI"/>
                </a:endParaRPr>
              </a:p>
            </p:txBody>
          </p:sp>
          <p:sp>
            <p:nvSpPr>
              <p:cNvPr id="192"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latin typeface="Segoe UI"/>
                </a:endParaRPr>
              </a:p>
            </p:txBody>
          </p:sp>
        </p:grpSp>
        <p:sp>
          <p:nvSpPr>
            <p:cNvPr id="187" name="Rectangle 186"/>
            <p:cNvSpPr/>
            <p:nvPr/>
          </p:nvSpPr>
          <p:spPr>
            <a:xfrm>
              <a:off x="2652706" y="2528227"/>
              <a:ext cx="1271016" cy="265009"/>
            </a:xfrm>
            <a:prstGeom prst="rect">
              <a:avLst/>
            </a:prstGeom>
          </p:spPr>
          <p:txBody>
            <a:bodyPr wrap="square">
              <a:spAutoFit/>
            </a:bodyPr>
            <a:lstStyle/>
            <a:p>
              <a:pPr defTabSz="932597">
                <a:defRPr/>
              </a:pPr>
              <a:r>
                <a:rPr lang="en-US" sz="1122" kern="0" dirty="0">
                  <a:solidFill>
                    <a:srgbClr val="FFFFFF"/>
                  </a:solidFill>
                  <a:latin typeface="Segoe UI"/>
                  <a:cs typeface="Segoe UI Semilight" panose="020B0402040204020203" pitchFamily="34" charset="0"/>
                </a:rPr>
                <a:t>Data Factory </a:t>
              </a:r>
              <a:endParaRPr lang="en-US" sz="1122" kern="0" dirty="0">
                <a:solidFill>
                  <a:srgbClr val="FFFFFF"/>
                </a:solidFill>
                <a:latin typeface="Segoe UI"/>
              </a:endParaRPr>
            </a:p>
          </p:txBody>
        </p:sp>
        <p:sp>
          <p:nvSpPr>
            <p:cNvPr id="188" name="Freeform 63"/>
            <p:cNvSpPr/>
            <p:nvPr/>
          </p:nvSpPr>
          <p:spPr bwMode="auto">
            <a:xfrm>
              <a:off x="2333792" y="2466963"/>
              <a:ext cx="286460" cy="301030"/>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kern="0" dirty="0">
                <a:solidFill>
                  <a:srgbClr val="FFFFFF"/>
                </a:solidFill>
                <a:latin typeface="Segoe UI"/>
                <a:ea typeface="Segoe UI" pitchFamily="34" charset="0"/>
                <a:cs typeface="Segoe UI" pitchFamily="34" charset="0"/>
              </a:endParaRPr>
            </a:p>
          </p:txBody>
        </p:sp>
        <p:sp>
          <p:nvSpPr>
            <p:cNvPr id="189" name="Freeform 64"/>
            <p:cNvSpPr/>
            <p:nvPr/>
          </p:nvSpPr>
          <p:spPr bwMode="auto">
            <a:xfrm>
              <a:off x="2354114" y="3729564"/>
              <a:ext cx="231574" cy="24233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kern="0" dirty="0">
                <a:solidFill>
                  <a:srgbClr val="FFFFFF"/>
                </a:solidFill>
                <a:latin typeface="Segoe UI"/>
                <a:ea typeface="Segoe UI" pitchFamily="34" charset="0"/>
                <a:cs typeface="Segoe UI" pitchFamily="34" charset="0"/>
              </a:endParaRPr>
            </a:p>
          </p:txBody>
        </p:sp>
      </p:grpSp>
      <p:sp>
        <p:nvSpPr>
          <p:cNvPr id="195" name="Rectangle 194"/>
          <p:cNvSpPr/>
          <p:nvPr/>
        </p:nvSpPr>
        <p:spPr bwMode="auto">
          <a:xfrm>
            <a:off x="6019917" y="1690036"/>
            <a:ext cx="1771946" cy="4270756"/>
          </a:xfrm>
          <a:prstGeom prst="rect">
            <a:avLst/>
          </a:prstGeom>
          <a:solidFill>
            <a:schemeClr val="accent1"/>
          </a:solidFill>
          <a:ln w="3175">
            <a:noFill/>
          </a:ln>
          <a:effectLst/>
        </p:spPr>
        <p:txBody>
          <a:bodyPr spcFirstLastPara="0" vert="horz" wrap="square" lIns="18645" tIns="93260" rIns="18645" bIns="93221" numCol="1" spcCol="1270" anchor="t" anchorCtr="0">
            <a:noAutofit/>
          </a:bodyPr>
          <a:lstStyle/>
          <a:p>
            <a:pPr algn="ctr" defTabSz="739440">
              <a:spcBef>
                <a:spcPct val="0"/>
              </a:spcBef>
              <a:spcAft>
                <a:spcPct val="35000"/>
              </a:spcAft>
              <a:defRPr/>
            </a:pPr>
            <a:r>
              <a:rPr lang="en-US" sz="1428" kern="0" dirty="0">
                <a:solidFill>
                  <a:srgbClr val="FFFFFF"/>
                </a:solidFill>
                <a:latin typeface="Segoe UI Semibold" panose="020B0702040204020203" pitchFamily="34" charset="0"/>
                <a:cs typeface="Segoe UI Semibold" panose="020B0702040204020203" pitchFamily="34" charset="0"/>
              </a:rPr>
              <a:t>Machine Learning and Analytics</a:t>
            </a:r>
          </a:p>
        </p:txBody>
      </p:sp>
      <p:sp>
        <p:nvSpPr>
          <p:cNvPr id="196" name="Rectangle 195"/>
          <p:cNvSpPr/>
          <p:nvPr/>
        </p:nvSpPr>
        <p:spPr bwMode="auto">
          <a:xfrm>
            <a:off x="6016568" y="3670763"/>
            <a:ext cx="1744366" cy="5881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kern="0">
              <a:solidFill>
                <a:srgbClr val="00BCF2"/>
              </a:solidFill>
              <a:latin typeface="Segoe UI"/>
              <a:ea typeface="Segoe UI" pitchFamily="34" charset="0"/>
              <a:cs typeface="Segoe UI" pitchFamily="34" charset="0"/>
            </a:endParaRPr>
          </a:p>
        </p:txBody>
      </p:sp>
      <p:sp>
        <p:nvSpPr>
          <p:cNvPr id="197" name="Rectangle 196"/>
          <p:cNvSpPr/>
          <p:nvPr/>
        </p:nvSpPr>
        <p:spPr>
          <a:xfrm>
            <a:off x="6467624" y="3626139"/>
            <a:ext cx="1294130" cy="622511"/>
          </a:xfrm>
          <a:prstGeom prst="rect">
            <a:avLst/>
          </a:prstGeom>
        </p:spPr>
        <p:txBody>
          <a:bodyPr wrap="square">
            <a:spAutoFit/>
          </a:bodyPr>
          <a:lstStyle/>
          <a:p>
            <a:pPr defTabSz="932597">
              <a:defRPr/>
            </a:pPr>
            <a:r>
              <a:rPr lang="en-US" sz="1122" kern="0" dirty="0">
                <a:solidFill>
                  <a:srgbClr val="FFFFFF"/>
                </a:solidFill>
                <a:latin typeface="Segoe UI"/>
                <a:cs typeface="Segoe UI Semilight" panose="020B0402040204020203" pitchFamily="34" charset="0"/>
              </a:rPr>
              <a:t>HDInsight </a:t>
            </a:r>
          </a:p>
          <a:p>
            <a:pPr defTabSz="932597">
              <a:defRPr/>
            </a:pPr>
            <a:r>
              <a:rPr lang="en-US" sz="1122" kern="0" dirty="0">
                <a:solidFill>
                  <a:srgbClr val="FFFFFF"/>
                </a:solidFill>
                <a:latin typeface="Segoe UI"/>
                <a:cs typeface="Segoe UI Semilight" panose="020B0402040204020203" pitchFamily="34" charset="0"/>
              </a:rPr>
              <a:t>(Hadoop and Spark)</a:t>
            </a:r>
          </a:p>
        </p:txBody>
      </p:sp>
      <p:sp>
        <p:nvSpPr>
          <p:cNvPr id="198" name="Rectangle 197"/>
          <p:cNvSpPr/>
          <p:nvPr/>
        </p:nvSpPr>
        <p:spPr>
          <a:xfrm>
            <a:off x="6467624" y="4368882"/>
            <a:ext cx="1294130" cy="270285"/>
          </a:xfrm>
          <a:prstGeom prst="rect">
            <a:avLst/>
          </a:prstGeom>
        </p:spPr>
        <p:txBody>
          <a:bodyPr wrap="square">
            <a:spAutoFit/>
          </a:bodyPr>
          <a:lstStyle/>
          <a:p>
            <a:pPr defTabSz="932597">
              <a:defRPr/>
            </a:pPr>
            <a:r>
              <a:rPr lang="en-US" sz="1122" kern="0" dirty="0">
                <a:solidFill>
                  <a:srgbClr val="FFFFFF"/>
                </a:solidFill>
                <a:latin typeface="Segoe UI"/>
                <a:cs typeface="Segoe UI Semilight" panose="020B0402040204020203" pitchFamily="34" charset="0"/>
              </a:rPr>
              <a:t>Stream Analytics</a:t>
            </a:r>
          </a:p>
        </p:txBody>
      </p:sp>
      <p:sp>
        <p:nvSpPr>
          <p:cNvPr id="199" name="Rectangle 198"/>
          <p:cNvSpPr/>
          <p:nvPr/>
        </p:nvSpPr>
        <p:spPr bwMode="auto">
          <a:xfrm>
            <a:off x="6012039" y="3134307"/>
            <a:ext cx="1748895" cy="4983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kern="0">
              <a:solidFill>
                <a:srgbClr val="00BCF2"/>
              </a:solidFill>
              <a:latin typeface="Segoe UI"/>
              <a:ea typeface="Segoe UI" pitchFamily="34" charset="0"/>
              <a:cs typeface="Segoe UI" pitchFamily="34" charset="0"/>
            </a:endParaRPr>
          </a:p>
        </p:txBody>
      </p:sp>
      <p:sp>
        <p:nvSpPr>
          <p:cNvPr id="200" name="Rectangle 199"/>
          <p:cNvSpPr/>
          <p:nvPr/>
        </p:nvSpPr>
        <p:spPr>
          <a:xfrm>
            <a:off x="5210408" y="6047212"/>
            <a:ext cx="1515566" cy="384205"/>
          </a:xfrm>
          <a:prstGeom prst="rect">
            <a:avLst/>
          </a:prstGeom>
        </p:spPr>
        <p:txBody>
          <a:bodyPr wrap="none" lIns="0" tIns="0" rIns="0" bIns="0" anchor="ctr">
            <a:spAutoFit/>
          </a:bodyPr>
          <a:lstStyle/>
          <a:p>
            <a:pPr algn="ctr" defTabSz="739440">
              <a:spcBef>
                <a:spcPct val="0"/>
              </a:spcBef>
              <a:spcAft>
                <a:spcPct val="35000"/>
              </a:spcAft>
              <a:defRPr/>
            </a:pPr>
            <a:r>
              <a:rPr lang="en-US" sz="2448" kern="0" dirty="0">
                <a:solidFill>
                  <a:srgbClr val="002050"/>
                </a:solidFill>
                <a:latin typeface="Segoe UI Light"/>
              </a:rPr>
              <a:t>Intelligence</a:t>
            </a:r>
            <a:endParaRPr lang="en-US" sz="1836" b="1" kern="0" spc="-31" dirty="0">
              <a:solidFill>
                <a:srgbClr val="002050"/>
              </a:solidFill>
              <a:latin typeface="Segoe UI Semilight" panose="020B0402040204020203" pitchFamily="34" charset="0"/>
              <a:cs typeface="Segoe UI Semilight" panose="020B0402040204020203" pitchFamily="34" charset="0"/>
            </a:endParaRPr>
          </a:p>
        </p:txBody>
      </p:sp>
      <p:sp>
        <p:nvSpPr>
          <p:cNvPr id="201" name="Rectangle 200"/>
          <p:cNvSpPr/>
          <p:nvPr/>
        </p:nvSpPr>
        <p:spPr>
          <a:xfrm>
            <a:off x="6467624" y="3116774"/>
            <a:ext cx="1294130" cy="446397"/>
          </a:xfrm>
          <a:prstGeom prst="rect">
            <a:avLst/>
          </a:prstGeom>
        </p:spPr>
        <p:txBody>
          <a:bodyPr wrap="square">
            <a:spAutoFit/>
          </a:bodyPr>
          <a:lstStyle/>
          <a:p>
            <a:pPr defTabSz="932597">
              <a:defRPr/>
            </a:pPr>
            <a:r>
              <a:rPr lang="en-US" sz="1122" kern="0" dirty="0">
                <a:solidFill>
                  <a:srgbClr val="FFFFFF"/>
                </a:solidFill>
                <a:latin typeface="Segoe UI"/>
                <a:cs typeface="Segoe UI Semilight" panose="020B0402040204020203" pitchFamily="34" charset="0"/>
              </a:rPr>
              <a:t>Data Lake Analytics</a:t>
            </a:r>
          </a:p>
        </p:txBody>
      </p:sp>
      <p:sp>
        <p:nvSpPr>
          <p:cNvPr id="202" name="Rectangle 201"/>
          <p:cNvSpPr/>
          <p:nvPr/>
        </p:nvSpPr>
        <p:spPr>
          <a:xfrm>
            <a:off x="6467624" y="2492234"/>
            <a:ext cx="1294130" cy="446397"/>
          </a:xfrm>
          <a:prstGeom prst="rect">
            <a:avLst/>
          </a:prstGeom>
        </p:spPr>
        <p:txBody>
          <a:bodyPr wrap="square">
            <a:spAutoFit/>
          </a:bodyPr>
          <a:lstStyle/>
          <a:p>
            <a:pPr defTabSz="932597">
              <a:defRPr/>
            </a:pPr>
            <a:r>
              <a:rPr lang="en-US" sz="1122" kern="0" dirty="0">
                <a:solidFill>
                  <a:srgbClr val="FFFFFF"/>
                </a:solidFill>
                <a:latin typeface="Segoe UI"/>
                <a:cs typeface="Segoe UI Semilight" panose="020B0402040204020203" pitchFamily="34" charset="0"/>
              </a:rPr>
              <a:t>Machine Learning</a:t>
            </a:r>
          </a:p>
        </p:txBody>
      </p:sp>
      <p:grpSp>
        <p:nvGrpSpPr>
          <p:cNvPr id="203" name="Group 202"/>
          <p:cNvGrpSpPr/>
          <p:nvPr/>
        </p:nvGrpSpPr>
        <p:grpSpPr>
          <a:xfrm>
            <a:off x="6102688" y="4371249"/>
            <a:ext cx="359675" cy="276298"/>
            <a:chOff x="1260022" y="5196402"/>
            <a:chExt cx="3273425" cy="2514600"/>
          </a:xfrm>
          <a:solidFill>
            <a:srgbClr val="FFFFFF"/>
          </a:solidFill>
        </p:grpSpPr>
        <p:sp>
          <p:nvSpPr>
            <p:cNvPr id="204" name="Freeform 79"/>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836" dirty="0">
                <a:solidFill>
                  <a:srgbClr val="FFFFFF"/>
                </a:solidFill>
                <a:latin typeface="Segoe UI"/>
              </a:endParaRPr>
            </a:p>
          </p:txBody>
        </p:sp>
        <p:sp>
          <p:nvSpPr>
            <p:cNvPr id="205" name="Freeform 80"/>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836" dirty="0">
                <a:solidFill>
                  <a:srgbClr val="FFFFFF"/>
                </a:solidFill>
                <a:latin typeface="Segoe UI"/>
              </a:endParaRPr>
            </a:p>
          </p:txBody>
        </p:sp>
        <p:sp>
          <p:nvSpPr>
            <p:cNvPr id="206" name="Freeform 81"/>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836" dirty="0">
                <a:solidFill>
                  <a:srgbClr val="FFFFFF"/>
                </a:solidFill>
                <a:latin typeface="Segoe UI"/>
              </a:endParaRPr>
            </a:p>
          </p:txBody>
        </p:sp>
        <p:sp>
          <p:nvSpPr>
            <p:cNvPr id="207" name="Freeform 82"/>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836" dirty="0">
                <a:solidFill>
                  <a:srgbClr val="FFFFFF"/>
                </a:solidFill>
                <a:latin typeface="Segoe UI"/>
              </a:endParaRPr>
            </a:p>
          </p:txBody>
        </p:sp>
      </p:grpSp>
      <p:sp>
        <p:nvSpPr>
          <p:cNvPr id="208" name="Freeform 83"/>
          <p:cNvSpPr>
            <a:spLocks/>
          </p:cNvSpPr>
          <p:nvPr/>
        </p:nvSpPr>
        <p:spPr bwMode="auto">
          <a:xfrm>
            <a:off x="6104030" y="3790920"/>
            <a:ext cx="373674" cy="2827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bg1"/>
          </a:solidFill>
          <a:ln w="635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632" kern="0" dirty="0">
              <a:solidFill>
                <a:srgbClr val="FFFFFF"/>
              </a:solidFill>
              <a:latin typeface="Segoe UI"/>
            </a:endParaRPr>
          </a:p>
        </p:txBody>
      </p:sp>
      <p:sp>
        <p:nvSpPr>
          <p:cNvPr id="209" name="Freeform 84"/>
          <p:cNvSpPr/>
          <p:nvPr/>
        </p:nvSpPr>
        <p:spPr bwMode="auto">
          <a:xfrm flipH="1">
            <a:off x="6148140" y="2572026"/>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kern="0" dirty="0">
              <a:solidFill>
                <a:srgbClr val="FFFFFF"/>
              </a:solidFill>
              <a:latin typeface="Segoe UI"/>
              <a:ea typeface="Segoe UI" pitchFamily="34" charset="0"/>
              <a:cs typeface="Segoe UI" pitchFamily="34" charset="0"/>
            </a:endParaRPr>
          </a:p>
        </p:txBody>
      </p:sp>
      <p:sp>
        <p:nvSpPr>
          <p:cNvPr id="210" name="Rectangle 209"/>
          <p:cNvSpPr/>
          <p:nvPr/>
        </p:nvSpPr>
        <p:spPr bwMode="auto">
          <a:xfrm>
            <a:off x="4125168" y="1690036"/>
            <a:ext cx="1803235" cy="4270756"/>
          </a:xfrm>
          <a:prstGeom prst="rect">
            <a:avLst/>
          </a:prstGeom>
          <a:solidFill>
            <a:schemeClr val="accent1"/>
          </a:solidFill>
          <a:ln w="3175">
            <a:noFill/>
          </a:ln>
          <a:effectLst/>
        </p:spPr>
        <p:txBody>
          <a:bodyPr spcFirstLastPara="0" vert="horz" wrap="square" lIns="18645" tIns="93260" rIns="18645" bIns="93221" numCol="1" spcCol="1270" anchor="t" anchorCtr="0">
            <a:noAutofit/>
          </a:bodyPr>
          <a:lstStyle/>
          <a:p>
            <a:pPr algn="ctr" defTabSz="739440">
              <a:spcBef>
                <a:spcPct val="0"/>
              </a:spcBef>
              <a:spcAft>
                <a:spcPct val="35000"/>
              </a:spcAft>
              <a:defRPr/>
            </a:pPr>
            <a:r>
              <a:rPr lang="en-US" sz="1428" kern="0" dirty="0">
                <a:solidFill>
                  <a:srgbClr val="FFFFFF"/>
                </a:solidFill>
                <a:latin typeface="Segoe UI Semibold" panose="020B0702040204020203" pitchFamily="34" charset="0"/>
                <a:cs typeface="Segoe UI Semibold" panose="020B0702040204020203" pitchFamily="34" charset="0"/>
              </a:rPr>
              <a:t>Big Data Stores</a:t>
            </a:r>
          </a:p>
        </p:txBody>
      </p:sp>
      <p:sp>
        <p:nvSpPr>
          <p:cNvPr id="211" name="Rectangle 210"/>
          <p:cNvSpPr/>
          <p:nvPr/>
        </p:nvSpPr>
        <p:spPr>
          <a:xfrm>
            <a:off x="4584969" y="2486961"/>
            <a:ext cx="1296319" cy="446397"/>
          </a:xfrm>
          <a:prstGeom prst="rect">
            <a:avLst/>
          </a:prstGeom>
        </p:spPr>
        <p:txBody>
          <a:bodyPr wrap="square">
            <a:spAutoFit/>
          </a:bodyPr>
          <a:lstStyle/>
          <a:p>
            <a:pPr defTabSz="932597">
              <a:defRPr/>
            </a:pPr>
            <a:r>
              <a:rPr lang="en-US" sz="1122" kern="0" dirty="0">
                <a:solidFill>
                  <a:srgbClr val="FFFFFF"/>
                </a:solidFill>
                <a:latin typeface="Segoe UI"/>
                <a:cs typeface="Segoe UI Semilight" panose="020B0402040204020203" pitchFamily="34" charset="0"/>
              </a:rPr>
              <a:t>SQL Data </a:t>
            </a:r>
          </a:p>
          <a:p>
            <a:pPr defTabSz="932597">
              <a:defRPr/>
            </a:pPr>
            <a:r>
              <a:rPr lang="en-US" sz="1122" kern="0" dirty="0">
                <a:solidFill>
                  <a:srgbClr val="FFFFFF"/>
                </a:solidFill>
                <a:latin typeface="Segoe UI"/>
                <a:cs typeface="Segoe UI Semilight" panose="020B0402040204020203" pitchFamily="34" charset="0"/>
              </a:rPr>
              <a:t>Warehouse</a:t>
            </a:r>
          </a:p>
        </p:txBody>
      </p:sp>
      <p:sp>
        <p:nvSpPr>
          <p:cNvPr id="212" name="Rectangle 211"/>
          <p:cNvSpPr/>
          <p:nvPr/>
        </p:nvSpPr>
        <p:spPr bwMode="auto">
          <a:xfrm>
            <a:off x="4140705" y="3441082"/>
            <a:ext cx="1740584" cy="4983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kern="0">
              <a:solidFill>
                <a:srgbClr val="000000"/>
              </a:solidFill>
              <a:latin typeface="Segoe UI"/>
              <a:ea typeface="Segoe UI" pitchFamily="34" charset="0"/>
              <a:cs typeface="Segoe UI" pitchFamily="34" charset="0"/>
            </a:endParaRPr>
          </a:p>
        </p:txBody>
      </p:sp>
      <p:sp>
        <p:nvSpPr>
          <p:cNvPr id="213" name="Rectangle 212"/>
          <p:cNvSpPr/>
          <p:nvPr/>
        </p:nvSpPr>
        <p:spPr>
          <a:xfrm>
            <a:off x="4604674" y="3550867"/>
            <a:ext cx="1296319" cy="270285"/>
          </a:xfrm>
          <a:prstGeom prst="rect">
            <a:avLst/>
          </a:prstGeom>
        </p:spPr>
        <p:txBody>
          <a:bodyPr wrap="square">
            <a:spAutoFit/>
          </a:bodyPr>
          <a:lstStyle/>
          <a:p>
            <a:pPr defTabSz="932597">
              <a:defRPr/>
            </a:pPr>
            <a:r>
              <a:rPr lang="en-US" sz="1122" kern="0" dirty="0">
                <a:solidFill>
                  <a:srgbClr val="FFFFFF"/>
                </a:solidFill>
                <a:latin typeface="Segoe UI"/>
                <a:cs typeface="Segoe UI Semilight" panose="020B0402040204020203" pitchFamily="34" charset="0"/>
              </a:rPr>
              <a:t>Data Lake Store</a:t>
            </a:r>
          </a:p>
        </p:txBody>
      </p:sp>
      <p:grpSp>
        <p:nvGrpSpPr>
          <p:cNvPr id="214" name="Group 213"/>
          <p:cNvGrpSpPr/>
          <p:nvPr/>
        </p:nvGrpSpPr>
        <p:grpSpPr>
          <a:xfrm>
            <a:off x="4256861" y="2551640"/>
            <a:ext cx="253198" cy="310108"/>
            <a:chOff x="-3084513" y="3390510"/>
            <a:chExt cx="2716213" cy="3363913"/>
          </a:xfrm>
          <a:solidFill>
            <a:srgbClr val="FFFFFF"/>
          </a:solidFill>
        </p:grpSpPr>
        <p:sp>
          <p:nvSpPr>
            <p:cNvPr id="215"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latin typeface="Segoe UI"/>
              </a:endParaRPr>
            </a:p>
          </p:txBody>
        </p:sp>
        <p:sp>
          <p:nvSpPr>
            <p:cNvPr id="216"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latin typeface="Segoe UI"/>
              </a:endParaRPr>
            </a:p>
          </p:txBody>
        </p:sp>
      </p:grpSp>
      <p:grpSp>
        <p:nvGrpSpPr>
          <p:cNvPr id="217" name="Group 216"/>
          <p:cNvGrpSpPr/>
          <p:nvPr/>
        </p:nvGrpSpPr>
        <p:grpSpPr>
          <a:xfrm>
            <a:off x="507462" y="1699364"/>
            <a:ext cx="1891660" cy="4703720"/>
            <a:chOff x="496692" y="1666194"/>
            <a:chExt cx="1854737" cy="4611909"/>
          </a:xfrm>
        </p:grpSpPr>
        <p:sp>
          <p:nvSpPr>
            <p:cNvPr id="218" name="TextBox 217"/>
            <p:cNvSpPr txBox="1"/>
            <p:nvPr/>
          </p:nvSpPr>
          <p:spPr>
            <a:xfrm>
              <a:off x="1261370" y="1927965"/>
              <a:ext cx="1090059" cy="563250"/>
            </a:xfrm>
            <a:prstGeom prst="rect">
              <a:avLst/>
            </a:prstGeom>
            <a:noFill/>
          </p:spPr>
          <p:txBody>
            <a:bodyPr wrap="square" lIns="0" tIns="149195" rIns="186494" bIns="149195" rtlCol="0">
              <a:noAutofit/>
            </a:bodyPr>
            <a:lstStyle/>
            <a:p>
              <a:pPr defTabSz="951121">
                <a:lnSpc>
                  <a:spcPct val="90000"/>
                </a:lnSpc>
                <a:spcAft>
                  <a:spcPts val="612"/>
                </a:spcAft>
                <a:defRPr/>
              </a:pPr>
              <a:r>
                <a:rPr lang="en-US" sz="1224" kern="0" spc="-31" dirty="0">
                  <a:solidFill>
                    <a:srgbClr val="002050"/>
                  </a:solidFill>
                  <a:latin typeface="Segoe UI Semilight" panose="020B0402040204020203" pitchFamily="34" charset="0"/>
                  <a:cs typeface="Segoe UI Semilight" panose="020B0402040204020203" pitchFamily="34" charset="0"/>
                </a:rPr>
                <a:t>Data </a:t>
              </a:r>
              <a:br>
                <a:rPr lang="en-US" sz="1224" kern="0" spc="-31" dirty="0">
                  <a:solidFill>
                    <a:srgbClr val="002050"/>
                  </a:solidFill>
                  <a:latin typeface="Segoe UI Semilight" panose="020B0402040204020203" pitchFamily="34" charset="0"/>
                  <a:cs typeface="Segoe UI Semilight" panose="020B0402040204020203" pitchFamily="34" charset="0"/>
                </a:rPr>
              </a:br>
              <a:r>
                <a:rPr lang="en-US" sz="1224" kern="0" spc="-31" dirty="0">
                  <a:solidFill>
                    <a:srgbClr val="002050"/>
                  </a:solidFill>
                  <a:latin typeface="Segoe UI Semilight" panose="020B0402040204020203" pitchFamily="34" charset="0"/>
                  <a:cs typeface="Segoe UI Semilight" panose="020B0402040204020203" pitchFamily="34" charset="0"/>
                </a:rPr>
                <a:t>Sources</a:t>
              </a:r>
            </a:p>
          </p:txBody>
        </p:sp>
        <p:sp>
          <p:nvSpPr>
            <p:cNvPr id="219" name="TextBox 218"/>
            <p:cNvSpPr txBox="1"/>
            <p:nvPr/>
          </p:nvSpPr>
          <p:spPr>
            <a:xfrm>
              <a:off x="1214236" y="3529646"/>
              <a:ext cx="1090059" cy="579230"/>
            </a:xfrm>
            <a:prstGeom prst="rect">
              <a:avLst/>
            </a:prstGeom>
            <a:noFill/>
          </p:spPr>
          <p:txBody>
            <a:bodyPr wrap="square" lIns="0" tIns="149195" rIns="186494" bIns="149195" rtlCol="0">
              <a:noAutofit/>
            </a:bodyPr>
            <a:lstStyle/>
            <a:p>
              <a:pPr defTabSz="951121">
                <a:lnSpc>
                  <a:spcPct val="90000"/>
                </a:lnSpc>
                <a:spcBef>
                  <a:spcPct val="0"/>
                </a:spcBef>
                <a:spcAft>
                  <a:spcPts val="612"/>
                </a:spcAft>
                <a:defRPr/>
              </a:pPr>
              <a:r>
                <a:rPr lang="en-US" sz="1224" kern="0" spc="-31" dirty="0">
                  <a:solidFill>
                    <a:srgbClr val="002050"/>
                  </a:solidFill>
                  <a:latin typeface="Segoe UI Semilight" panose="020B0402040204020203" pitchFamily="34" charset="0"/>
                  <a:cs typeface="Segoe UI Semilight" panose="020B0402040204020203" pitchFamily="34" charset="0"/>
                </a:rPr>
                <a:t>Apps</a:t>
              </a:r>
            </a:p>
          </p:txBody>
        </p:sp>
        <p:sp>
          <p:nvSpPr>
            <p:cNvPr id="220" name="TextBox 219"/>
            <p:cNvSpPr txBox="1"/>
            <p:nvPr/>
          </p:nvSpPr>
          <p:spPr>
            <a:xfrm>
              <a:off x="1261370" y="4995093"/>
              <a:ext cx="974964" cy="616531"/>
            </a:xfrm>
            <a:prstGeom prst="rect">
              <a:avLst/>
            </a:prstGeom>
            <a:noFill/>
          </p:spPr>
          <p:txBody>
            <a:bodyPr wrap="square" lIns="0" tIns="149195" rIns="186494" bIns="149195" rtlCol="0">
              <a:noAutofit/>
            </a:bodyPr>
            <a:lstStyle/>
            <a:p>
              <a:pPr defTabSz="951121">
                <a:lnSpc>
                  <a:spcPct val="90000"/>
                </a:lnSpc>
                <a:spcBef>
                  <a:spcPct val="0"/>
                </a:spcBef>
                <a:spcAft>
                  <a:spcPts val="612"/>
                </a:spcAft>
                <a:defRPr/>
              </a:pPr>
              <a:r>
                <a:rPr lang="en-US" sz="1224" kern="0" spc="-31" dirty="0">
                  <a:solidFill>
                    <a:srgbClr val="002050"/>
                  </a:solidFill>
                  <a:latin typeface="Segoe UI Semilight" panose="020B0402040204020203" pitchFamily="34" charset="0"/>
                  <a:cs typeface="Segoe UI Semilight" panose="020B0402040204020203" pitchFamily="34" charset="0"/>
                </a:rPr>
                <a:t>Sensors </a:t>
              </a:r>
              <a:br>
                <a:rPr lang="en-US" sz="1224" kern="0" spc="-31" dirty="0">
                  <a:solidFill>
                    <a:srgbClr val="002050"/>
                  </a:solidFill>
                  <a:latin typeface="Segoe UI Semilight" panose="020B0402040204020203" pitchFamily="34" charset="0"/>
                  <a:cs typeface="Segoe UI Semilight" panose="020B0402040204020203" pitchFamily="34" charset="0"/>
                </a:rPr>
              </a:br>
              <a:r>
                <a:rPr lang="en-US" sz="1224" kern="0" spc="-31" dirty="0">
                  <a:solidFill>
                    <a:srgbClr val="002050"/>
                  </a:solidFill>
                  <a:latin typeface="Segoe UI Semilight" panose="020B0402040204020203" pitchFamily="34" charset="0"/>
                  <a:cs typeface="Segoe UI Semilight" panose="020B0402040204020203" pitchFamily="34" charset="0"/>
                </a:rPr>
                <a:t>and </a:t>
              </a:r>
              <a:br>
                <a:rPr lang="en-US" sz="1224" kern="0" spc="-31" dirty="0">
                  <a:solidFill>
                    <a:srgbClr val="002050"/>
                  </a:solidFill>
                  <a:latin typeface="Segoe UI Semilight" panose="020B0402040204020203" pitchFamily="34" charset="0"/>
                  <a:cs typeface="Segoe UI Semilight" panose="020B0402040204020203" pitchFamily="34" charset="0"/>
                </a:rPr>
              </a:br>
              <a:r>
                <a:rPr lang="en-US" sz="1224" kern="0" spc="-31" dirty="0">
                  <a:solidFill>
                    <a:srgbClr val="002050"/>
                  </a:solidFill>
                  <a:latin typeface="Segoe UI Semilight" panose="020B0402040204020203" pitchFamily="34" charset="0"/>
                  <a:cs typeface="Segoe UI Semilight" panose="020B0402040204020203" pitchFamily="34" charset="0"/>
                </a:rPr>
                <a:t>devices</a:t>
              </a:r>
            </a:p>
          </p:txBody>
        </p:sp>
        <p:sp>
          <p:nvSpPr>
            <p:cNvPr id="221" name="Rectangle 220"/>
            <p:cNvSpPr/>
            <p:nvPr/>
          </p:nvSpPr>
          <p:spPr>
            <a:xfrm>
              <a:off x="813890" y="5956959"/>
              <a:ext cx="933597" cy="321144"/>
            </a:xfrm>
            <a:prstGeom prst="rect">
              <a:avLst/>
            </a:prstGeom>
          </p:spPr>
          <p:txBody>
            <a:bodyPr wrap="none" lIns="0" tIns="0" rIns="0" bIns="0" anchor="ctr">
              <a:noAutofit/>
            </a:bodyPr>
            <a:lstStyle/>
            <a:p>
              <a:pPr defTabSz="932597">
                <a:lnSpc>
                  <a:spcPct val="90000"/>
                </a:lnSpc>
                <a:defRPr/>
              </a:pPr>
              <a:r>
                <a:rPr lang="en-US" sz="2448" kern="0" dirty="0">
                  <a:solidFill>
                    <a:srgbClr val="002050"/>
                  </a:solidFill>
                  <a:latin typeface="Segoe UI Light"/>
                </a:rPr>
                <a:t>Data</a:t>
              </a:r>
            </a:p>
          </p:txBody>
        </p:sp>
        <p:grpSp>
          <p:nvGrpSpPr>
            <p:cNvPr id="222" name="Group 221"/>
            <p:cNvGrpSpPr/>
            <p:nvPr/>
          </p:nvGrpSpPr>
          <p:grpSpPr>
            <a:xfrm>
              <a:off x="1789019" y="1666194"/>
              <a:ext cx="308472" cy="4199169"/>
              <a:chOff x="1776319" y="1369399"/>
              <a:chExt cx="308472" cy="3830198"/>
            </a:xfrm>
          </p:grpSpPr>
          <p:sp>
            <p:nvSpPr>
              <p:cNvPr id="237" name="Freeform 112"/>
              <p:cNvSpPr/>
              <p:nvPr/>
            </p:nvSpPr>
            <p:spPr bwMode="auto">
              <a:xfrm>
                <a:off x="1960934" y="1369399"/>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algn="ctr" defTabSz="932597">
                  <a:defRPr/>
                </a:pPr>
                <a:endParaRPr lang="en-US" sz="1836" kern="0" dirty="0">
                  <a:solidFill>
                    <a:srgbClr val="FFFFFF"/>
                  </a:solidFill>
                  <a:latin typeface="Segoe UI"/>
                </a:endParaRPr>
              </a:p>
            </p:txBody>
          </p:sp>
          <p:cxnSp>
            <p:nvCxnSpPr>
              <p:cNvPr id="238" name="Straight Connector 237"/>
              <p:cNvCxnSpPr/>
              <p:nvPr/>
            </p:nvCxnSpPr>
            <p:spPr>
              <a:xfrm>
                <a:off x="1776319" y="3284498"/>
                <a:ext cx="308472" cy="0"/>
              </a:xfrm>
              <a:prstGeom prst="line">
                <a:avLst/>
              </a:prstGeom>
              <a:noFill/>
              <a:ln w="12700" cap="flat" cmpd="sng" algn="ctr">
                <a:solidFill>
                  <a:srgbClr val="0078D7"/>
                </a:solidFill>
                <a:prstDash val="solid"/>
                <a:headEnd type="none"/>
                <a:tailEnd type="none"/>
              </a:ln>
              <a:effectLst/>
            </p:spPr>
          </p:cxnSp>
        </p:grpSp>
        <p:sp>
          <p:nvSpPr>
            <p:cNvPr id="223" name="Freeform 34"/>
            <p:cNvSpPr>
              <a:spLocks noChangeAspect="1" noEditPoints="1"/>
            </p:cNvSpPr>
            <p:nvPr/>
          </p:nvSpPr>
          <p:spPr bwMode="auto">
            <a:xfrm>
              <a:off x="496692" y="2050430"/>
              <a:ext cx="530352" cy="419571"/>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rgbClr val="FFFFFF"/>
            </a:solidFill>
            <a:ln w="15240">
              <a:solidFill>
                <a:srgbClr val="0078D7"/>
              </a:solidFill>
            </a:ln>
          </p:spPr>
          <p:txBody>
            <a:bodyPr vert="horz" wrap="square" lIns="93247" tIns="46623" rIns="93247" bIns="46623" numCol="1" anchor="t" anchorCtr="0" compatLnSpc="1">
              <a:prstTxWarp prst="textNoShape">
                <a:avLst/>
              </a:prstTxWarp>
            </a:bodyPr>
            <a:lstStyle/>
            <a:p>
              <a:pPr defTabSz="951121">
                <a:defRPr/>
              </a:pPr>
              <a:endParaRPr lang="en-US" sz="1836" kern="0">
                <a:solidFill>
                  <a:srgbClr val="333333"/>
                </a:solidFill>
                <a:latin typeface="Segoe UI"/>
              </a:endParaRPr>
            </a:p>
          </p:txBody>
        </p:sp>
        <p:grpSp>
          <p:nvGrpSpPr>
            <p:cNvPr id="224" name="Group 223"/>
            <p:cNvGrpSpPr/>
            <p:nvPr/>
          </p:nvGrpSpPr>
          <p:grpSpPr>
            <a:xfrm>
              <a:off x="532519" y="3627377"/>
              <a:ext cx="522040" cy="533547"/>
              <a:chOff x="2308225" y="7734300"/>
              <a:chExt cx="1368425" cy="1398588"/>
            </a:xfrm>
            <a:solidFill>
              <a:srgbClr val="0078D7"/>
            </a:solidFill>
          </p:grpSpPr>
          <p:sp>
            <p:nvSpPr>
              <p:cNvPr id="226" name="Freeform 97"/>
              <p:cNvSpPr>
                <a:spLocks/>
              </p:cNvSpPr>
              <p:nvPr/>
            </p:nvSpPr>
            <p:spPr bwMode="auto">
              <a:xfrm>
                <a:off x="2574925" y="8740775"/>
                <a:ext cx="174625" cy="41275"/>
              </a:xfrm>
              <a:custGeom>
                <a:avLst/>
                <a:gdLst>
                  <a:gd name="T0" fmla="*/ 96 w 110"/>
                  <a:gd name="T1" fmla="*/ 26 h 26"/>
                  <a:gd name="T2" fmla="*/ 14 w 110"/>
                  <a:gd name="T3" fmla="*/ 26 h 26"/>
                  <a:gd name="T4" fmla="*/ 14 w 110"/>
                  <a:gd name="T5" fmla="*/ 26 h 26"/>
                  <a:gd name="T6" fmla="*/ 8 w 110"/>
                  <a:gd name="T7" fmla="*/ 24 h 26"/>
                  <a:gd name="T8" fmla="*/ 4 w 110"/>
                  <a:gd name="T9" fmla="*/ 22 h 26"/>
                  <a:gd name="T10" fmla="*/ 2 w 110"/>
                  <a:gd name="T11" fmla="*/ 18 h 26"/>
                  <a:gd name="T12" fmla="*/ 0 w 110"/>
                  <a:gd name="T13" fmla="*/ 12 h 26"/>
                  <a:gd name="T14" fmla="*/ 0 w 110"/>
                  <a:gd name="T15" fmla="*/ 12 h 26"/>
                  <a:gd name="T16" fmla="*/ 2 w 110"/>
                  <a:gd name="T17" fmla="*/ 8 h 26"/>
                  <a:gd name="T18" fmla="*/ 4 w 110"/>
                  <a:gd name="T19" fmla="*/ 4 h 26"/>
                  <a:gd name="T20" fmla="*/ 8 w 110"/>
                  <a:gd name="T21" fmla="*/ 2 h 26"/>
                  <a:gd name="T22" fmla="*/ 14 w 110"/>
                  <a:gd name="T23" fmla="*/ 0 h 26"/>
                  <a:gd name="T24" fmla="*/ 96 w 110"/>
                  <a:gd name="T25" fmla="*/ 0 h 26"/>
                  <a:gd name="T26" fmla="*/ 96 w 110"/>
                  <a:gd name="T27" fmla="*/ 0 h 26"/>
                  <a:gd name="T28" fmla="*/ 102 w 110"/>
                  <a:gd name="T29" fmla="*/ 2 h 26"/>
                  <a:gd name="T30" fmla="*/ 106 w 110"/>
                  <a:gd name="T31" fmla="*/ 4 h 26"/>
                  <a:gd name="T32" fmla="*/ 108 w 110"/>
                  <a:gd name="T33" fmla="*/ 8 h 26"/>
                  <a:gd name="T34" fmla="*/ 110 w 110"/>
                  <a:gd name="T35" fmla="*/ 12 h 26"/>
                  <a:gd name="T36" fmla="*/ 110 w 110"/>
                  <a:gd name="T37" fmla="*/ 12 h 26"/>
                  <a:gd name="T38" fmla="*/ 108 w 110"/>
                  <a:gd name="T39" fmla="*/ 18 h 26"/>
                  <a:gd name="T40" fmla="*/ 106 w 110"/>
                  <a:gd name="T41" fmla="*/ 22 h 26"/>
                  <a:gd name="T42" fmla="*/ 102 w 110"/>
                  <a:gd name="T43" fmla="*/ 24 h 26"/>
                  <a:gd name="T44" fmla="*/ 96 w 110"/>
                  <a:gd name="T45" fmla="*/ 26 h 26"/>
                  <a:gd name="T46" fmla="*/ 96 w 110"/>
                  <a:gd name="T4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26">
                    <a:moveTo>
                      <a:pt x="96" y="26"/>
                    </a:moveTo>
                    <a:lnTo>
                      <a:pt x="14" y="26"/>
                    </a:lnTo>
                    <a:lnTo>
                      <a:pt x="14" y="26"/>
                    </a:lnTo>
                    <a:lnTo>
                      <a:pt x="8" y="24"/>
                    </a:lnTo>
                    <a:lnTo>
                      <a:pt x="4" y="22"/>
                    </a:lnTo>
                    <a:lnTo>
                      <a:pt x="2" y="18"/>
                    </a:lnTo>
                    <a:lnTo>
                      <a:pt x="0" y="12"/>
                    </a:lnTo>
                    <a:lnTo>
                      <a:pt x="0" y="12"/>
                    </a:lnTo>
                    <a:lnTo>
                      <a:pt x="2" y="8"/>
                    </a:lnTo>
                    <a:lnTo>
                      <a:pt x="4" y="4"/>
                    </a:lnTo>
                    <a:lnTo>
                      <a:pt x="8" y="2"/>
                    </a:lnTo>
                    <a:lnTo>
                      <a:pt x="14" y="0"/>
                    </a:lnTo>
                    <a:lnTo>
                      <a:pt x="96" y="0"/>
                    </a:lnTo>
                    <a:lnTo>
                      <a:pt x="96" y="0"/>
                    </a:lnTo>
                    <a:lnTo>
                      <a:pt x="102" y="2"/>
                    </a:lnTo>
                    <a:lnTo>
                      <a:pt x="106" y="4"/>
                    </a:lnTo>
                    <a:lnTo>
                      <a:pt x="108" y="8"/>
                    </a:lnTo>
                    <a:lnTo>
                      <a:pt x="110" y="12"/>
                    </a:lnTo>
                    <a:lnTo>
                      <a:pt x="110" y="12"/>
                    </a:lnTo>
                    <a:lnTo>
                      <a:pt x="108" y="18"/>
                    </a:lnTo>
                    <a:lnTo>
                      <a:pt x="106" y="22"/>
                    </a:lnTo>
                    <a:lnTo>
                      <a:pt x="102" y="24"/>
                    </a:lnTo>
                    <a:lnTo>
                      <a:pt x="96" y="26"/>
                    </a:lnTo>
                    <a:lnTo>
                      <a:pt x="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latin typeface="Segoe UI"/>
                </a:endParaRPr>
              </a:p>
            </p:txBody>
          </p:sp>
          <p:sp>
            <p:nvSpPr>
              <p:cNvPr id="227" name="Freeform 98"/>
              <p:cNvSpPr>
                <a:spLocks noEditPoints="1"/>
              </p:cNvSpPr>
              <p:nvPr/>
            </p:nvSpPr>
            <p:spPr bwMode="auto">
              <a:xfrm>
                <a:off x="2428875" y="8096250"/>
                <a:ext cx="219075" cy="215900"/>
              </a:xfrm>
              <a:custGeom>
                <a:avLst/>
                <a:gdLst>
                  <a:gd name="T0" fmla="*/ 120 w 138"/>
                  <a:gd name="T1" fmla="*/ 136 h 136"/>
                  <a:gd name="T2" fmla="*/ 18 w 138"/>
                  <a:gd name="T3" fmla="*/ 136 h 136"/>
                  <a:gd name="T4" fmla="*/ 18 w 138"/>
                  <a:gd name="T5" fmla="*/ 136 h 136"/>
                  <a:gd name="T6" fmla="*/ 12 w 138"/>
                  <a:gd name="T7" fmla="*/ 136 h 136"/>
                  <a:gd name="T8" fmla="*/ 6 w 138"/>
                  <a:gd name="T9" fmla="*/ 132 h 136"/>
                  <a:gd name="T10" fmla="*/ 2 w 138"/>
                  <a:gd name="T11" fmla="*/ 126 h 136"/>
                  <a:gd name="T12" fmla="*/ 0 w 138"/>
                  <a:gd name="T13" fmla="*/ 118 h 136"/>
                  <a:gd name="T14" fmla="*/ 0 w 138"/>
                  <a:gd name="T15" fmla="*/ 18 h 136"/>
                  <a:gd name="T16" fmla="*/ 0 w 138"/>
                  <a:gd name="T17" fmla="*/ 18 h 136"/>
                  <a:gd name="T18" fmla="*/ 2 w 138"/>
                  <a:gd name="T19" fmla="*/ 10 h 136"/>
                  <a:gd name="T20" fmla="*/ 6 w 138"/>
                  <a:gd name="T21" fmla="*/ 4 h 136"/>
                  <a:gd name="T22" fmla="*/ 12 w 138"/>
                  <a:gd name="T23" fmla="*/ 2 h 136"/>
                  <a:gd name="T24" fmla="*/ 18 w 138"/>
                  <a:gd name="T25" fmla="*/ 0 h 136"/>
                  <a:gd name="T26" fmla="*/ 120 w 138"/>
                  <a:gd name="T27" fmla="*/ 0 h 136"/>
                  <a:gd name="T28" fmla="*/ 120 w 138"/>
                  <a:gd name="T29" fmla="*/ 0 h 136"/>
                  <a:gd name="T30" fmla="*/ 126 w 138"/>
                  <a:gd name="T31" fmla="*/ 2 h 136"/>
                  <a:gd name="T32" fmla="*/ 132 w 138"/>
                  <a:gd name="T33" fmla="*/ 4 h 136"/>
                  <a:gd name="T34" fmla="*/ 136 w 138"/>
                  <a:gd name="T35" fmla="*/ 10 h 136"/>
                  <a:gd name="T36" fmla="*/ 138 w 138"/>
                  <a:gd name="T37" fmla="*/ 18 h 136"/>
                  <a:gd name="T38" fmla="*/ 138 w 138"/>
                  <a:gd name="T39" fmla="*/ 118 h 136"/>
                  <a:gd name="T40" fmla="*/ 138 w 138"/>
                  <a:gd name="T41" fmla="*/ 118 h 136"/>
                  <a:gd name="T42" fmla="*/ 136 w 138"/>
                  <a:gd name="T43" fmla="*/ 126 h 136"/>
                  <a:gd name="T44" fmla="*/ 132 w 138"/>
                  <a:gd name="T45" fmla="*/ 132 h 136"/>
                  <a:gd name="T46" fmla="*/ 126 w 138"/>
                  <a:gd name="T47" fmla="*/ 136 h 136"/>
                  <a:gd name="T48" fmla="*/ 120 w 138"/>
                  <a:gd name="T49" fmla="*/ 136 h 136"/>
                  <a:gd name="T50" fmla="*/ 120 w 138"/>
                  <a:gd name="T51" fmla="*/ 136 h 136"/>
                  <a:gd name="T52" fmla="*/ 26 w 138"/>
                  <a:gd name="T53" fmla="*/ 112 h 136"/>
                  <a:gd name="T54" fmla="*/ 112 w 138"/>
                  <a:gd name="T55" fmla="*/ 112 h 136"/>
                  <a:gd name="T56" fmla="*/ 112 w 138"/>
                  <a:gd name="T57" fmla="*/ 24 h 136"/>
                  <a:gd name="T58" fmla="*/ 26 w 138"/>
                  <a:gd name="T59" fmla="*/ 24 h 136"/>
                  <a:gd name="T60" fmla="*/ 26 w 138"/>
                  <a:gd name="T61"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6">
                    <a:moveTo>
                      <a:pt x="120" y="136"/>
                    </a:moveTo>
                    <a:lnTo>
                      <a:pt x="18" y="136"/>
                    </a:lnTo>
                    <a:lnTo>
                      <a:pt x="18" y="136"/>
                    </a:lnTo>
                    <a:lnTo>
                      <a:pt x="12" y="136"/>
                    </a:lnTo>
                    <a:lnTo>
                      <a:pt x="6" y="132"/>
                    </a:lnTo>
                    <a:lnTo>
                      <a:pt x="2" y="126"/>
                    </a:lnTo>
                    <a:lnTo>
                      <a:pt x="0" y="118"/>
                    </a:lnTo>
                    <a:lnTo>
                      <a:pt x="0" y="18"/>
                    </a:lnTo>
                    <a:lnTo>
                      <a:pt x="0" y="18"/>
                    </a:lnTo>
                    <a:lnTo>
                      <a:pt x="2" y="10"/>
                    </a:lnTo>
                    <a:lnTo>
                      <a:pt x="6" y="4"/>
                    </a:lnTo>
                    <a:lnTo>
                      <a:pt x="12" y="2"/>
                    </a:lnTo>
                    <a:lnTo>
                      <a:pt x="18" y="0"/>
                    </a:lnTo>
                    <a:lnTo>
                      <a:pt x="120" y="0"/>
                    </a:lnTo>
                    <a:lnTo>
                      <a:pt x="120" y="0"/>
                    </a:lnTo>
                    <a:lnTo>
                      <a:pt x="126" y="2"/>
                    </a:lnTo>
                    <a:lnTo>
                      <a:pt x="132" y="4"/>
                    </a:lnTo>
                    <a:lnTo>
                      <a:pt x="136" y="10"/>
                    </a:lnTo>
                    <a:lnTo>
                      <a:pt x="138" y="18"/>
                    </a:lnTo>
                    <a:lnTo>
                      <a:pt x="138" y="118"/>
                    </a:lnTo>
                    <a:lnTo>
                      <a:pt x="138" y="118"/>
                    </a:lnTo>
                    <a:lnTo>
                      <a:pt x="136" y="126"/>
                    </a:lnTo>
                    <a:lnTo>
                      <a:pt x="132" y="132"/>
                    </a:lnTo>
                    <a:lnTo>
                      <a:pt x="126" y="136"/>
                    </a:lnTo>
                    <a:lnTo>
                      <a:pt x="120" y="136"/>
                    </a:lnTo>
                    <a:lnTo>
                      <a:pt x="120" y="136"/>
                    </a:lnTo>
                    <a:close/>
                    <a:moveTo>
                      <a:pt x="26" y="112"/>
                    </a:moveTo>
                    <a:lnTo>
                      <a:pt x="112" y="112"/>
                    </a:lnTo>
                    <a:lnTo>
                      <a:pt x="112" y="24"/>
                    </a:lnTo>
                    <a:lnTo>
                      <a:pt x="26" y="24"/>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latin typeface="Segoe UI"/>
                </a:endParaRPr>
              </a:p>
            </p:txBody>
          </p:sp>
          <p:sp>
            <p:nvSpPr>
              <p:cNvPr id="228" name="Freeform 99"/>
              <p:cNvSpPr>
                <a:spLocks noEditPoints="1"/>
              </p:cNvSpPr>
              <p:nvPr/>
            </p:nvSpPr>
            <p:spPr bwMode="auto">
              <a:xfrm>
                <a:off x="242887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latin typeface="Segoe UI"/>
                </a:endParaRPr>
              </a:p>
            </p:txBody>
          </p:sp>
          <p:sp>
            <p:nvSpPr>
              <p:cNvPr id="229" name="Freeform 100"/>
              <p:cNvSpPr>
                <a:spLocks noEditPoints="1"/>
              </p:cNvSpPr>
              <p:nvPr/>
            </p:nvSpPr>
            <p:spPr bwMode="auto">
              <a:xfrm>
                <a:off x="267652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latin typeface="Segoe UI"/>
                </a:endParaRPr>
              </a:p>
            </p:txBody>
          </p:sp>
          <p:sp>
            <p:nvSpPr>
              <p:cNvPr id="230" name="Freeform 101"/>
              <p:cNvSpPr>
                <a:spLocks noEditPoints="1"/>
              </p:cNvSpPr>
              <p:nvPr/>
            </p:nvSpPr>
            <p:spPr bwMode="auto">
              <a:xfrm>
                <a:off x="242887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latin typeface="Segoe UI"/>
                </a:endParaRPr>
              </a:p>
            </p:txBody>
          </p:sp>
          <p:sp>
            <p:nvSpPr>
              <p:cNvPr id="231" name="Freeform 102"/>
              <p:cNvSpPr>
                <a:spLocks noEditPoints="1"/>
              </p:cNvSpPr>
              <p:nvPr/>
            </p:nvSpPr>
            <p:spPr bwMode="auto">
              <a:xfrm>
                <a:off x="267652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latin typeface="Segoe UI"/>
                </a:endParaRPr>
              </a:p>
            </p:txBody>
          </p:sp>
          <p:sp>
            <p:nvSpPr>
              <p:cNvPr id="232" name="Freeform 103"/>
              <p:cNvSpPr>
                <a:spLocks/>
              </p:cNvSpPr>
              <p:nvPr/>
            </p:nvSpPr>
            <p:spPr bwMode="auto">
              <a:xfrm>
                <a:off x="2330450" y="8623300"/>
                <a:ext cx="422275" cy="41275"/>
              </a:xfrm>
              <a:custGeom>
                <a:avLst/>
                <a:gdLst>
                  <a:gd name="T0" fmla="*/ 264 w 266"/>
                  <a:gd name="T1" fmla="*/ 4 h 26"/>
                  <a:gd name="T2" fmla="*/ 264 w 266"/>
                  <a:gd name="T3" fmla="*/ 2 h 26"/>
                  <a:gd name="T4" fmla="*/ 266 w 266"/>
                  <a:gd name="T5" fmla="*/ 0 h 26"/>
                  <a:gd name="T6" fmla="*/ 0 w 266"/>
                  <a:gd name="T7" fmla="*/ 0 h 26"/>
                  <a:gd name="T8" fmla="*/ 0 w 266"/>
                  <a:gd name="T9" fmla="*/ 26 h 26"/>
                  <a:gd name="T10" fmla="*/ 250 w 266"/>
                  <a:gd name="T11" fmla="*/ 26 h 26"/>
                  <a:gd name="T12" fmla="*/ 250 w 266"/>
                  <a:gd name="T13" fmla="*/ 26 h 26"/>
                  <a:gd name="T14" fmla="*/ 256 w 266"/>
                  <a:gd name="T15" fmla="*/ 12 h 26"/>
                  <a:gd name="T16" fmla="*/ 264 w 266"/>
                  <a:gd name="T17" fmla="*/ 4 h 26"/>
                  <a:gd name="T18" fmla="*/ 264 w 26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
                    <a:moveTo>
                      <a:pt x="264" y="4"/>
                    </a:moveTo>
                    <a:lnTo>
                      <a:pt x="264" y="2"/>
                    </a:lnTo>
                    <a:lnTo>
                      <a:pt x="266" y="0"/>
                    </a:lnTo>
                    <a:lnTo>
                      <a:pt x="0" y="0"/>
                    </a:lnTo>
                    <a:lnTo>
                      <a:pt x="0" y="26"/>
                    </a:lnTo>
                    <a:lnTo>
                      <a:pt x="250" y="26"/>
                    </a:lnTo>
                    <a:lnTo>
                      <a:pt x="250" y="26"/>
                    </a:lnTo>
                    <a:lnTo>
                      <a:pt x="256" y="12"/>
                    </a:lnTo>
                    <a:lnTo>
                      <a:pt x="264" y="4"/>
                    </a:lnTo>
                    <a:lnTo>
                      <a:pt x="26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latin typeface="Segoe UI"/>
                </a:endParaRPr>
              </a:p>
            </p:txBody>
          </p:sp>
          <p:sp>
            <p:nvSpPr>
              <p:cNvPr id="233" name="Freeform 104"/>
              <p:cNvSpPr>
                <a:spLocks/>
              </p:cNvSpPr>
              <p:nvPr/>
            </p:nvSpPr>
            <p:spPr bwMode="auto">
              <a:xfrm>
                <a:off x="2676525" y="8096250"/>
                <a:ext cx="219075" cy="215900"/>
              </a:xfrm>
              <a:custGeom>
                <a:avLst/>
                <a:gdLst>
                  <a:gd name="T0" fmla="*/ 86 w 138"/>
                  <a:gd name="T1" fmla="*/ 112 h 136"/>
                  <a:gd name="T2" fmla="*/ 26 w 138"/>
                  <a:gd name="T3" fmla="*/ 112 h 136"/>
                  <a:gd name="T4" fmla="*/ 26 w 138"/>
                  <a:gd name="T5" fmla="*/ 24 h 136"/>
                  <a:gd name="T6" fmla="*/ 112 w 138"/>
                  <a:gd name="T7" fmla="*/ 24 h 136"/>
                  <a:gd name="T8" fmla="*/ 112 w 138"/>
                  <a:gd name="T9" fmla="*/ 38 h 136"/>
                  <a:gd name="T10" fmla="*/ 114 w 138"/>
                  <a:gd name="T11" fmla="*/ 38 h 136"/>
                  <a:gd name="T12" fmla="*/ 114 w 138"/>
                  <a:gd name="T13" fmla="*/ 38 h 136"/>
                  <a:gd name="T14" fmla="*/ 118 w 138"/>
                  <a:gd name="T15" fmla="*/ 38 h 136"/>
                  <a:gd name="T16" fmla="*/ 124 w 138"/>
                  <a:gd name="T17" fmla="*/ 38 h 136"/>
                  <a:gd name="T18" fmla="*/ 124 w 138"/>
                  <a:gd name="T19" fmla="*/ 38 h 136"/>
                  <a:gd name="T20" fmla="*/ 138 w 138"/>
                  <a:gd name="T21" fmla="*/ 50 h 136"/>
                  <a:gd name="T22" fmla="*/ 138 w 138"/>
                  <a:gd name="T23" fmla="*/ 18 h 136"/>
                  <a:gd name="T24" fmla="*/ 138 w 138"/>
                  <a:gd name="T25" fmla="*/ 18 h 136"/>
                  <a:gd name="T26" fmla="*/ 136 w 138"/>
                  <a:gd name="T27" fmla="*/ 10 h 136"/>
                  <a:gd name="T28" fmla="*/ 132 w 138"/>
                  <a:gd name="T29" fmla="*/ 4 h 136"/>
                  <a:gd name="T30" fmla="*/ 126 w 138"/>
                  <a:gd name="T31" fmla="*/ 2 h 136"/>
                  <a:gd name="T32" fmla="*/ 120 w 138"/>
                  <a:gd name="T33" fmla="*/ 0 h 136"/>
                  <a:gd name="T34" fmla="*/ 18 w 138"/>
                  <a:gd name="T35" fmla="*/ 0 h 136"/>
                  <a:gd name="T36" fmla="*/ 18 w 138"/>
                  <a:gd name="T37" fmla="*/ 0 h 136"/>
                  <a:gd name="T38" fmla="*/ 12 w 138"/>
                  <a:gd name="T39" fmla="*/ 2 h 136"/>
                  <a:gd name="T40" fmla="*/ 6 w 138"/>
                  <a:gd name="T41" fmla="*/ 4 h 136"/>
                  <a:gd name="T42" fmla="*/ 2 w 138"/>
                  <a:gd name="T43" fmla="*/ 10 h 136"/>
                  <a:gd name="T44" fmla="*/ 0 w 138"/>
                  <a:gd name="T45" fmla="*/ 18 h 136"/>
                  <a:gd name="T46" fmla="*/ 0 w 138"/>
                  <a:gd name="T47" fmla="*/ 118 h 136"/>
                  <a:gd name="T48" fmla="*/ 0 w 138"/>
                  <a:gd name="T49" fmla="*/ 118 h 136"/>
                  <a:gd name="T50" fmla="*/ 2 w 138"/>
                  <a:gd name="T51" fmla="*/ 126 h 136"/>
                  <a:gd name="T52" fmla="*/ 6 w 138"/>
                  <a:gd name="T53" fmla="*/ 132 h 136"/>
                  <a:gd name="T54" fmla="*/ 12 w 138"/>
                  <a:gd name="T55" fmla="*/ 136 h 136"/>
                  <a:gd name="T56" fmla="*/ 18 w 138"/>
                  <a:gd name="T57" fmla="*/ 136 h 136"/>
                  <a:gd name="T58" fmla="*/ 102 w 138"/>
                  <a:gd name="T59" fmla="*/ 136 h 136"/>
                  <a:gd name="T60" fmla="*/ 102 w 138"/>
                  <a:gd name="T61" fmla="*/ 136 h 136"/>
                  <a:gd name="T62" fmla="*/ 86 w 138"/>
                  <a:gd name="T63" fmla="*/ 112 h 136"/>
                  <a:gd name="T64" fmla="*/ 86 w 138"/>
                  <a:gd name="T65"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136">
                    <a:moveTo>
                      <a:pt x="86" y="112"/>
                    </a:moveTo>
                    <a:lnTo>
                      <a:pt x="26" y="112"/>
                    </a:lnTo>
                    <a:lnTo>
                      <a:pt x="26" y="24"/>
                    </a:lnTo>
                    <a:lnTo>
                      <a:pt x="112" y="24"/>
                    </a:lnTo>
                    <a:lnTo>
                      <a:pt x="112" y="38"/>
                    </a:lnTo>
                    <a:lnTo>
                      <a:pt x="114" y="38"/>
                    </a:lnTo>
                    <a:lnTo>
                      <a:pt x="114" y="38"/>
                    </a:lnTo>
                    <a:lnTo>
                      <a:pt x="118" y="38"/>
                    </a:lnTo>
                    <a:lnTo>
                      <a:pt x="124" y="38"/>
                    </a:lnTo>
                    <a:lnTo>
                      <a:pt x="124" y="38"/>
                    </a:lnTo>
                    <a:lnTo>
                      <a:pt x="138" y="50"/>
                    </a:lnTo>
                    <a:lnTo>
                      <a:pt x="138" y="18"/>
                    </a:lnTo>
                    <a:lnTo>
                      <a:pt x="138" y="18"/>
                    </a:lnTo>
                    <a:lnTo>
                      <a:pt x="136" y="10"/>
                    </a:lnTo>
                    <a:lnTo>
                      <a:pt x="132" y="4"/>
                    </a:lnTo>
                    <a:lnTo>
                      <a:pt x="126" y="2"/>
                    </a:lnTo>
                    <a:lnTo>
                      <a:pt x="120" y="0"/>
                    </a:lnTo>
                    <a:lnTo>
                      <a:pt x="18" y="0"/>
                    </a:lnTo>
                    <a:lnTo>
                      <a:pt x="18" y="0"/>
                    </a:lnTo>
                    <a:lnTo>
                      <a:pt x="12" y="2"/>
                    </a:lnTo>
                    <a:lnTo>
                      <a:pt x="6" y="4"/>
                    </a:lnTo>
                    <a:lnTo>
                      <a:pt x="2" y="10"/>
                    </a:lnTo>
                    <a:lnTo>
                      <a:pt x="0" y="18"/>
                    </a:lnTo>
                    <a:lnTo>
                      <a:pt x="0" y="118"/>
                    </a:lnTo>
                    <a:lnTo>
                      <a:pt x="0" y="118"/>
                    </a:lnTo>
                    <a:lnTo>
                      <a:pt x="2" y="126"/>
                    </a:lnTo>
                    <a:lnTo>
                      <a:pt x="6" y="132"/>
                    </a:lnTo>
                    <a:lnTo>
                      <a:pt x="12" y="136"/>
                    </a:lnTo>
                    <a:lnTo>
                      <a:pt x="18" y="136"/>
                    </a:lnTo>
                    <a:lnTo>
                      <a:pt x="102" y="136"/>
                    </a:lnTo>
                    <a:lnTo>
                      <a:pt x="102" y="136"/>
                    </a:lnTo>
                    <a:lnTo>
                      <a:pt x="86" y="112"/>
                    </a:lnTo>
                    <a:lnTo>
                      <a:pt x="8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latin typeface="Segoe UI"/>
                </a:endParaRPr>
              </a:p>
            </p:txBody>
          </p:sp>
          <p:sp>
            <p:nvSpPr>
              <p:cNvPr id="234" name="Freeform 105"/>
              <p:cNvSpPr>
                <a:spLocks noEditPoints="1"/>
              </p:cNvSpPr>
              <p:nvPr/>
            </p:nvSpPr>
            <p:spPr bwMode="auto">
              <a:xfrm>
                <a:off x="2724150" y="8156575"/>
                <a:ext cx="952500" cy="976313"/>
              </a:xfrm>
              <a:custGeom>
                <a:avLst/>
                <a:gdLst>
                  <a:gd name="T0" fmla="*/ 386 w 600"/>
                  <a:gd name="T1" fmla="*/ 609 h 615"/>
                  <a:gd name="T2" fmla="*/ 370 w 600"/>
                  <a:gd name="T3" fmla="*/ 581 h 615"/>
                  <a:gd name="T4" fmla="*/ 338 w 600"/>
                  <a:gd name="T5" fmla="*/ 565 h 615"/>
                  <a:gd name="T6" fmla="*/ 256 w 600"/>
                  <a:gd name="T7" fmla="*/ 545 h 615"/>
                  <a:gd name="T8" fmla="*/ 138 w 600"/>
                  <a:gd name="T9" fmla="*/ 457 h 615"/>
                  <a:gd name="T10" fmla="*/ 100 w 600"/>
                  <a:gd name="T11" fmla="*/ 412 h 615"/>
                  <a:gd name="T12" fmla="*/ 34 w 600"/>
                  <a:gd name="T13" fmla="*/ 358 h 615"/>
                  <a:gd name="T14" fmla="*/ 4 w 600"/>
                  <a:gd name="T15" fmla="*/ 342 h 615"/>
                  <a:gd name="T16" fmla="*/ 10 w 600"/>
                  <a:gd name="T17" fmla="*/ 306 h 615"/>
                  <a:gd name="T18" fmla="*/ 40 w 600"/>
                  <a:gd name="T19" fmla="*/ 284 h 615"/>
                  <a:gd name="T20" fmla="*/ 102 w 600"/>
                  <a:gd name="T21" fmla="*/ 286 h 615"/>
                  <a:gd name="T22" fmla="*/ 178 w 600"/>
                  <a:gd name="T23" fmla="*/ 336 h 615"/>
                  <a:gd name="T24" fmla="*/ 200 w 600"/>
                  <a:gd name="T25" fmla="*/ 310 h 615"/>
                  <a:gd name="T26" fmla="*/ 54 w 600"/>
                  <a:gd name="T27" fmla="*/ 74 h 615"/>
                  <a:gd name="T28" fmla="*/ 46 w 600"/>
                  <a:gd name="T29" fmla="*/ 30 h 615"/>
                  <a:gd name="T30" fmla="*/ 78 w 600"/>
                  <a:gd name="T31" fmla="*/ 2 h 615"/>
                  <a:gd name="T32" fmla="*/ 94 w 600"/>
                  <a:gd name="T33" fmla="*/ 0 h 615"/>
                  <a:gd name="T34" fmla="*/ 216 w 600"/>
                  <a:gd name="T35" fmla="*/ 144 h 615"/>
                  <a:gd name="T36" fmla="*/ 314 w 600"/>
                  <a:gd name="T37" fmla="*/ 174 h 615"/>
                  <a:gd name="T38" fmla="*/ 468 w 600"/>
                  <a:gd name="T39" fmla="*/ 194 h 615"/>
                  <a:gd name="T40" fmla="*/ 494 w 600"/>
                  <a:gd name="T41" fmla="*/ 204 h 615"/>
                  <a:gd name="T42" fmla="*/ 584 w 600"/>
                  <a:gd name="T43" fmla="*/ 410 h 615"/>
                  <a:gd name="T44" fmla="*/ 590 w 600"/>
                  <a:gd name="T45" fmla="*/ 477 h 615"/>
                  <a:gd name="T46" fmla="*/ 600 w 600"/>
                  <a:gd name="T47" fmla="*/ 507 h 615"/>
                  <a:gd name="T48" fmla="*/ 578 w 600"/>
                  <a:gd name="T49" fmla="*/ 535 h 615"/>
                  <a:gd name="T50" fmla="*/ 400 w 600"/>
                  <a:gd name="T51" fmla="*/ 615 h 615"/>
                  <a:gd name="T52" fmla="*/ 352 w 600"/>
                  <a:gd name="T53" fmla="*/ 539 h 615"/>
                  <a:gd name="T54" fmla="*/ 394 w 600"/>
                  <a:gd name="T55" fmla="*/ 569 h 615"/>
                  <a:gd name="T56" fmla="*/ 502 w 600"/>
                  <a:gd name="T57" fmla="*/ 547 h 615"/>
                  <a:gd name="T58" fmla="*/ 570 w 600"/>
                  <a:gd name="T59" fmla="*/ 499 h 615"/>
                  <a:gd name="T60" fmla="*/ 562 w 600"/>
                  <a:gd name="T61" fmla="*/ 430 h 615"/>
                  <a:gd name="T62" fmla="*/ 504 w 600"/>
                  <a:gd name="T63" fmla="*/ 278 h 615"/>
                  <a:gd name="T64" fmla="*/ 364 w 600"/>
                  <a:gd name="T65" fmla="*/ 202 h 615"/>
                  <a:gd name="T66" fmla="*/ 274 w 600"/>
                  <a:gd name="T67" fmla="*/ 200 h 615"/>
                  <a:gd name="T68" fmla="*/ 232 w 600"/>
                  <a:gd name="T69" fmla="*/ 208 h 615"/>
                  <a:gd name="T70" fmla="*/ 160 w 600"/>
                  <a:gd name="T71" fmla="*/ 110 h 615"/>
                  <a:gd name="T72" fmla="*/ 84 w 600"/>
                  <a:gd name="T73" fmla="*/ 26 h 615"/>
                  <a:gd name="T74" fmla="*/ 68 w 600"/>
                  <a:gd name="T75" fmla="*/ 44 h 615"/>
                  <a:gd name="T76" fmla="*/ 180 w 600"/>
                  <a:gd name="T77" fmla="*/ 218 h 615"/>
                  <a:gd name="T78" fmla="*/ 234 w 600"/>
                  <a:gd name="T79" fmla="*/ 332 h 615"/>
                  <a:gd name="T80" fmla="*/ 230 w 600"/>
                  <a:gd name="T81" fmla="*/ 352 h 615"/>
                  <a:gd name="T82" fmla="*/ 188 w 600"/>
                  <a:gd name="T83" fmla="*/ 358 h 615"/>
                  <a:gd name="T84" fmla="*/ 168 w 600"/>
                  <a:gd name="T85" fmla="*/ 362 h 615"/>
                  <a:gd name="T86" fmla="*/ 120 w 600"/>
                  <a:gd name="T87" fmla="*/ 322 h 615"/>
                  <a:gd name="T88" fmla="*/ 58 w 600"/>
                  <a:gd name="T89" fmla="*/ 306 h 615"/>
                  <a:gd name="T90" fmla="*/ 26 w 600"/>
                  <a:gd name="T91" fmla="*/ 326 h 615"/>
                  <a:gd name="T92" fmla="*/ 56 w 600"/>
                  <a:gd name="T93" fmla="*/ 344 h 615"/>
                  <a:gd name="T94" fmla="*/ 136 w 600"/>
                  <a:gd name="T95" fmla="*/ 416 h 615"/>
                  <a:gd name="T96" fmla="*/ 202 w 600"/>
                  <a:gd name="T97" fmla="*/ 483 h 615"/>
                  <a:gd name="T98" fmla="*/ 300 w 600"/>
                  <a:gd name="T99" fmla="*/ 535 h 615"/>
                  <a:gd name="T100" fmla="*/ 352 w 600"/>
                  <a:gd name="T101" fmla="*/ 539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0" h="615">
                    <a:moveTo>
                      <a:pt x="396" y="615"/>
                    </a:moveTo>
                    <a:lnTo>
                      <a:pt x="396" y="615"/>
                    </a:lnTo>
                    <a:lnTo>
                      <a:pt x="390" y="613"/>
                    </a:lnTo>
                    <a:lnTo>
                      <a:pt x="390" y="613"/>
                    </a:lnTo>
                    <a:lnTo>
                      <a:pt x="386" y="609"/>
                    </a:lnTo>
                    <a:lnTo>
                      <a:pt x="384" y="603"/>
                    </a:lnTo>
                    <a:lnTo>
                      <a:pt x="384" y="603"/>
                    </a:lnTo>
                    <a:lnTo>
                      <a:pt x="382" y="597"/>
                    </a:lnTo>
                    <a:lnTo>
                      <a:pt x="380" y="591"/>
                    </a:lnTo>
                    <a:lnTo>
                      <a:pt x="370" y="581"/>
                    </a:lnTo>
                    <a:lnTo>
                      <a:pt x="360" y="571"/>
                    </a:lnTo>
                    <a:lnTo>
                      <a:pt x="350" y="563"/>
                    </a:lnTo>
                    <a:lnTo>
                      <a:pt x="350" y="563"/>
                    </a:lnTo>
                    <a:lnTo>
                      <a:pt x="338" y="565"/>
                    </a:lnTo>
                    <a:lnTo>
                      <a:pt x="338" y="565"/>
                    </a:lnTo>
                    <a:lnTo>
                      <a:pt x="338" y="565"/>
                    </a:lnTo>
                    <a:lnTo>
                      <a:pt x="316" y="563"/>
                    </a:lnTo>
                    <a:lnTo>
                      <a:pt x="296" y="559"/>
                    </a:lnTo>
                    <a:lnTo>
                      <a:pt x="276" y="553"/>
                    </a:lnTo>
                    <a:lnTo>
                      <a:pt x="256" y="545"/>
                    </a:lnTo>
                    <a:lnTo>
                      <a:pt x="238" y="537"/>
                    </a:lnTo>
                    <a:lnTo>
                      <a:pt x="220" y="527"/>
                    </a:lnTo>
                    <a:lnTo>
                      <a:pt x="188" y="503"/>
                    </a:lnTo>
                    <a:lnTo>
                      <a:pt x="160" y="481"/>
                    </a:lnTo>
                    <a:lnTo>
                      <a:pt x="138" y="457"/>
                    </a:lnTo>
                    <a:lnTo>
                      <a:pt x="122" y="439"/>
                    </a:lnTo>
                    <a:lnTo>
                      <a:pt x="114" y="428"/>
                    </a:lnTo>
                    <a:lnTo>
                      <a:pt x="114" y="428"/>
                    </a:lnTo>
                    <a:lnTo>
                      <a:pt x="108" y="420"/>
                    </a:lnTo>
                    <a:lnTo>
                      <a:pt x="100" y="412"/>
                    </a:lnTo>
                    <a:lnTo>
                      <a:pt x="78" y="394"/>
                    </a:lnTo>
                    <a:lnTo>
                      <a:pt x="42" y="364"/>
                    </a:lnTo>
                    <a:lnTo>
                      <a:pt x="42" y="364"/>
                    </a:lnTo>
                    <a:lnTo>
                      <a:pt x="34" y="358"/>
                    </a:lnTo>
                    <a:lnTo>
                      <a:pt x="34" y="358"/>
                    </a:lnTo>
                    <a:lnTo>
                      <a:pt x="24" y="354"/>
                    </a:lnTo>
                    <a:lnTo>
                      <a:pt x="8" y="346"/>
                    </a:lnTo>
                    <a:lnTo>
                      <a:pt x="8" y="346"/>
                    </a:lnTo>
                    <a:lnTo>
                      <a:pt x="4" y="342"/>
                    </a:lnTo>
                    <a:lnTo>
                      <a:pt x="4" y="342"/>
                    </a:lnTo>
                    <a:lnTo>
                      <a:pt x="0" y="336"/>
                    </a:lnTo>
                    <a:lnTo>
                      <a:pt x="0" y="328"/>
                    </a:lnTo>
                    <a:lnTo>
                      <a:pt x="0" y="322"/>
                    </a:lnTo>
                    <a:lnTo>
                      <a:pt x="2" y="316"/>
                    </a:lnTo>
                    <a:lnTo>
                      <a:pt x="10" y="306"/>
                    </a:lnTo>
                    <a:lnTo>
                      <a:pt x="16" y="298"/>
                    </a:lnTo>
                    <a:lnTo>
                      <a:pt x="16" y="296"/>
                    </a:lnTo>
                    <a:lnTo>
                      <a:pt x="16" y="296"/>
                    </a:lnTo>
                    <a:lnTo>
                      <a:pt x="28" y="288"/>
                    </a:lnTo>
                    <a:lnTo>
                      <a:pt x="40" y="284"/>
                    </a:lnTo>
                    <a:lnTo>
                      <a:pt x="54" y="280"/>
                    </a:lnTo>
                    <a:lnTo>
                      <a:pt x="68" y="280"/>
                    </a:lnTo>
                    <a:lnTo>
                      <a:pt x="68" y="280"/>
                    </a:lnTo>
                    <a:lnTo>
                      <a:pt x="86" y="280"/>
                    </a:lnTo>
                    <a:lnTo>
                      <a:pt x="102" y="286"/>
                    </a:lnTo>
                    <a:lnTo>
                      <a:pt x="120" y="292"/>
                    </a:lnTo>
                    <a:lnTo>
                      <a:pt x="134" y="302"/>
                    </a:lnTo>
                    <a:lnTo>
                      <a:pt x="148" y="310"/>
                    </a:lnTo>
                    <a:lnTo>
                      <a:pt x="160" y="320"/>
                    </a:lnTo>
                    <a:lnTo>
                      <a:pt x="178" y="336"/>
                    </a:lnTo>
                    <a:lnTo>
                      <a:pt x="178" y="336"/>
                    </a:lnTo>
                    <a:lnTo>
                      <a:pt x="194" y="332"/>
                    </a:lnTo>
                    <a:lnTo>
                      <a:pt x="208" y="330"/>
                    </a:lnTo>
                    <a:lnTo>
                      <a:pt x="208" y="330"/>
                    </a:lnTo>
                    <a:lnTo>
                      <a:pt x="200" y="310"/>
                    </a:lnTo>
                    <a:lnTo>
                      <a:pt x="180" y="268"/>
                    </a:lnTo>
                    <a:lnTo>
                      <a:pt x="180" y="268"/>
                    </a:lnTo>
                    <a:lnTo>
                      <a:pt x="158" y="230"/>
                    </a:lnTo>
                    <a:lnTo>
                      <a:pt x="122" y="174"/>
                    </a:lnTo>
                    <a:lnTo>
                      <a:pt x="54" y="74"/>
                    </a:lnTo>
                    <a:lnTo>
                      <a:pt x="54" y="74"/>
                    </a:lnTo>
                    <a:lnTo>
                      <a:pt x="48" y="62"/>
                    </a:lnTo>
                    <a:lnTo>
                      <a:pt x="44" y="50"/>
                    </a:lnTo>
                    <a:lnTo>
                      <a:pt x="44" y="40"/>
                    </a:lnTo>
                    <a:lnTo>
                      <a:pt x="46" y="30"/>
                    </a:lnTo>
                    <a:lnTo>
                      <a:pt x="46" y="30"/>
                    </a:lnTo>
                    <a:lnTo>
                      <a:pt x="50" y="22"/>
                    </a:lnTo>
                    <a:lnTo>
                      <a:pt x="54" y="16"/>
                    </a:lnTo>
                    <a:lnTo>
                      <a:pt x="66" y="6"/>
                    </a:lnTo>
                    <a:lnTo>
                      <a:pt x="78" y="2"/>
                    </a:lnTo>
                    <a:lnTo>
                      <a:pt x="84" y="0"/>
                    </a:lnTo>
                    <a:lnTo>
                      <a:pt x="84" y="0"/>
                    </a:lnTo>
                    <a:lnTo>
                      <a:pt x="88" y="0"/>
                    </a:lnTo>
                    <a:lnTo>
                      <a:pt x="94" y="0"/>
                    </a:lnTo>
                    <a:lnTo>
                      <a:pt x="94" y="0"/>
                    </a:lnTo>
                    <a:lnTo>
                      <a:pt x="112" y="16"/>
                    </a:lnTo>
                    <a:lnTo>
                      <a:pt x="132" y="36"/>
                    </a:lnTo>
                    <a:lnTo>
                      <a:pt x="154" y="62"/>
                    </a:lnTo>
                    <a:lnTo>
                      <a:pt x="176" y="90"/>
                    </a:lnTo>
                    <a:lnTo>
                      <a:pt x="216" y="144"/>
                    </a:lnTo>
                    <a:lnTo>
                      <a:pt x="242" y="182"/>
                    </a:lnTo>
                    <a:lnTo>
                      <a:pt x="242" y="182"/>
                    </a:lnTo>
                    <a:lnTo>
                      <a:pt x="258" y="178"/>
                    </a:lnTo>
                    <a:lnTo>
                      <a:pt x="276" y="176"/>
                    </a:lnTo>
                    <a:lnTo>
                      <a:pt x="314" y="174"/>
                    </a:lnTo>
                    <a:lnTo>
                      <a:pt x="314" y="174"/>
                    </a:lnTo>
                    <a:lnTo>
                      <a:pt x="344" y="174"/>
                    </a:lnTo>
                    <a:lnTo>
                      <a:pt x="374" y="176"/>
                    </a:lnTo>
                    <a:lnTo>
                      <a:pt x="428" y="184"/>
                    </a:lnTo>
                    <a:lnTo>
                      <a:pt x="468" y="194"/>
                    </a:lnTo>
                    <a:lnTo>
                      <a:pt x="486" y="198"/>
                    </a:lnTo>
                    <a:lnTo>
                      <a:pt x="486" y="198"/>
                    </a:lnTo>
                    <a:lnTo>
                      <a:pt x="490" y="200"/>
                    </a:lnTo>
                    <a:lnTo>
                      <a:pt x="494" y="204"/>
                    </a:lnTo>
                    <a:lnTo>
                      <a:pt x="494" y="204"/>
                    </a:lnTo>
                    <a:lnTo>
                      <a:pt x="512" y="240"/>
                    </a:lnTo>
                    <a:lnTo>
                      <a:pt x="546" y="306"/>
                    </a:lnTo>
                    <a:lnTo>
                      <a:pt x="562" y="344"/>
                    </a:lnTo>
                    <a:lnTo>
                      <a:pt x="576" y="380"/>
                    </a:lnTo>
                    <a:lnTo>
                      <a:pt x="584" y="410"/>
                    </a:lnTo>
                    <a:lnTo>
                      <a:pt x="586" y="422"/>
                    </a:lnTo>
                    <a:lnTo>
                      <a:pt x="586" y="432"/>
                    </a:lnTo>
                    <a:lnTo>
                      <a:pt x="586" y="432"/>
                    </a:lnTo>
                    <a:lnTo>
                      <a:pt x="586" y="457"/>
                    </a:lnTo>
                    <a:lnTo>
                      <a:pt x="590" y="477"/>
                    </a:lnTo>
                    <a:lnTo>
                      <a:pt x="594" y="489"/>
                    </a:lnTo>
                    <a:lnTo>
                      <a:pt x="596" y="495"/>
                    </a:lnTo>
                    <a:lnTo>
                      <a:pt x="596" y="495"/>
                    </a:lnTo>
                    <a:lnTo>
                      <a:pt x="598" y="501"/>
                    </a:lnTo>
                    <a:lnTo>
                      <a:pt x="600" y="507"/>
                    </a:lnTo>
                    <a:lnTo>
                      <a:pt x="600" y="511"/>
                    </a:lnTo>
                    <a:lnTo>
                      <a:pt x="598" y="517"/>
                    </a:lnTo>
                    <a:lnTo>
                      <a:pt x="598" y="517"/>
                    </a:lnTo>
                    <a:lnTo>
                      <a:pt x="590" y="525"/>
                    </a:lnTo>
                    <a:lnTo>
                      <a:pt x="578" y="535"/>
                    </a:lnTo>
                    <a:lnTo>
                      <a:pt x="560" y="547"/>
                    </a:lnTo>
                    <a:lnTo>
                      <a:pt x="536" y="561"/>
                    </a:lnTo>
                    <a:lnTo>
                      <a:pt x="500" y="577"/>
                    </a:lnTo>
                    <a:lnTo>
                      <a:pt x="456" y="595"/>
                    </a:lnTo>
                    <a:lnTo>
                      <a:pt x="400" y="615"/>
                    </a:lnTo>
                    <a:lnTo>
                      <a:pt x="400" y="615"/>
                    </a:lnTo>
                    <a:lnTo>
                      <a:pt x="396" y="615"/>
                    </a:lnTo>
                    <a:lnTo>
                      <a:pt x="396" y="615"/>
                    </a:lnTo>
                    <a:close/>
                    <a:moveTo>
                      <a:pt x="352" y="539"/>
                    </a:moveTo>
                    <a:lnTo>
                      <a:pt x="352" y="539"/>
                    </a:lnTo>
                    <a:lnTo>
                      <a:pt x="360" y="541"/>
                    </a:lnTo>
                    <a:lnTo>
                      <a:pt x="360" y="541"/>
                    </a:lnTo>
                    <a:lnTo>
                      <a:pt x="366" y="545"/>
                    </a:lnTo>
                    <a:lnTo>
                      <a:pt x="380" y="555"/>
                    </a:lnTo>
                    <a:lnTo>
                      <a:pt x="394" y="569"/>
                    </a:lnTo>
                    <a:lnTo>
                      <a:pt x="400" y="577"/>
                    </a:lnTo>
                    <a:lnTo>
                      <a:pt x="404" y="587"/>
                    </a:lnTo>
                    <a:lnTo>
                      <a:pt x="404" y="587"/>
                    </a:lnTo>
                    <a:lnTo>
                      <a:pt x="452" y="569"/>
                    </a:lnTo>
                    <a:lnTo>
                      <a:pt x="502" y="547"/>
                    </a:lnTo>
                    <a:lnTo>
                      <a:pt x="546" y="527"/>
                    </a:lnTo>
                    <a:lnTo>
                      <a:pt x="562" y="517"/>
                    </a:lnTo>
                    <a:lnTo>
                      <a:pt x="574" y="507"/>
                    </a:lnTo>
                    <a:lnTo>
                      <a:pt x="574" y="507"/>
                    </a:lnTo>
                    <a:lnTo>
                      <a:pt x="570" y="499"/>
                    </a:lnTo>
                    <a:lnTo>
                      <a:pt x="566" y="483"/>
                    </a:lnTo>
                    <a:lnTo>
                      <a:pt x="562" y="459"/>
                    </a:lnTo>
                    <a:lnTo>
                      <a:pt x="562" y="445"/>
                    </a:lnTo>
                    <a:lnTo>
                      <a:pt x="562" y="430"/>
                    </a:lnTo>
                    <a:lnTo>
                      <a:pt x="562" y="430"/>
                    </a:lnTo>
                    <a:lnTo>
                      <a:pt x="560" y="416"/>
                    </a:lnTo>
                    <a:lnTo>
                      <a:pt x="554" y="394"/>
                    </a:lnTo>
                    <a:lnTo>
                      <a:pt x="544" y="368"/>
                    </a:lnTo>
                    <a:lnTo>
                      <a:pt x="532" y="340"/>
                    </a:lnTo>
                    <a:lnTo>
                      <a:pt x="504" y="278"/>
                    </a:lnTo>
                    <a:lnTo>
                      <a:pt x="474" y="220"/>
                    </a:lnTo>
                    <a:lnTo>
                      <a:pt x="474" y="220"/>
                    </a:lnTo>
                    <a:lnTo>
                      <a:pt x="450" y="214"/>
                    </a:lnTo>
                    <a:lnTo>
                      <a:pt x="412" y="208"/>
                    </a:lnTo>
                    <a:lnTo>
                      <a:pt x="364" y="202"/>
                    </a:lnTo>
                    <a:lnTo>
                      <a:pt x="340" y="200"/>
                    </a:lnTo>
                    <a:lnTo>
                      <a:pt x="314" y="198"/>
                    </a:lnTo>
                    <a:lnTo>
                      <a:pt x="314" y="198"/>
                    </a:lnTo>
                    <a:lnTo>
                      <a:pt x="292" y="200"/>
                    </a:lnTo>
                    <a:lnTo>
                      <a:pt x="274" y="200"/>
                    </a:lnTo>
                    <a:lnTo>
                      <a:pt x="256" y="204"/>
                    </a:lnTo>
                    <a:lnTo>
                      <a:pt x="240" y="208"/>
                    </a:lnTo>
                    <a:lnTo>
                      <a:pt x="240" y="208"/>
                    </a:lnTo>
                    <a:lnTo>
                      <a:pt x="236" y="208"/>
                    </a:lnTo>
                    <a:lnTo>
                      <a:pt x="232" y="208"/>
                    </a:lnTo>
                    <a:lnTo>
                      <a:pt x="230" y="206"/>
                    </a:lnTo>
                    <a:lnTo>
                      <a:pt x="226" y="204"/>
                    </a:lnTo>
                    <a:lnTo>
                      <a:pt x="226" y="204"/>
                    </a:lnTo>
                    <a:lnTo>
                      <a:pt x="198" y="162"/>
                    </a:lnTo>
                    <a:lnTo>
                      <a:pt x="160" y="110"/>
                    </a:lnTo>
                    <a:lnTo>
                      <a:pt x="140" y="84"/>
                    </a:lnTo>
                    <a:lnTo>
                      <a:pt x="120" y="60"/>
                    </a:lnTo>
                    <a:lnTo>
                      <a:pt x="102" y="40"/>
                    </a:lnTo>
                    <a:lnTo>
                      <a:pt x="84" y="26"/>
                    </a:lnTo>
                    <a:lnTo>
                      <a:pt x="84" y="26"/>
                    </a:lnTo>
                    <a:lnTo>
                      <a:pt x="76" y="30"/>
                    </a:lnTo>
                    <a:lnTo>
                      <a:pt x="72" y="34"/>
                    </a:lnTo>
                    <a:lnTo>
                      <a:pt x="70" y="38"/>
                    </a:lnTo>
                    <a:lnTo>
                      <a:pt x="70" y="38"/>
                    </a:lnTo>
                    <a:lnTo>
                      <a:pt x="68" y="44"/>
                    </a:lnTo>
                    <a:lnTo>
                      <a:pt x="70" y="48"/>
                    </a:lnTo>
                    <a:lnTo>
                      <a:pt x="76" y="58"/>
                    </a:lnTo>
                    <a:lnTo>
                      <a:pt x="76" y="58"/>
                    </a:lnTo>
                    <a:lnTo>
                      <a:pt x="144" y="162"/>
                    </a:lnTo>
                    <a:lnTo>
                      <a:pt x="180" y="218"/>
                    </a:lnTo>
                    <a:lnTo>
                      <a:pt x="202" y="256"/>
                    </a:lnTo>
                    <a:lnTo>
                      <a:pt x="202" y="256"/>
                    </a:lnTo>
                    <a:lnTo>
                      <a:pt x="222" y="296"/>
                    </a:lnTo>
                    <a:lnTo>
                      <a:pt x="232" y="320"/>
                    </a:lnTo>
                    <a:lnTo>
                      <a:pt x="234" y="332"/>
                    </a:lnTo>
                    <a:lnTo>
                      <a:pt x="236" y="336"/>
                    </a:lnTo>
                    <a:lnTo>
                      <a:pt x="234" y="344"/>
                    </a:lnTo>
                    <a:lnTo>
                      <a:pt x="234" y="344"/>
                    </a:lnTo>
                    <a:lnTo>
                      <a:pt x="234" y="348"/>
                    </a:lnTo>
                    <a:lnTo>
                      <a:pt x="230" y="352"/>
                    </a:lnTo>
                    <a:lnTo>
                      <a:pt x="226" y="354"/>
                    </a:lnTo>
                    <a:lnTo>
                      <a:pt x="222" y="356"/>
                    </a:lnTo>
                    <a:lnTo>
                      <a:pt x="222" y="356"/>
                    </a:lnTo>
                    <a:lnTo>
                      <a:pt x="200" y="356"/>
                    </a:lnTo>
                    <a:lnTo>
                      <a:pt x="188" y="358"/>
                    </a:lnTo>
                    <a:lnTo>
                      <a:pt x="180" y="362"/>
                    </a:lnTo>
                    <a:lnTo>
                      <a:pt x="180" y="362"/>
                    </a:lnTo>
                    <a:lnTo>
                      <a:pt x="176" y="362"/>
                    </a:lnTo>
                    <a:lnTo>
                      <a:pt x="172" y="362"/>
                    </a:lnTo>
                    <a:lnTo>
                      <a:pt x="168" y="362"/>
                    </a:lnTo>
                    <a:lnTo>
                      <a:pt x="166" y="358"/>
                    </a:lnTo>
                    <a:lnTo>
                      <a:pt x="166" y="358"/>
                    </a:lnTo>
                    <a:lnTo>
                      <a:pt x="156" y="350"/>
                    </a:lnTo>
                    <a:lnTo>
                      <a:pt x="134" y="332"/>
                    </a:lnTo>
                    <a:lnTo>
                      <a:pt x="120" y="322"/>
                    </a:lnTo>
                    <a:lnTo>
                      <a:pt x="102" y="312"/>
                    </a:lnTo>
                    <a:lnTo>
                      <a:pt x="86" y="306"/>
                    </a:lnTo>
                    <a:lnTo>
                      <a:pt x="68" y="304"/>
                    </a:lnTo>
                    <a:lnTo>
                      <a:pt x="68" y="304"/>
                    </a:lnTo>
                    <a:lnTo>
                      <a:pt x="58" y="306"/>
                    </a:lnTo>
                    <a:lnTo>
                      <a:pt x="50" y="308"/>
                    </a:lnTo>
                    <a:lnTo>
                      <a:pt x="42" y="310"/>
                    </a:lnTo>
                    <a:lnTo>
                      <a:pt x="34" y="316"/>
                    </a:lnTo>
                    <a:lnTo>
                      <a:pt x="34" y="316"/>
                    </a:lnTo>
                    <a:lnTo>
                      <a:pt x="26" y="326"/>
                    </a:lnTo>
                    <a:lnTo>
                      <a:pt x="26" y="326"/>
                    </a:lnTo>
                    <a:lnTo>
                      <a:pt x="40" y="332"/>
                    </a:lnTo>
                    <a:lnTo>
                      <a:pt x="50" y="340"/>
                    </a:lnTo>
                    <a:lnTo>
                      <a:pt x="50" y="340"/>
                    </a:lnTo>
                    <a:lnTo>
                      <a:pt x="56" y="344"/>
                    </a:lnTo>
                    <a:lnTo>
                      <a:pt x="56" y="344"/>
                    </a:lnTo>
                    <a:lnTo>
                      <a:pt x="80" y="362"/>
                    </a:lnTo>
                    <a:lnTo>
                      <a:pt x="102" y="380"/>
                    </a:lnTo>
                    <a:lnTo>
                      <a:pt x="122" y="398"/>
                    </a:lnTo>
                    <a:lnTo>
                      <a:pt x="136" y="416"/>
                    </a:lnTo>
                    <a:lnTo>
                      <a:pt x="136" y="416"/>
                    </a:lnTo>
                    <a:lnTo>
                      <a:pt x="142" y="426"/>
                    </a:lnTo>
                    <a:lnTo>
                      <a:pt x="158" y="441"/>
                    </a:lnTo>
                    <a:lnTo>
                      <a:pt x="176" y="461"/>
                    </a:lnTo>
                    <a:lnTo>
                      <a:pt x="202" y="483"/>
                    </a:lnTo>
                    <a:lnTo>
                      <a:pt x="232" y="503"/>
                    </a:lnTo>
                    <a:lnTo>
                      <a:pt x="248" y="513"/>
                    </a:lnTo>
                    <a:lnTo>
                      <a:pt x="264" y="521"/>
                    </a:lnTo>
                    <a:lnTo>
                      <a:pt x="282" y="529"/>
                    </a:lnTo>
                    <a:lnTo>
                      <a:pt x="300" y="535"/>
                    </a:lnTo>
                    <a:lnTo>
                      <a:pt x="318" y="537"/>
                    </a:lnTo>
                    <a:lnTo>
                      <a:pt x="338" y="539"/>
                    </a:lnTo>
                    <a:lnTo>
                      <a:pt x="338" y="539"/>
                    </a:lnTo>
                    <a:lnTo>
                      <a:pt x="338" y="539"/>
                    </a:lnTo>
                    <a:lnTo>
                      <a:pt x="352" y="539"/>
                    </a:lnTo>
                    <a:lnTo>
                      <a:pt x="352" y="5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latin typeface="Segoe UI"/>
                </a:endParaRPr>
              </a:p>
            </p:txBody>
          </p:sp>
          <p:sp>
            <p:nvSpPr>
              <p:cNvPr id="235" name="Freeform 106"/>
              <p:cNvSpPr>
                <a:spLocks/>
              </p:cNvSpPr>
              <p:nvPr/>
            </p:nvSpPr>
            <p:spPr bwMode="auto">
              <a:xfrm>
                <a:off x="2308225" y="7734300"/>
                <a:ext cx="704850" cy="1154113"/>
              </a:xfrm>
              <a:custGeom>
                <a:avLst/>
                <a:gdLst>
                  <a:gd name="T0" fmla="*/ 34 w 444"/>
                  <a:gd name="T1" fmla="*/ 703 h 727"/>
                  <a:gd name="T2" fmla="*/ 34 w 444"/>
                  <a:gd name="T3" fmla="*/ 703 h 727"/>
                  <a:gd name="T4" fmla="*/ 28 w 444"/>
                  <a:gd name="T5" fmla="*/ 701 h 727"/>
                  <a:gd name="T6" fmla="*/ 26 w 444"/>
                  <a:gd name="T7" fmla="*/ 696 h 727"/>
                  <a:gd name="T8" fmla="*/ 26 w 444"/>
                  <a:gd name="T9" fmla="*/ 32 h 727"/>
                  <a:gd name="T10" fmla="*/ 26 w 444"/>
                  <a:gd name="T11" fmla="*/ 32 h 727"/>
                  <a:gd name="T12" fmla="*/ 28 w 444"/>
                  <a:gd name="T13" fmla="*/ 26 h 727"/>
                  <a:gd name="T14" fmla="*/ 34 w 444"/>
                  <a:gd name="T15" fmla="*/ 24 h 727"/>
                  <a:gd name="T16" fmla="*/ 412 w 444"/>
                  <a:gd name="T17" fmla="*/ 24 h 727"/>
                  <a:gd name="T18" fmla="*/ 412 w 444"/>
                  <a:gd name="T19" fmla="*/ 24 h 727"/>
                  <a:gd name="T20" fmla="*/ 418 w 444"/>
                  <a:gd name="T21" fmla="*/ 26 h 727"/>
                  <a:gd name="T22" fmla="*/ 420 w 444"/>
                  <a:gd name="T23" fmla="*/ 32 h 727"/>
                  <a:gd name="T24" fmla="*/ 420 w 444"/>
                  <a:gd name="T25" fmla="*/ 348 h 727"/>
                  <a:gd name="T26" fmla="*/ 420 w 444"/>
                  <a:gd name="T27" fmla="*/ 348 h 727"/>
                  <a:gd name="T28" fmla="*/ 444 w 444"/>
                  <a:gd name="T29" fmla="*/ 382 h 727"/>
                  <a:gd name="T30" fmla="*/ 444 w 444"/>
                  <a:gd name="T31" fmla="*/ 32 h 727"/>
                  <a:gd name="T32" fmla="*/ 444 w 444"/>
                  <a:gd name="T33" fmla="*/ 32 h 727"/>
                  <a:gd name="T34" fmla="*/ 444 w 444"/>
                  <a:gd name="T35" fmla="*/ 26 h 727"/>
                  <a:gd name="T36" fmla="*/ 442 w 444"/>
                  <a:gd name="T37" fmla="*/ 20 h 727"/>
                  <a:gd name="T38" fmla="*/ 440 w 444"/>
                  <a:gd name="T39" fmla="*/ 14 h 727"/>
                  <a:gd name="T40" fmla="*/ 436 w 444"/>
                  <a:gd name="T41" fmla="*/ 8 h 727"/>
                  <a:gd name="T42" fmla="*/ 430 w 444"/>
                  <a:gd name="T43" fmla="*/ 4 h 727"/>
                  <a:gd name="T44" fmla="*/ 426 w 444"/>
                  <a:gd name="T45" fmla="*/ 2 h 727"/>
                  <a:gd name="T46" fmla="*/ 420 w 444"/>
                  <a:gd name="T47" fmla="*/ 0 h 727"/>
                  <a:gd name="T48" fmla="*/ 412 w 444"/>
                  <a:gd name="T49" fmla="*/ 0 h 727"/>
                  <a:gd name="T50" fmla="*/ 34 w 444"/>
                  <a:gd name="T51" fmla="*/ 0 h 727"/>
                  <a:gd name="T52" fmla="*/ 34 w 444"/>
                  <a:gd name="T53" fmla="*/ 0 h 727"/>
                  <a:gd name="T54" fmla="*/ 26 w 444"/>
                  <a:gd name="T55" fmla="*/ 0 h 727"/>
                  <a:gd name="T56" fmla="*/ 20 w 444"/>
                  <a:gd name="T57" fmla="*/ 2 h 727"/>
                  <a:gd name="T58" fmla="*/ 16 w 444"/>
                  <a:gd name="T59" fmla="*/ 4 h 727"/>
                  <a:gd name="T60" fmla="*/ 10 w 444"/>
                  <a:gd name="T61" fmla="*/ 8 h 727"/>
                  <a:gd name="T62" fmla="*/ 6 w 444"/>
                  <a:gd name="T63" fmla="*/ 14 h 727"/>
                  <a:gd name="T64" fmla="*/ 4 w 444"/>
                  <a:gd name="T65" fmla="*/ 20 h 727"/>
                  <a:gd name="T66" fmla="*/ 2 w 444"/>
                  <a:gd name="T67" fmla="*/ 26 h 727"/>
                  <a:gd name="T68" fmla="*/ 0 w 444"/>
                  <a:gd name="T69" fmla="*/ 32 h 727"/>
                  <a:gd name="T70" fmla="*/ 0 w 444"/>
                  <a:gd name="T71" fmla="*/ 696 h 727"/>
                  <a:gd name="T72" fmla="*/ 0 w 444"/>
                  <a:gd name="T73" fmla="*/ 696 h 727"/>
                  <a:gd name="T74" fmla="*/ 2 w 444"/>
                  <a:gd name="T75" fmla="*/ 701 h 727"/>
                  <a:gd name="T76" fmla="*/ 4 w 444"/>
                  <a:gd name="T77" fmla="*/ 707 h 727"/>
                  <a:gd name="T78" fmla="*/ 6 w 444"/>
                  <a:gd name="T79" fmla="*/ 713 h 727"/>
                  <a:gd name="T80" fmla="*/ 10 w 444"/>
                  <a:gd name="T81" fmla="*/ 719 h 727"/>
                  <a:gd name="T82" fmla="*/ 16 w 444"/>
                  <a:gd name="T83" fmla="*/ 723 h 727"/>
                  <a:gd name="T84" fmla="*/ 20 w 444"/>
                  <a:gd name="T85" fmla="*/ 725 h 727"/>
                  <a:gd name="T86" fmla="*/ 26 w 444"/>
                  <a:gd name="T87" fmla="*/ 727 h 727"/>
                  <a:gd name="T88" fmla="*/ 34 w 444"/>
                  <a:gd name="T89" fmla="*/ 727 h 727"/>
                  <a:gd name="T90" fmla="*/ 404 w 444"/>
                  <a:gd name="T91" fmla="*/ 727 h 727"/>
                  <a:gd name="T92" fmla="*/ 404 w 444"/>
                  <a:gd name="T93" fmla="*/ 727 h 727"/>
                  <a:gd name="T94" fmla="*/ 382 w 444"/>
                  <a:gd name="T95" fmla="*/ 703 h 727"/>
                  <a:gd name="T96" fmla="*/ 34 w 444"/>
                  <a:gd name="T97" fmla="*/ 7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4" h="727">
                    <a:moveTo>
                      <a:pt x="34" y="703"/>
                    </a:moveTo>
                    <a:lnTo>
                      <a:pt x="34" y="703"/>
                    </a:lnTo>
                    <a:lnTo>
                      <a:pt x="28" y="701"/>
                    </a:lnTo>
                    <a:lnTo>
                      <a:pt x="26" y="696"/>
                    </a:lnTo>
                    <a:lnTo>
                      <a:pt x="26" y="32"/>
                    </a:lnTo>
                    <a:lnTo>
                      <a:pt x="26" y="32"/>
                    </a:lnTo>
                    <a:lnTo>
                      <a:pt x="28" y="26"/>
                    </a:lnTo>
                    <a:lnTo>
                      <a:pt x="34" y="24"/>
                    </a:lnTo>
                    <a:lnTo>
                      <a:pt x="412" y="24"/>
                    </a:lnTo>
                    <a:lnTo>
                      <a:pt x="412" y="24"/>
                    </a:lnTo>
                    <a:lnTo>
                      <a:pt x="418" y="26"/>
                    </a:lnTo>
                    <a:lnTo>
                      <a:pt x="420" y="32"/>
                    </a:lnTo>
                    <a:lnTo>
                      <a:pt x="420" y="348"/>
                    </a:lnTo>
                    <a:lnTo>
                      <a:pt x="420" y="348"/>
                    </a:lnTo>
                    <a:lnTo>
                      <a:pt x="444" y="382"/>
                    </a:lnTo>
                    <a:lnTo>
                      <a:pt x="444" y="32"/>
                    </a:lnTo>
                    <a:lnTo>
                      <a:pt x="444" y="32"/>
                    </a:lnTo>
                    <a:lnTo>
                      <a:pt x="444" y="26"/>
                    </a:lnTo>
                    <a:lnTo>
                      <a:pt x="442" y="20"/>
                    </a:lnTo>
                    <a:lnTo>
                      <a:pt x="440" y="14"/>
                    </a:lnTo>
                    <a:lnTo>
                      <a:pt x="436" y="8"/>
                    </a:lnTo>
                    <a:lnTo>
                      <a:pt x="430" y="4"/>
                    </a:lnTo>
                    <a:lnTo>
                      <a:pt x="426" y="2"/>
                    </a:lnTo>
                    <a:lnTo>
                      <a:pt x="420" y="0"/>
                    </a:lnTo>
                    <a:lnTo>
                      <a:pt x="412" y="0"/>
                    </a:lnTo>
                    <a:lnTo>
                      <a:pt x="34" y="0"/>
                    </a:lnTo>
                    <a:lnTo>
                      <a:pt x="34" y="0"/>
                    </a:lnTo>
                    <a:lnTo>
                      <a:pt x="26" y="0"/>
                    </a:lnTo>
                    <a:lnTo>
                      <a:pt x="20" y="2"/>
                    </a:lnTo>
                    <a:lnTo>
                      <a:pt x="16" y="4"/>
                    </a:lnTo>
                    <a:lnTo>
                      <a:pt x="10" y="8"/>
                    </a:lnTo>
                    <a:lnTo>
                      <a:pt x="6" y="14"/>
                    </a:lnTo>
                    <a:lnTo>
                      <a:pt x="4" y="20"/>
                    </a:lnTo>
                    <a:lnTo>
                      <a:pt x="2" y="26"/>
                    </a:lnTo>
                    <a:lnTo>
                      <a:pt x="0" y="32"/>
                    </a:lnTo>
                    <a:lnTo>
                      <a:pt x="0" y="696"/>
                    </a:lnTo>
                    <a:lnTo>
                      <a:pt x="0" y="696"/>
                    </a:lnTo>
                    <a:lnTo>
                      <a:pt x="2" y="701"/>
                    </a:lnTo>
                    <a:lnTo>
                      <a:pt x="4" y="707"/>
                    </a:lnTo>
                    <a:lnTo>
                      <a:pt x="6" y="713"/>
                    </a:lnTo>
                    <a:lnTo>
                      <a:pt x="10" y="719"/>
                    </a:lnTo>
                    <a:lnTo>
                      <a:pt x="16" y="723"/>
                    </a:lnTo>
                    <a:lnTo>
                      <a:pt x="20" y="725"/>
                    </a:lnTo>
                    <a:lnTo>
                      <a:pt x="26" y="727"/>
                    </a:lnTo>
                    <a:lnTo>
                      <a:pt x="34" y="727"/>
                    </a:lnTo>
                    <a:lnTo>
                      <a:pt x="404" y="727"/>
                    </a:lnTo>
                    <a:lnTo>
                      <a:pt x="404" y="727"/>
                    </a:lnTo>
                    <a:lnTo>
                      <a:pt x="382" y="703"/>
                    </a:lnTo>
                    <a:lnTo>
                      <a:pt x="34" y="7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latin typeface="Segoe UI"/>
                </a:endParaRPr>
              </a:p>
            </p:txBody>
          </p:sp>
          <p:sp>
            <p:nvSpPr>
              <p:cNvPr id="236" name="Freeform 107"/>
              <p:cNvSpPr>
                <a:spLocks/>
              </p:cNvSpPr>
              <p:nvPr/>
            </p:nvSpPr>
            <p:spPr bwMode="auto">
              <a:xfrm>
                <a:off x="2974975" y="8467725"/>
                <a:ext cx="38100" cy="263525"/>
              </a:xfrm>
              <a:custGeom>
                <a:avLst/>
                <a:gdLst>
                  <a:gd name="T0" fmla="*/ 0 w 24"/>
                  <a:gd name="T1" fmla="*/ 0 h 166"/>
                  <a:gd name="T2" fmla="*/ 0 w 24"/>
                  <a:gd name="T3" fmla="*/ 134 h 166"/>
                  <a:gd name="T4" fmla="*/ 0 w 24"/>
                  <a:gd name="T5" fmla="*/ 134 h 166"/>
                  <a:gd name="T6" fmla="*/ 24 w 24"/>
                  <a:gd name="T7" fmla="*/ 166 h 166"/>
                  <a:gd name="T8" fmla="*/ 24 w 24"/>
                  <a:gd name="T9" fmla="*/ 50 h 166"/>
                  <a:gd name="T10" fmla="*/ 24 w 24"/>
                  <a:gd name="T11" fmla="*/ 50 h 166"/>
                  <a:gd name="T12" fmla="*/ 12 w 24"/>
                  <a:gd name="T13" fmla="*/ 22 h 166"/>
                  <a:gd name="T14" fmla="*/ 0 w 24"/>
                  <a:gd name="T15" fmla="*/ 0 h 166"/>
                  <a:gd name="T16" fmla="*/ 0 w 24"/>
                  <a:gd name="T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66">
                    <a:moveTo>
                      <a:pt x="0" y="0"/>
                    </a:moveTo>
                    <a:lnTo>
                      <a:pt x="0" y="134"/>
                    </a:lnTo>
                    <a:lnTo>
                      <a:pt x="0" y="134"/>
                    </a:lnTo>
                    <a:lnTo>
                      <a:pt x="24" y="166"/>
                    </a:lnTo>
                    <a:lnTo>
                      <a:pt x="24" y="50"/>
                    </a:lnTo>
                    <a:lnTo>
                      <a:pt x="24" y="50"/>
                    </a:lnTo>
                    <a:lnTo>
                      <a:pt x="12" y="2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latin typeface="Segoe UI"/>
                </a:endParaRPr>
              </a:p>
            </p:txBody>
          </p:sp>
        </p:grpSp>
        <p:sp>
          <p:nvSpPr>
            <p:cNvPr id="225" name="Freeform 100"/>
            <p:cNvSpPr>
              <a:spLocks noChangeAspect="1"/>
            </p:cNvSpPr>
            <p:nvPr/>
          </p:nvSpPr>
          <p:spPr bwMode="auto">
            <a:xfrm>
              <a:off x="594076" y="5166087"/>
              <a:ext cx="269639" cy="457200"/>
            </a:xfrm>
            <a:custGeom>
              <a:avLst/>
              <a:gdLst>
                <a:gd name="connsiteX0" fmla="*/ 652199 w 1962365"/>
                <a:gd name="connsiteY0" fmla="*/ 661855 h 3327402"/>
                <a:gd name="connsiteX1" fmla="*/ 518186 w 1962365"/>
                <a:gd name="connsiteY1" fmla="*/ 722665 h 3327402"/>
                <a:gd name="connsiteX2" fmla="*/ 466408 w 1962365"/>
                <a:gd name="connsiteY2" fmla="*/ 853406 h 3327402"/>
                <a:gd name="connsiteX3" fmla="*/ 466408 w 1962365"/>
                <a:gd name="connsiteY3" fmla="*/ 1151375 h 3327402"/>
                <a:gd name="connsiteX4" fmla="*/ 466408 w 1962365"/>
                <a:gd name="connsiteY4" fmla="*/ 1282116 h 3327402"/>
                <a:gd name="connsiteX5" fmla="*/ 466408 w 1962365"/>
                <a:gd name="connsiteY5" fmla="*/ 1285157 h 3327402"/>
                <a:gd name="connsiteX6" fmla="*/ 466408 w 1962365"/>
                <a:gd name="connsiteY6" fmla="*/ 1726029 h 3327402"/>
                <a:gd name="connsiteX7" fmla="*/ 466408 w 1962365"/>
                <a:gd name="connsiteY7" fmla="*/ 1732110 h 3327402"/>
                <a:gd name="connsiteX8" fmla="*/ 466280 w 1962365"/>
                <a:gd name="connsiteY8" fmla="*/ 1733367 h 3327402"/>
                <a:gd name="connsiteX9" fmla="*/ 466726 w 1962365"/>
                <a:gd name="connsiteY9" fmla="*/ 1735547 h 3327402"/>
                <a:gd name="connsiteX10" fmla="*/ 466726 w 1962365"/>
                <a:gd name="connsiteY10" fmla="*/ 2345918 h 3327402"/>
                <a:gd name="connsiteX11" fmla="*/ 405607 w 1962365"/>
                <a:gd name="connsiteY11" fmla="*/ 2406651 h 3327402"/>
                <a:gd name="connsiteX12" fmla="*/ 344488 w 1962365"/>
                <a:gd name="connsiteY12" fmla="*/ 2345918 h 3327402"/>
                <a:gd name="connsiteX13" fmla="*/ 344488 w 1962365"/>
                <a:gd name="connsiteY13" fmla="*/ 1884564 h 3327402"/>
                <a:gd name="connsiteX14" fmla="*/ 344488 w 1962365"/>
                <a:gd name="connsiteY14" fmla="*/ 1816216 h 3327402"/>
                <a:gd name="connsiteX15" fmla="*/ 314121 w 1962365"/>
                <a:gd name="connsiteY15" fmla="*/ 1811163 h 3327402"/>
                <a:gd name="connsiteX16" fmla="*/ 292800 w 1962365"/>
                <a:gd name="connsiteY16" fmla="*/ 1814204 h 3327402"/>
                <a:gd name="connsiteX17" fmla="*/ 122238 w 1962365"/>
                <a:gd name="connsiteY17" fmla="*/ 2014877 h 3327402"/>
                <a:gd name="connsiteX18" fmla="*/ 122238 w 1962365"/>
                <a:gd name="connsiteY18" fmla="*/ 2671624 h 3327402"/>
                <a:gd name="connsiteX19" fmla="*/ 655245 w 1962365"/>
                <a:gd name="connsiteY19" fmla="*/ 3206752 h 3327402"/>
                <a:gd name="connsiteX20" fmla="*/ 1316173 w 1962365"/>
                <a:gd name="connsiteY20" fmla="*/ 3206752 h 3327402"/>
                <a:gd name="connsiteX21" fmla="*/ 1660343 w 1962365"/>
                <a:gd name="connsiteY21" fmla="*/ 3069930 h 3327402"/>
                <a:gd name="connsiteX22" fmla="*/ 1840042 w 1962365"/>
                <a:gd name="connsiteY22" fmla="*/ 2635138 h 3327402"/>
                <a:gd name="connsiteX23" fmla="*/ 1836997 w 1962365"/>
                <a:gd name="connsiteY23" fmla="*/ 2200347 h 3327402"/>
                <a:gd name="connsiteX24" fmla="*/ 1836997 w 1962365"/>
                <a:gd name="connsiteY24" fmla="*/ 1865892 h 3327402"/>
                <a:gd name="connsiteX25" fmla="*/ 1766944 w 1962365"/>
                <a:gd name="connsiteY25" fmla="*/ 1710827 h 3327402"/>
                <a:gd name="connsiteX26" fmla="*/ 1691943 w 1962365"/>
                <a:gd name="connsiteY26" fmla="*/ 1673201 h 3327402"/>
                <a:gd name="connsiteX27" fmla="*/ 1627188 w 1962365"/>
                <a:gd name="connsiteY27" fmla="*/ 1674055 h 3327402"/>
                <a:gd name="connsiteX28" fmla="*/ 1627188 w 1962365"/>
                <a:gd name="connsiteY28" fmla="*/ 1739862 h 3327402"/>
                <a:gd name="connsiteX29" fmla="*/ 1627188 w 1962365"/>
                <a:gd name="connsiteY29" fmla="*/ 2002880 h 3327402"/>
                <a:gd name="connsiteX30" fmla="*/ 1566069 w 1962365"/>
                <a:gd name="connsiteY30" fmla="*/ 2063750 h 3327402"/>
                <a:gd name="connsiteX31" fmla="*/ 1504950 w 1962365"/>
                <a:gd name="connsiteY31" fmla="*/ 2002880 h 3327402"/>
                <a:gd name="connsiteX32" fmla="*/ 1504950 w 1962365"/>
                <a:gd name="connsiteY32" fmla="*/ 1659347 h 3327402"/>
                <a:gd name="connsiteX33" fmla="*/ 1504950 w 1962365"/>
                <a:gd name="connsiteY33" fmla="*/ 1634494 h 3327402"/>
                <a:gd name="connsiteX34" fmla="*/ 1492827 w 1962365"/>
                <a:gd name="connsiteY34" fmla="*/ 1616571 h 3327402"/>
                <a:gd name="connsiteX35" fmla="*/ 1343347 w 1962365"/>
                <a:gd name="connsiteY35" fmla="*/ 1504121 h 3327402"/>
                <a:gd name="connsiteX36" fmla="*/ 1295401 w 1962365"/>
                <a:gd name="connsiteY36" fmla="*/ 1508888 h 3327402"/>
                <a:gd name="connsiteX37" fmla="*/ 1295401 w 1962365"/>
                <a:gd name="connsiteY37" fmla="*/ 1587395 h 3327402"/>
                <a:gd name="connsiteX38" fmla="*/ 1295401 w 1962365"/>
                <a:gd name="connsiteY38" fmla="*/ 1853811 h 3327402"/>
                <a:gd name="connsiteX39" fmla="*/ 1234282 w 1962365"/>
                <a:gd name="connsiteY39" fmla="*/ 1914526 h 3327402"/>
                <a:gd name="connsiteX40" fmla="*/ 1173163 w 1962365"/>
                <a:gd name="connsiteY40" fmla="*/ 1853811 h 3327402"/>
                <a:gd name="connsiteX41" fmla="*/ 1173163 w 1962365"/>
                <a:gd name="connsiteY41" fmla="*/ 1505839 h 3327402"/>
                <a:gd name="connsiteX42" fmla="*/ 1173163 w 1962365"/>
                <a:gd name="connsiteY42" fmla="*/ 1481814 h 3327402"/>
                <a:gd name="connsiteX43" fmla="*/ 1154748 w 1962365"/>
                <a:gd name="connsiteY43" fmla="*/ 1452384 h 3327402"/>
                <a:gd name="connsiteX44" fmla="*/ 1014692 w 1962365"/>
                <a:gd name="connsiteY44" fmla="*/ 1336513 h 3327402"/>
                <a:gd name="connsiteX45" fmla="*/ 960438 w 1962365"/>
                <a:gd name="connsiteY45" fmla="*/ 1336809 h 3327402"/>
                <a:gd name="connsiteX46" fmla="*/ 960438 w 1962365"/>
                <a:gd name="connsiteY46" fmla="*/ 1351429 h 3327402"/>
                <a:gd name="connsiteX47" fmla="*/ 960438 w 1962365"/>
                <a:gd name="connsiteY47" fmla="*/ 1856956 h 3327402"/>
                <a:gd name="connsiteX48" fmla="*/ 899319 w 1962365"/>
                <a:gd name="connsiteY48" fmla="*/ 1917701 h 3327402"/>
                <a:gd name="connsiteX49" fmla="*/ 838200 w 1962365"/>
                <a:gd name="connsiteY49" fmla="*/ 1856956 h 3327402"/>
                <a:gd name="connsiteX50" fmla="*/ 838200 w 1962365"/>
                <a:gd name="connsiteY50" fmla="*/ 1244632 h 3327402"/>
                <a:gd name="connsiteX51" fmla="*/ 838200 w 1962365"/>
                <a:gd name="connsiteY51" fmla="*/ 1244582 h 3327402"/>
                <a:gd name="connsiteX52" fmla="*/ 837990 w 1962365"/>
                <a:gd name="connsiteY52" fmla="*/ 1242590 h 3327402"/>
                <a:gd name="connsiteX53" fmla="*/ 837990 w 1962365"/>
                <a:gd name="connsiteY53" fmla="*/ 853406 h 3327402"/>
                <a:gd name="connsiteX54" fmla="*/ 777075 w 1962365"/>
                <a:gd name="connsiteY54" fmla="*/ 713543 h 3327402"/>
                <a:gd name="connsiteX55" fmla="*/ 652199 w 1962365"/>
                <a:gd name="connsiteY55" fmla="*/ 661855 h 3327402"/>
                <a:gd name="connsiteX56" fmla="*/ 639828 w 1962365"/>
                <a:gd name="connsiteY56" fmla="*/ 121613 h 3327402"/>
                <a:gd name="connsiteX57" fmla="*/ 137622 w 1962365"/>
                <a:gd name="connsiteY57" fmla="*/ 626308 h 3327402"/>
                <a:gd name="connsiteX58" fmla="*/ 282720 w 1962365"/>
                <a:gd name="connsiteY58" fmla="*/ 979461 h 3327402"/>
                <a:gd name="connsiteX59" fmla="*/ 345272 w 1962365"/>
                <a:gd name="connsiteY59" fmla="*/ 1028322 h 3327402"/>
                <a:gd name="connsiteX60" fmla="*/ 345456 w 1962365"/>
                <a:gd name="connsiteY60" fmla="*/ 1004557 h 3327402"/>
                <a:gd name="connsiteX61" fmla="*/ 344313 w 1962365"/>
                <a:gd name="connsiteY61" fmla="*/ 857195 h 3327402"/>
                <a:gd name="connsiteX62" fmla="*/ 429629 w 1962365"/>
                <a:gd name="connsiteY62" fmla="*/ 638431 h 3327402"/>
                <a:gd name="connsiteX63" fmla="*/ 649015 w 1962365"/>
                <a:gd name="connsiteY63" fmla="*/ 541203 h 3327402"/>
                <a:gd name="connsiteX64" fmla="*/ 859259 w 1962365"/>
                <a:gd name="connsiteY64" fmla="*/ 626277 h 3327402"/>
                <a:gd name="connsiteX65" fmla="*/ 959810 w 1962365"/>
                <a:gd name="connsiteY65" fmla="*/ 854156 h 3327402"/>
                <a:gd name="connsiteX66" fmla="*/ 961689 w 1962365"/>
                <a:gd name="connsiteY66" fmla="*/ 1008367 h 3327402"/>
                <a:gd name="connsiteX67" fmla="*/ 997413 w 1962365"/>
                <a:gd name="connsiteY67" fmla="*/ 981171 h 3327402"/>
                <a:gd name="connsiteX68" fmla="*/ 1145078 w 1962365"/>
                <a:gd name="connsiteY68" fmla="*/ 626308 h 3327402"/>
                <a:gd name="connsiteX69" fmla="*/ 639828 w 1962365"/>
                <a:gd name="connsiteY69" fmla="*/ 121613 h 3327402"/>
                <a:gd name="connsiteX70" fmla="*/ 639828 w 1962365"/>
                <a:gd name="connsiteY70" fmla="*/ 0 h 3327402"/>
                <a:gd name="connsiteX71" fmla="*/ 1266825 w 1962365"/>
                <a:gd name="connsiteY71" fmla="*/ 626308 h 3327402"/>
                <a:gd name="connsiteX72" fmla="*/ 1024764 w 1962365"/>
                <a:gd name="connsiteY72" fmla="*/ 1121039 h 3327402"/>
                <a:gd name="connsiteX73" fmla="*/ 960481 w 1962365"/>
                <a:gd name="connsiteY73" fmla="*/ 1164696 h 3327402"/>
                <a:gd name="connsiteX74" fmla="*/ 959810 w 1962365"/>
                <a:gd name="connsiteY74" fmla="*/ 1215724 h 3327402"/>
                <a:gd name="connsiteX75" fmla="*/ 1261465 w 1962365"/>
                <a:gd name="connsiteY75" fmla="*/ 1388912 h 3327402"/>
                <a:gd name="connsiteX76" fmla="*/ 1596636 w 1962365"/>
                <a:gd name="connsiteY76" fmla="*/ 1549947 h 3327402"/>
                <a:gd name="connsiteX77" fmla="*/ 1843445 w 1962365"/>
                <a:gd name="connsiteY77" fmla="*/ 1613753 h 3327402"/>
                <a:gd name="connsiteX78" fmla="*/ 1959231 w 1962365"/>
                <a:gd name="connsiteY78" fmla="*/ 1865939 h 3327402"/>
                <a:gd name="connsiteX79" fmla="*/ 1959231 w 1962365"/>
                <a:gd name="connsiteY79" fmla="*/ 2200161 h 3327402"/>
                <a:gd name="connsiteX80" fmla="*/ 1962278 w 1962365"/>
                <a:gd name="connsiteY80" fmla="*/ 2631612 h 3327402"/>
                <a:gd name="connsiteX81" fmla="*/ 1742893 w 1962365"/>
                <a:gd name="connsiteY81" fmla="*/ 3160291 h 3327402"/>
                <a:gd name="connsiteX82" fmla="*/ 1316311 w 1962365"/>
                <a:gd name="connsiteY82" fmla="*/ 3327402 h 3327402"/>
                <a:gd name="connsiteX83" fmla="*/ 981139 w 1962365"/>
                <a:gd name="connsiteY83" fmla="*/ 3327402 h 3327402"/>
                <a:gd name="connsiteX84" fmla="*/ 652062 w 1962365"/>
                <a:gd name="connsiteY84" fmla="*/ 3327402 h 3327402"/>
                <a:gd name="connsiteX85" fmla="*/ 0 w 1962365"/>
                <a:gd name="connsiteY85" fmla="*/ 2674149 h 3327402"/>
                <a:gd name="connsiteX86" fmla="*/ 0 w 1962365"/>
                <a:gd name="connsiteY86" fmla="*/ 2014820 h 3327402"/>
                <a:gd name="connsiteX87" fmla="*/ 271185 w 1962365"/>
                <a:gd name="connsiteY87" fmla="*/ 1695789 h 3327402"/>
                <a:gd name="connsiteX88" fmla="*/ 344313 w 1962365"/>
                <a:gd name="connsiteY88" fmla="*/ 1692751 h 3327402"/>
                <a:gd name="connsiteX89" fmla="*/ 344313 w 1962365"/>
                <a:gd name="connsiteY89" fmla="*/ 1282569 h 3327402"/>
                <a:gd name="connsiteX90" fmla="*/ 344313 w 1962365"/>
                <a:gd name="connsiteY90" fmla="*/ 1276492 h 3327402"/>
                <a:gd name="connsiteX91" fmla="*/ 344313 w 1962365"/>
                <a:gd name="connsiteY91" fmla="*/ 1169483 h 3327402"/>
                <a:gd name="connsiteX92" fmla="*/ 326330 w 1962365"/>
                <a:gd name="connsiteY92" fmla="*/ 1167487 h 3327402"/>
                <a:gd name="connsiteX93" fmla="*/ 15875 w 1962365"/>
                <a:gd name="connsiteY93" fmla="*/ 626308 h 3327402"/>
                <a:gd name="connsiteX94" fmla="*/ 639828 w 1962365"/>
                <a:gd name="connsiteY94" fmla="*/ 0 h 3327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962365" h="3327402">
                  <a:moveTo>
                    <a:pt x="652199" y="661855"/>
                  </a:moveTo>
                  <a:cubicBezTo>
                    <a:pt x="603467" y="661855"/>
                    <a:pt x="554735" y="683138"/>
                    <a:pt x="518186" y="722665"/>
                  </a:cubicBezTo>
                  <a:cubicBezTo>
                    <a:pt x="484683" y="759151"/>
                    <a:pt x="463362" y="807799"/>
                    <a:pt x="466408" y="853406"/>
                  </a:cubicBezTo>
                  <a:cubicBezTo>
                    <a:pt x="469454" y="953743"/>
                    <a:pt x="466408" y="1054079"/>
                    <a:pt x="466408" y="1151375"/>
                  </a:cubicBezTo>
                  <a:cubicBezTo>
                    <a:pt x="466408" y="1193942"/>
                    <a:pt x="466408" y="1236509"/>
                    <a:pt x="466408" y="1282116"/>
                  </a:cubicBezTo>
                  <a:cubicBezTo>
                    <a:pt x="466408" y="1282116"/>
                    <a:pt x="466408" y="1285157"/>
                    <a:pt x="466408" y="1285157"/>
                  </a:cubicBezTo>
                  <a:cubicBezTo>
                    <a:pt x="466408" y="1726029"/>
                    <a:pt x="466408" y="1726029"/>
                    <a:pt x="466408" y="1726029"/>
                  </a:cubicBezTo>
                  <a:cubicBezTo>
                    <a:pt x="466408" y="1729070"/>
                    <a:pt x="466408" y="1729070"/>
                    <a:pt x="466408" y="1732110"/>
                  </a:cubicBezTo>
                  <a:lnTo>
                    <a:pt x="466280" y="1733367"/>
                  </a:lnTo>
                  <a:lnTo>
                    <a:pt x="466726" y="1735547"/>
                  </a:lnTo>
                  <a:cubicBezTo>
                    <a:pt x="466726" y="2345918"/>
                    <a:pt x="466726" y="2345918"/>
                    <a:pt x="466726" y="2345918"/>
                  </a:cubicBezTo>
                  <a:cubicBezTo>
                    <a:pt x="466726" y="2379321"/>
                    <a:pt x="439223" y="2406651"/>
                    <a:pt x="405607" y="2406651"/>
                  </a:cubicBezTo>
                  <a:cubicBezTo>
                    <a:pt x="371992" y="2406651"/>
                    <a:pt x="344488" y="2379321"/>
                    <a:pt x="344488" y="2345918"/>
                  </a:cubicBezTo>
                  <a:cubicBezTo>
                    <a:pt x="344488" y="2117029"/>
                    <a:pt x="344488" y="1973973"/>
                    <a:pt x="344488" y="1884564"/>
                  </a:cubicBezTo>
                  <a:lnTo>
                    <a:pt x="344488" y="1816216"/>
                  </a:lnTo>
                  <a:lnTo>
                    <a:pt x="314121" y="1811163"/>
                  </a:lnTo>
                  <a:cubicBezTo>
                    <a:pt x="308029" y="1811163"/>
                    <a:pt x="298892" y="1811163"/>
                    <a:pt x="292800" y="1814204"/>
                  </a:cubicBezTo>
                  <a:cubicBezTo>
                    <a:pt x="189245" y="1832447"/>
                    <a:pt x="122238" y="1911500"/>
                    <a:pt x="122238" y="2014877"/>
                  </a:cubicBezTo>
                  <a:cubicBezTo>
                    <a:pt x="122238" y="2233793"/>
                    <a:pt x="122238" y="2455749"/>
                    <a:pt x="122238" y="2671624"/>
                  </a:cubicBezTo>
                  <a:cubicBezTo>
                    <a:pt x="122238" y="2969593"/>
                    <a:pt x="356761" y="3203712"/>
                    <a:pt x="655245" y="3206752"/>
                  </a:cubicBezTo>
                  <a:cubicBezTo>
                    <a:pt x="874539" y="3206752"/>
                    <a:pt x="1096879" y="3206752"/>
                    <a:pt x="1316173" y="3206752"/>
                  </a:cubicBezTo>
                  <a:cubicBezTo>
                    <a:pt x="1447140" y="3203712"/>
                    <a:pt x="1562879" y="3158104"/>
                    <a:pt x="1660343" y="3069930"/>
                  </a:cubicBezTo>
                  <a:cubicBezTo>
                    <a:pt x="1782173" y="2960472"/>
                    <a:pt x="1843088" y="2817568"/>
                    <a:pt x="1840042" y="2635138"/>
                  </a:cubicBezTo>
                  <a:cubicBezTo>
                    <a:pt x="1836997" y="2489194"/>
                    <a:pt x="1836997" y="2343251"/>
                    <a:pt x="1836997" y="2200347"/>
                  </a:cubicBezTo>
                  <a:cubicBezTo>
                    <a:pt x="1836997" y="2090889"/>
                    <a:pt x="1840042" y="1978391"/>
                    <a:pt x="1836997" y="1865892"/>
                  </a:cubicBezTo>
                  <a:cubicBezTo>
                    <a:pt x="1836997" y="1802042"/>
                    <a:pt x="1812631" y="1747313"/>
                    <a:pt x="1766944" y="1710827"/>
                  </a:cubicBezTo>
                  <a:cubicBezTo>
                    <a:pt x="1744101" y="1692584"/>
                    <a:pt x="1718974" y="1679662"/>
                    <a:pt x="1691943" y="1673201"/>
                  </a:cubicBezTo>
                  <a:lnTo>
                    <a:pt x="1627188" y="1674055"/>
                  </a:lnTo>
                  <a:lnTo>
                    <a:pt x="1627188" y="1739862"/>
                  </a:lnTo>
                  <a:cubicBezTo>
                    <a:pt x="1627188" y="2002880"/>
                    <a:pt x="1627188" y="2002880"/>
                    <a:pt x="1627188" y="2002880"/>
                  </a:cubicBezTo>
                  <a:cubicBezTo>
                    <a:pt x="1627188" y="2036359"/>
                    <a:pt x="1599685" y="2063750"/>
                    <a:pt x="1566069" y="2063750"/>
                  </a:cubicBezTo>
                  <a:cubicBezTo>
                    <a:pt x="1532454" y="2063750"/>
                    <a:pt x="1504950" y="2036359"/>
                    <a:pt x="1504950" y="2002880"/>
                  </a:cubicBezTo>
                  <a:cubicBezTo>
                    <a:pt x="1504950" y="1806575"/>
                    <a:pt x="1504950" y="1708423"/>
                    <a:pt x="1504950" y="1659347"/>
                  </a:cubicBezTo>
                  <a:lnTo>
                    <a:pt x="1504950" y="1634494"/>
                  </a:lnTo>
                  <a:lnTo>
                    <a:pt x="1492827" y="1616571"/>
                  </a:lnTo>
                  <a:cubicBezTo>
                    <a:pt x="1456278" y="1550441"/>
                    <a:pt x="1402597" y="1509964"/>
                    <a:pt x="1343347" y="1504121"/>
                  </a:cubicBezTo>
                  <a:lnTo>
                    <a:pt x="1295401" y="1508888"/>
                  </a:lnTo>
                  <a:lnTo>
                    <a:pt x="1295401" y="1587395"/>
                  </a:lnTo>
                  <a:cubicBezTo>
                    <a:pt x="1295401" y="1853811"/>
                    <a:pt x="1295401" y="1853811"/>
                    <a:pt x="1295401" y="1853811"/>
                  </a:cubicBezTo>
                  <a:cubicBezTo>
                    <a:pt x="1295401" y="1887204"/>
                    <a:pt x="1270954" y="1914526"/>
                    <a:pt x="1234282" y="1914526"/>
                  </a:cubicBezTo>
                  <a:cubicBezTo>
                    <a:pt x="1200667" y="1914526"/>
                    <a:pt x="1173163" y="1887204"/>
                    <a:pt x="1173163" y="1853811"/>
                  </a:cubicBezTo>
                  <a:cubicBezTo>
                    <a:pt x="1173163" y="1654970"/>
                    <a:pt x="1173163" y="1555549"/>
                    <a:pt x="1173163" y="1505839"/>
                  </a:cubicBezTo>
                  <a:lnTo>
                    <a:pt x="1173163" y="1481814"/>
                  </a:lnTo>
                  <a:lnTo>
                    <a:pt x="1154748" y="1452384"/>
                  </a:lnTo>
                  <a:cubicBezTo>
                    <a:pt x="1127336" y="1388534"/>
                    <a:pt x="1074226" y="1346917"/>
                    <a:pt x="1014692" y="1336513"/>
                  </a:cubicBezTo>
                  <a:lnTo>
                    <a:pt x="960438" y="1336809"/>
                  </a:lnTo>
                  <a:lnTo>
                    <a:pt x="960438" y="1351429"/>
                  </a:lnTo>
                  <a:cubicBezTo>
                    <a:pt x="960438" y="1856956"/>
                    <a:pt x="960438" y="1856956"/>
                    <a:pt x="960438" y="1856956"/>
                  </a:cubicBezTo>
                  <a:cubicBezTo>
                    <a:pt x="960438" y="1890366"/>
                    <a:pt x="932935" y="1917701"/>
                    <a:pt x="899319" y="1917701"/>
                  </a:cubicBezTo>
                  <a:cubicBezTo>
                    <a:pt x="865704" y="1917701"/>
                    <a:pt x="838200" y="1890366"/>
                    <a:pt x="838200" y="1856956"/>
                  </a:cubicBezTo>
                  <a:cubicBezTo>
                    <a:pt x="838200" y="1320124"/>
                    <a:pt x="838200" y="1253020"/>
                    <a:pt x="838200" y="1244632"/>
                  </a:cubicBezTo>
                  <a:lnTo>
                    <a:pt x="838200" y="1244582"/>
                  </a:lnTo>
                  <a:lnTo>
                    <a:pt x="837990" y="1242590"/>
                  </a:lnTo>
                  <a:cubicBezTo>
                    <a:pt x="841036" y="1127051"/>
                    <a:pt x="841036" y="993269"/>
                    <a:pt x="837990" y="853406"/>
                  </a:cubicBezTo>
                  <a:cubicBezTo>
                    <a:pt x="837990" y="801718"/>
                    <a:pt x="816670" y="750029"/>
                    <a:pt x="777075" y="713543"/>
                  </a:cubicBezTo>
                  <a:cubicBezTo>
                    <a:pt x="740526" y="677057"/>
                    <a:pt x="694840" y="658814"/>
                    <a:pt x="652199" y="661855"/>
                  </a:cubicBezTo>
                  <a:close/>
                  <a:moveTo>
                    <a:pt x="639828" y="121613"/>
                  </a:moveTo>
                  <a:cubicBezTo>
                    <a:pt x="362854" y="121613"/>
                    <a:pt x="137622" y="346598"/>
                    <a:pt x="137622" y="626308"/>
                  </a:cubicBezTo>
                  <a:cubicBezTo>
                    <a:pt x="137622" y="758562"/>
                    <a:pt x="190696" y="885686"/>
                    <a:pt x="282720" y="979461"/>
                  </a:cubicBezTo>
                  <a:lnTo>
                    <a:pt x="345272" y="1028322"/>
                  </a:lnTo>
                  <a:lnTo>
                    <a:pt x="345456" y="1004557"/>
                  </a:lnTo>
                  <a:cubicBezTo>
                    <a:pt x="345837" y="955183"/>
                    <a:pt x="345837" y="905809"/>
                    <a:pt x="344313" y="857195"/>
                  </a:cubicBezTo>
                  <a:cubicBezTo>
                    <a:pt x="341266" y="781235"/>
                    <a:pt x="371736" y="699199"/>
                    <a:pt x="429629" y="638431"/>
                  </a:cubicBezTo>
                  <a:cubicBezTo>
                    <a:pt x="490570" y="577663"/>
                    <a:pt x="566745" y="541203"/>
                    <a:pt x="649015" y="541203"/>
                  </a:cubicBezTo>
                  <a:cubicBezTo>
                    <a:pt x="725190" y="538164"/>
                    <a:pt x="801365" y="568548"/>
                    <a:pt x="859259" y="626277"/>
                  </a:cubicBezTo>
                  <a:cubicBezTo>
                    <a:pt x="923246" y="687045"/>
                    <a:pt x="959810" y="769081"/>
                    <a:pt x="959810" y="854156"/>
                  </a:cubicBezTo>
                  <a:lnTo>
                    <a:pt x="961689" y="1008367"/>
                  </a:lnTo>
                  <a:lnTo>
                    <a:pt x="997413" y="981171"/>
                  </a:lnTo>
                  <a:cubicBezTo>
                    <a:pt x="1090292" y="888536"/>
                    <a:pt x="1145078" y="760842"/>
                    <a:pt x="1145078" y="626308"/>
                  </a:cubicBezTo>
                  <a:cubicBezTo>
                    <a:pt x="1145078" y="346598"/>
                    <a:pt x="919846" y="121613"/>
                    <a:pt x="639828" y="121613"/>
                  </a:cubicBezTo>
                  <a:close/>
                  <a:moveTo>
                    <a:pt x="639828" y="0"/>
                  </a:moveTo>
                  <a:cubicBezTo>
                    <a:pt x="986807" y="0"/>
                    <a:pt x="1266825" y="279710"/>
                    <a:pt x="1266825" y="626308"/>
                  </a:cubicBezTo>
                  <a:cubicBezTo>
                    <a:pt x="1266825" y="820509"/>
                    <a:pt x="1175943" y="1003071"/>
                    <a:pt x="1024764" y="1121039"/>
                  </a:cubicBezTo>
                  <a:lnTo>
                    <a:pt x="960481" y="1164696"/>
                  </a:lnTo>
                  <a:lnTo>
                    <a:pt x="959810" y="1215724"/>
                  </a:lnTo>
                  <a:cubicBezTo>
                    <a:pt x="1084738" y="1203571"/>
                    <a:pt x="1200524" y="1273454"/>
                    <a:pt x="1261465" y="1388912"/>
                  </a:cubicBezTo>
                  <a:cubicBezTo>
                    <a:pt x="1392486" y="1358528"/>
                    <a:pt x="1523508" y="1422334"/>
                    <a:pt x="1596636" y="1549947"/>
                  </a:cubicBezTo>
                  <a:cubicBezTo>
                    <a:pt x="1688047" y="1537793"/>
                    <a:pt x="1776410" y="1559062"/>
                    <a:pt x="1843445" y="1613753"/>
                  </a:cubicBezTo>
                  <a:cubicBezTo>
                    <a:pt x="1916573" y="1674520"/>
                    <a:pt x="1959231" y="1765672"/>
                    <a:pt x="1959231" y="1865939"/>
                  </a:cubicBezTo>
                  <a:cubicBezTo>
                    <a:pt x="1962278" y="1975321"/>
                    <a:pt x="1959231" y="2090779"/>
                    <a:pt x="1959231" y="2200161"/>
                  </a:cubicBezTo>
                  <a:cubicBezTo>
                    <a:pt x="1959231" y="2339927"/>
                    <a:pt x="1959231" y="2488808"/>
                    <a:pt x="1962278" y="2631612"/>
                  </a:cubicBezTo>
                  <a:cubicBezTo>
                    <a:pt x="1965325" y="2847337"/>
                    <a:pt x="1889150" y="3026602"/>
                    <a:pt x="1742893" y="3160291"/>
                  </a:cubicBezTo>
                  <a:cubicBezTo>
                    <a:pt x="1621012" y="3269673"/>
                    <a:pt x="1477803" y="3324364"/>
                    <a:pt x="1316311" y="3327402"/>
                  </a:cubicBezTo>
                  <a:cubicBezTo>
                    <a:pt x="1206618" y="3327402"/>
                    <a:pt x="1093879" y="3327402"/>
                    <a:pt x="981139" y="3327402"/>
                  </a:cubicBezTo>
                  <a:cubicBezTo>
                    <a:pt x="871447" y="3327402"/>
                    <a:pt x="761754" y="3327402"/>
                    <a:pt x="652062" y="3327402"/>
                  </a:cubicBezTo>
                  <a:cubicBezTo>
                    <a:pt x="289467" y="3324364"/>
                    <a:pt x="3047" y="3035717"/>
                    <a:pt x="0" y="2674149"/>
                  </a:cubicBezTo>
                  <a:cubicBezTo>
                    <a:pt x="0" y="2455386"/>
                    <a:pt x="0" y="2233583"/>
                    <a:pt x="0" y="2014820"/>
                  </a:cubicBezTo>
                  <a:cubicBezTo>
                    <a:pt x="0" y="1853785"/>
                    <a:pt x="109693" y="1723135"/>
                    <a:pt x="271185" y="1695789"/>
                  </a:cubicBezTo>
                  <a:cubicBezTo>
                    <a:pt x="295561" y="1689712"/>
                    <a:pt x="319937" y="1689712"/>
                    <a:pt x="344313" y="1692751"/>
                  </a:cubicBezTo>
                  <a:cubicBezTo>
                    <a:pt x="344313" y="1282569"/>
                    <a:pt x="344313" y="1282569"/>
                    <a:pt x="344313" y="1282569"/>
                  </a:cubicBezTo>
                  <a:cubicBezTo>
                    <a:pt x="344313" y="1279530"/>
                    <a:pt x="344313" y="1279530"/>
                    <a:pt x="344313" y="1276492"/>
                  </a:cubicBezTo>
                  <a:lnTo>
                    <a:pt x="344313" y="1169483"/>
                  </a:lnTo>
                  <a:lnTo>
                    <a:pt x="326330" y="1167487"/>
                  </a:lnTo>
                  <a:cubicBezTo>
                    <a:pt x="134579" y="1054994"/>
                    <a:pt x="15875" y="848252"/>
                    <a:pt x="15875" y="626308"/>
                  </a:cubicBezTo>
                  <a:cubicBezTo>
                    <a:pt x="15875" y="279710"/>
                    <a:pt x="295893" y="0"/>
                    <a:pt x="639828" y="0"/>
                  </a:cubicBezTo>
                  <a:close/>
                </a:path>
              </a:pathLst>
            </a:custGeom>
            <a:solidFill>
              <a:srgbClr val="0078D7"/>
            </a:solidFill>
            <a:ln>
              <a:noFill/>
            </a:ln>
            <a:extLst/>
          </p:spPr>
          <p:txBody>
            <a:bodyPr vert="horz" wrap="square" lIns="93260" tIns="46630" rIns="93260" bIns="46630" numCol="1" anchor="t" anchorCtr="0" compatLnSpc="1">
              <a:prstTxWarp prst="textNoShape">
                <a:avLst/>
              </a:prstTxWarp>
              <a:noAutofit/>
            </a:bodyPr>
            <a:lstStyle/>
            <a:p>
              <a:pPr defTabSz="932597">
                <a:defRPr/>
              </a:pPr>
              <a:endParaRPr lang="en-US" sz="1632" kern="0" dirty="0">
                <a:solidFill>
                  <a:srgbClr val="FFFFFF"/>
                </a:solidFill>
                <a:latin typeface="Segoe UI"/>
              </a:endParaRPr>
            </a:p>
          </p:txBody>
        </p:sp>
      </p:grpSp>
      <p:grpSp>
        <p:nvGrpSpPr>
          <p:cNvPr id="239" name="Group 238"/>
          <p:cNvGrpSpPr>
            <a:grpSpLocks noChangeAspect="1"/>
          </p:cNvGrpSpPr>
          <p:nvPr/>
        </p:nvGrpSpPr>
        <p:grpSpPr>
          <a:xfrm>
            <a:off x="6129025" y="3201476"/>
            <a:ext cx="299905" cy="298433"/>
            <a:chOff x="8580718" y="793097"/>
            <a:chExt cx="2587625" cy="2574925"/>
          </a:xfrm>
          <a:solidFill>
            <a:schemeClr val="bg1"/>
          </a:solidFill>
        </p:grpSpPr>
        <p:sp>
          <p:nvSpPr>
            <p:cNvPr id="240"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grpFill/>
            <a:ln w="0">
              <a:solidFill>
                <a:schemeClr val="bg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latin typeface="Segoe UI"/>
              </a:endParaRPr>
            </a:p>
          </p:txBody>
        </p:sp>
        <p:sp>
          <p:nvSpPr>
            <p:cNvPr id="241"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grpFill/>
            <a:ln w="0">
              <a:solidFill>
                <a:schemeClr val="bg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latin typeface="Segoe UI"/>
              </a:endParaRPr>
            </a:p>
          </p:txBody>
        </p:sp>
      </p:grpSp>
      <p:grpSp>
        <p:nvGrpSpPr>
          <p:cNvPr id="242" name="Group 241"/>
          <p:cNvGrpSpPr>
            <a:grpSpLocks noChangeAspect="1"/>
          </p:cNvGrpSpPr>
          <p:nvPr/>
        </p:nvGrpSpPr>
        <p:grpSpPr>
          <a:xfrm>
            <a:off x="4268816" y="3544335"/>
            <a:ext cx="298433" cy="233957"/>
            <a:chOff x="8588655" y="3482322"/>
            <a:chExt cx="2571750" cy="2016125"/>
          </a:xfrm>
          <a:solidFill>
            <a:schemeClr val="bg1"/>
          </a:solidFill>
        </p:grpSpPr>
        <p:sp>
          <p:nvSpPr>
            <p:cNvPr id="243"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grpFill/>
            <a:ln w="0">
              <a:solidFill>
                <a:schemeClr val="bg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latin typeface="Segoe UI"/>
              </a:endParaRPr>
            </a:p>
          </p:txBody>
        </p:sp>
        <p:sp>
          <p:nvSpPr>
            <p:cNvPr id="244"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grpFill/>
            <a:ln w="0">
              <a:solidFill>
                <a:schemeClr val="bg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latin typeface="Segoe UI"/>
              </a:endParaRPr>
            </a:p>
          </p:txBody>
        </p:sp>
      </p:grpSp>
      <p:sp>
        <p:nvSpPr>
          <p:cNvPr id="3" name="Rectangle: Rounded Corners 2"/>
          <p:cNvSpPr/>
          <p:nvPr/>
        </p:nvSpPr>
        <p:spPr bwMode="auto">
          <a:xfrm>
            <a:off x="4163827" y="3072338"/>
            <a:ext cx="3577909" cy="1195597"/>
          </a:xfrm>
          <a:prstGeom prst="roundRect">
            <a:avLst/>
          </a:prstGeom>
          <a:solidFill>
            <a:schemeClr val="accent2">
              <a:alpha val="46000"/>
            </a:schemeClr>
          </a:solidFill>
          <a:ln w="2857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rgbClr val="FFFFFF"/>
              </a:solidFill>
              <a:latin typeface="Segoe UI Light"/>
              <a:ea typeface="Segoe UI" pitchFamily="34" charset="0"/>
              <a:cs typeface="Segoe UI" pitchFamily="34" charset="0"/>
            </a:endParaRPr>
          </a:p>
        </p:txBody>
      </p:sp>
    </p:spTree>
    <p:extLst>
      <p:ext uri="{BB962C8B-B14F-4D97-AF65-F5344CB8AC3E}">
        <p14:creationId xmlns:p14="http://schemas.microsoft.com/office/powerpoint/2010/main" val="84804530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circle(in)">
                                      <p:cBhvr>
                                        <p:cTn id="7"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5" name="Title 1"/>
          <p:cNvSpPr txBox="1">
            <a:spLocks/>
          </p:cNvSpPr>
          <p:nvPr/>
        </p:nvSpPr>
        <p:spPr>
          <a:xfrm>
            <a:off x="3475067" y="454443"/>
            <a:ext cx="4857310" cy="782175"/>
          </a:xfrm>
          <a:prstGeom prst="rect">
            <a:avLst/>
          </a:prstGeom>
        </p:spPr>
        <p:txBody>
          <a:bodyPr anchor="b"/>
          <a:lst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a:lstStyle>
          <a:p>
            <a:pPr marL="0" marR="0" lvl="0" indent="0" algn="ctr" defTabSz="932578"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27" normalizeH="0" baseline="0" noProof="0" dirty="0">
                <a:ln>
                  <a:noFill/>
                </a:ln>
                <a:solidFill>
                  <a:prstClr val="black"/>
                </a:solidFill>
                <a:effectLst/>
                <a:uLnTx/>
                <a:uFillTx/>
                <a:latin typeface="Segoe UI Light"/>
                <a:ea typeface="+mj-ea"/>
                <a:cs typeface="+mj-cs"/>
              </a:rPr>
              <a:t>U-SQL</a:t>
            </a:r>
          </a:p>
        </p:txBody>
      </p:sp>
      <p:sp>
        <p:nvSpPr>
          <p:cNvPr id="14" name="Rectangle 13"/>
          <p:cNvSpPr/>
          <p:nvPr>
            <p:custDataLst>
              <p:tags r:id="rId1"/>
            </p:custDataLst>
          </p:nvPr>
        </p:nvSpPr>
        <p:spPr bwMode="auto">
          <a:xfrm>
            <a:off x="274702" y="3509183"/>
            <a:ext cx="3218105" cy="26398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0950" tIns="93966" rIns="140950" bIns="93966" numCol="1" spcCol="0" rtlCol="0" fromWordArt="0" anchor="t" anchorCtr="0" forceAA="0" compatLnSpc="1">
            <a:prstTxWarp prst="textNoShape">
              <a:avLst/>
            </a:prstTxWarp>
            <a:noAutofit/>
          </a:bodyPr>
          <a:lstStyle/>
          <a:p>
            <a:pPr marL="0" marR="0" lvl="0" indent="0" algn="ctr" defTabSz="777149"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black"/>
                </a:solidFill>
                <a:effectLst/>
                <a:uLnTx/>
                <a:uFillTx/>
                <a:latin typeface="Segoe UI Light"/>
                <a:ea typeface="+mn-ea"/>
                <a:cs typeface="+mn-cs"/>
              </a:rPr>
              <a:t>Declarative </a:t>
            </a:r>
          </a:p>
          <a:p>
            <a:pPr marL="0" marR="0" lvl="0" indent="0" algn="ctr" defTabSz="777149"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black"/>
                </a:solidFill>
                <a:effectLst/>
                <a:uLnTx/>
                <a:uFillTx/>
                <a:latin typeface="Segoe UI Light"/>
                <a:ea typeface="+mn-ea"/>
                <a:cs typeface="+mn-cs"/>
              </a:rPr>
              <a:t>+</a:t>
            </a:r>
          </a:p>
          <a:p>
            <a:pPr marL="0" marR="0" lvl="0" indent="0" algn="ctr" defTabSz="777149"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black"/>
                </a:solidFill>
                <a:effectLst/>
                <a:uLnTx/>
                <a:uFillTx/>
                <a:latin typeface="Segoe UI Light"/>
                <a:ea typeface="+mn-ea"/>
                <a:cs typeface="+mn-cs"/>
              </a:rPr>
              <a:t>Imperative</a:t>
            </a:r>
          </a:p>
        </p:txBody>
      </p:sp>
      <p:sp>
        <p:nvSpPr>
          <p:cNvPr id="6" name="Rectangle 5"/>
          <p:cNvSpPr/>
          <p:nvPr>
            <p:custDataLst>
              <p:tags r:id="rId2"/>
            </p:custDataLst>
          </p:nvPr>
        </p:nvSpPr>
        <p:spPr bwMode="auto">
          <a:xfrm>
            <a:off x="4386728" y="3497262"/>
            <a:ext cx="3218105" cy="26398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0950" tIns="93966" rIns="140950" bIns="93966" numCol="1" spcCol="0" rtlCol="0" fromWordArt="0" anchor="t" anchorCtr="0" forceAA="0" compatLnSpc="1">
            <a:prstTxWarp prst="textNoShape">
              <a:avLst/>
            </a:prstTxWarp>
            <a:noAutofit/>
          </a:bodyPr>
          <a:lstStyle/>
          <a:p>
            <a:pPr marL="0" marR="0" lvl="0" indent="0" algn="ctr" defTabSz="777149"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black"/>
                </a:solidFill>
                <a:effectLst/>
                <a:uLnTx/>
                <a:uFillTx/>
                <a:latin typeface="Segoe UI Light"/>
                <a:ea typeface="+mn-ea"/>
                <a:cs typeface="+mn-cs"/>
              </a:rPr>
              <a:t>Structured </a:t>
            </a:r>
          </a:p>
          <a:p>
            <a:pPr marL="0" marR="0" lvl="0" indent="0" algn="ctr" defTabSz="777149"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black"/>
                </a:solidFill>
                <a:effectLst/>
                <a:uLnTx/>
                <a:uFillTx/>
                <a:latin typeface="Segoe UI Light"/>
                <a:ea typeface="+mn-ea"/>
                <a:cs typeface="+mn-cs"/>
              </a:rPr>
              <a:t>+</a:t>
            </a:r>
          </a:p>
          <a:p>
            <a:pPr marL="0" marR="0" lvl="0" indent="0" algn="ctr" defTabSz="777149"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black"/>
                </a:solidFill>
                <a:effectLst/>
                <a:uLnTx/>
                <a:uFillTx/>
                <a:latin typeface="Segoe UI Light"/>
                <a:ea typeface="+mn-ea"/>
                <a:cs typeface="+mn-cs"/>
              </a:rPr>
              <a:t>Semi-structured</a:t>
            </a:r>
          </a:p>
          <a:p>
            <a:pPr marL="0" marR="0" lvl="0" indent="0" algn="ctr" defTabSz="777149"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black"/>
                </a:solidFill>
                <a:effectLst/>
                <a:uLnTx/>
                <a:uFillTx/>
                <a:latin typeface="Segoe UI Light"/>
                <a:ea typeface="+mn-ea"/>
                <a:cs typeface="+mn-cs"/>
              </a:rPr>
              <a:t>+</a:t>
            </a:r>
          </a:p>
          <a:p>
            <a:pPr marL="0" marR="0" lvl="0" indent="0" algn="ctr" defTabSz="777149"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black"/>
                </a:solidFill>
                <a:effectLst/>
                <a:uLnTx/>
                <a:uFillTx/>
                <a:latin typeface="Segoe UI Light"/>
                <a:ea typeface="+mn-ea"/>
                <a:cs typeface="+mn-cs"/>
              </a:rPr>
              <a:t>Unstructured</a:t>
            </a:r>
          </a:p>
        </p:txBody>
      </p:sp>
      <p:sp>
        <p:nvSpPr>
          <p:cNvPr id="7" name="Rectangle 6"/>
          <p:cNvSpPr/>
          <p:nvPr>
            <p:custDataLst>
              <p:tags r:id="rId3"/>
            </p:custDataLst>
          </p:nvPr>
        </p:nvSpPr>
        <p:spPr bwMode="auto">
          <a:xfrm>
            <a:off x="9035106" y="3497262"/>
            <a:ext cx="3218105" cy="26398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0950" tIns="93966" rIns="140950" bIns="93966" numCol="1" spcCol="0" rtlCol="0" fromWordArt="0" anchor="t" anchorCtr="0" forceAA="0" compatLnSpc="1">
            <a:prstTxWarp prst="textNoShape">
              <a:avLst/>
            </a:prstTxWarp>
            <a:noAutofit/>
          </a:bodyPr>
          <a:lstStyle/>
          <a:p>
            <a:pPr marL="0" marR="0" lvl="0" indent="0" algn="ctr" defTabSz="777149"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black"/>
                </a:solidFill>
                <a:effectLst/>
                <a:uLnTx/>
                <a:uFillTx/>
                <a:latin typeface="Segoe UI Light"/>
                <a:ea typeface="+mn-ea"/>
                <a:cs typeface="+mn-cs"/>
              </a:rPr>
              <a:t>Batch</a:t>
            </a:r>
          </a:p>
          <a:p>
            <a:pPr marL="0" marR="0" lvl="0" indent="0" algn="ctr" defTabSz="777149"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black"/>
                </a:solidFill>
                <a:effectLst/>
                <a:uLnTx/>
                <a:uFillTx/>
                <a:latin typeface="Segoe UI Light"/>
                <a:ea typeface="+mn-ea"/>
                <a:cs typeface="+mn-cs"/>
              </a:rPr>
              <a:t>+</a:t>
            </a:r>
          </a:p>
          <a:p>
            <a:pPr marL="0" marR="0" lvl="0" indent="0" algn="ctr" defTabSz="777149"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black"/>
                </a:solidFill>
                <a:effectLst/>
                <a:uLnTx/>
                <a:uFillTx/>
                <a:latin typeface="Segoe UI Light"/>
                <a:ea typeface="+mn-ea"/>
                <a:cs typeface="+mn-cs"/>
              </a:rPr>
              <a:t>Interactive</a:t>
            </a:r>
          </a:p>
          <a:p>
            <a:pPr marL="0" marR="0" lvl="0" indent="0" algn="ctr" defTabSz="777149"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black"/>
                </a:solidFill>
                <a:effectLst/>
                <a:uLnTx/>
                <a:uFillTx/>
                <a:latin typeface="Segoe UI Light"/>
                <a:ea typeface="+mn-ea"/>
                <a:cs typeface="+mn-cs"/>
              </a:rPr>
              <a:t>+</a:t>
            </a:r>
          </a:p>
          <a:p>
            <a:pPr marL="0" marR="0" lvl="0" indent="0" algn="ctr" defTabSz="777149"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black"/>
                </a:solidFill>
                <a:effectLst/>
                <a:uLnTx/>
                <a:uFillTx/>
                <a:latin typeface="Segoe UI Light"/>
                <a:ea typeface="+mn-ea"/>
                <a:cs typeface="+mn-cs"/>
              </a:rPr>
              <a:t>Streaming</a:t>
            </a:r>
          </a:p>
          <a:p>
            <a:pPr marL="0" marR="0" lvl="0" indent="0" algn="ctr" defTabSz="777149"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black"/>
                </a:solidFill>
                <a:effectLst/>
                <a:uLnTx/>
                <a:uFillTx/>
                <a:latin typeface="Segoe UI Light"/>
                <a:ea typeface="+mn-ea"/>
                <a:cs typeface="+mn-cs"/>
              </a:rPr>
              <a:t>+</a:t>
            </a:r>
          </a:p>
          <a:p>
            <a:pPr marL="0" marR="0" lvl="0" indent="0" algn="ctr" defTabSz="777149"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black"/>
                </a:solidFill>
                <a:effectLst/>
                <a:uLnTx/>
                <a:uFillTx/>
                <a:latin typeface="Segoe UI Light"/>
                <a:ea typeface="+mn-ea"/>
                <a:cs typeface="+mn-cs"/>
              </a:rPr>
              <a:t>Machine Learning</a:t>
            </a:r>
          </a:p>
        </p:txBody>
      </p:sp>
      <p:grpSp>
        <p:nvGrpSpPr>
          <p:cNvPr id="9" name="Group 8"/>
          <p:cNvGrpSpPr/>
          <p:nvPr/>
        </p:nvGrpSpPr>
        <p:grpSpPr>
          <a:xfrm>
            <a:off x="274702" y="2765749"/>
            <a:ext cx="11978509" cy="457195"/>
            <a:chOff x="2652116" y="3407494"/>
            <a:chExt cx="6126412" cy="1102223"/>
          </a:xfrm>
        </p:grpSpPr>
        <p:sp>
          <p:nvSpPr>
            <p:cNvPr id="10" name="Rectangle 9"/>
            <p:cNvSpPr/>
            <p:nvPr>
              <p:custDataLst>
                <p:tags r:id="rId4"/>
              </p:custDataLst>
            </p:nvPr>
          </p:nvSpPr>
          <p:spPr bwMode="auto">
            <a:xfrm>
              <a:off x="2652116" y="3412449"/>
              <a:ext cx="1645901" cy="10972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0950" tIns="93966" rIns="140950" bIns="93966" numCol="1" spcCol="0" rtlCol="0" fromWordArt="0" anchor="ctr" anchorCtr="0" forceAA="0" compatLnSpc="1">
              <a:prstTxWarp prst="textNoShape">
                <a:avLst/>
              </a:prstTxWarp>
              <a:noAutofit/>
            </a:bodyPr>
            <a:lstStyle/>
            <a:p>
              <a:pPr marL="0" marR="0" lvl="0" indent="0" algn="ctr" defTabSz="777149"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rogramming models</a:t>
              </a:r>
            </a:p>
          </p:txBody>
        </p:sp>
        <p:sp>
          <p:nvSpPr>
            <p:cNvPr id="11" name="Rectangle 10"/>
            <p:cNvSpPr/>
            <p:nvPr>
              <p:custDataLst>
                <p:tags r:id="rId5"/>
              </p:custDataLst>
            </p:nvPr>
          </p:nvSpPr>
          <p:spPr bwMode="auto">
            <a:xfrm>
              <a:off x="4755213" y="3407494"/>
              <a:ext cx="1645901" cy="10972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0950" tIns="93966" rIns="140950" bIns="93966" numCol="1" spcCol="0" rtlCol="0" fromWordArt="0" anchor="ctr" anchorCtr="0" forceAA="0" compatLnSpc="1">
              <a:prstTxWarp prst="textNoShape">
                <a:avLst/>
              </a:prstTxWarp>
              <a:noAutofit/>
            </a:bodyPr>
            <a:lstStyle/>
            <a:p>
              <a:pPr marL="0" marR="0" lvl="0" indent="0" algn="ctr" defTabSz="777149"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ata</a:t>
              </a:r>
            </a:p>
          </p:txBody>
        </p:sp>
        <p:sp>
          <p:nvSpPr>
            <p:cNvPr id="12" name="Rectangle 11"/>
            <p:cNvSpPr/>
            <p:nvPr>
              <p:custDataLst>
                <p:tags r:id="rId6"/>
              </p:custDataLst>
            </p:nvPr>
          </p:nvSpPr>
          <p:spPr bwMode="auto">
            <a:xfrm>
              <a:off x="7132627" y="3407494"/>
              <a:ext cx="1645901" cy="10972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0950" tIns="93966" rIns="140950" bIns="93966" numCol="1" spcCol="0" rtlCol="0" fromWordArt="0" anchor="ctr" anchorCtr="0" forceAA="0" compatLnSpc="1">
              <a:prstTxWarp prst="textNoShape">
                <a:avLst/>
              </a:prstTxWarp>
              <a:noAutofit/>
            </a:bodyPr>
            <a:lstStyle/>
            <a:p>
              <a:pPr marL="0" marR="0" lvl="0" indent="0" algn="ctr" defTabSz="777149"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Workloads</a:t>
              </a:r>
            </a:p>
          </p:txBody>
        </p:sp>
      </p:grpSp>
      <p:cxnSp>
        <p:nvCxnSpPr>
          <p:cNvPr id="4" name="Straight Connector 3"/>
          <p:cNvCxnSpPr/>
          <p:nvPr/>
        </p:nvCxnSpPr>
        <p:spPr>
          <a:xfrm>
            <a:off x="549019" y="1636883"/>
            <a:ext cx="1067261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Title 2"/>
          <p:cNvSpPr txBox="1">
            <a:spLocks/>
          </p:cNvSpPr>
          <p:nvPr/>
        </p:nvSpPr>
        <p:spPr>
          <a:xfrm>
            <a:off x="3878174" y="1302726"/>
            <a:ext cx="4014305" cy="608474"/>
          </a:xfrm>
          <a:prstGeom prst="rect">
            <a:avLst/>
          </a:prstGeom>
          <a:solidFill>
            <a:schemeClr val="bg1">
              <a:lumMod val="95000"/>
            </a:schemeClr>
          </a:solidFill>
        </p:spPr>
        <p:txBody>
          <a:bodyPr vert="horz" wrap="square" lIns="146284" tIns="91427" rIns="146284" bIns="91427" rtlCol="0" anchor="t">
            <a:spAutoFit/>
          </a:bodyPr>
          <a:lstStyle>
            <a:lvl1pPr algn="l" defTabSz="931863" rtl="0" fontAlgn="base">
              <a:lnSpc>
                <a:spcPct val="90000"/>
              </a:lnSpc>
              <a:spcBef>
                <a:spcPct val="0"/>
              </a:spcBef>
              <a:spcAft>
                <a:spcPct val="0"/>
              </a:spcAft>
              <a:defRPr lang="en-US" sz="5400" kern="1200" spc="-102" dirty="0">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marL="0" marR="0" lvl="0" indent="0" algn="ctr" defTabSz="791990" rtl="0" eaLnBrk="1" fontAlgn="base" latinLnBrk="0" hangingPunct="1">
              <a:lnSpc>
                <a:spcPct val="90000"/>
              </a:lnSpc>
              <a:spcBef>
                <a:spcPct val="0"/>
              </a:spcBef>
              <a:spcAft>
                <a:spcPct val="0"/>
              </a:spcAft>
              <a:buClrTx/>
              <a:buSzTx/>
              <a:buFontTx/>
              <a:buNone/>
              <a:tabLst/>
              <a:defRPr/>
            </a:pPr>
            <a:r>
              <a:rPr kumimoji="0" lang="en-US" sz="3060" b="0" i="0" u="none" strike="noStrike" kern="1200" cap="none" spc="-87" normalizeH="0" baseline="0" noProof="0" dirty="0">
                <a:ln w="3175">
                  <a:noFill/>
                </a:ln>
                <a:solidFill>
                  <a:prstClr val="black"/>
                </a:solidFill>
                <a:effectLst/>
                <a:uLnTx/>
                <a:uFillTx/>
                <a:latin typeface="Segoe UI Light"/>
                <a:ea typeface="ＭＳ Ｐゴシック" charset="0"/>
                <a:cs typeface="Segoe UI" pitchFamily="34" charset="0"/>
              </a:rPr>
              <a:t>a language that </a:t>
            </a:r>
            <a:r>
              <a:rPr kumimoji="0" lang="en-US" sz="3060" b="0" i="0" u="none" strike="noStrike" kern="1200" cap="none" spc="-87" normalizeH="0" baseline="0" noProof="0" dirty="0">
                <a:ln w="3175">
                  <a:noFill/>
                </a:ln>
                <a:solidFill>
                  <a:prstClr val="black"/>
                </a:solidFill>
                <a:effectLst/>
                <a:uLnTx/>
                <a:uFillTx/>
                <a:latin typeface="Segoe UI"/>
                <a:ea typeface="ＭＳ Ｐゴシック" charset="0"/>
                <a:cs typeface="Segoe UI" pitchFamily="34" charset="0"/>
              </a:rPr>
              <a:t>unifies</a:t>
            </a:r>
          </a:p>
        </p:txBody>
      </p:sp>
    </p:spTree>
    <p:extLst>
      <p:ext uri="{BB962C8B-B14F-4D97-AF65-F5344CB8AC3E}">
        <p14:creationId xmlns:p14="http://schemas.microsoft.com/office/powerpoint/2010/main" val="79964731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3" name="Rectangle 2"/>
          <p:cNvSpPr/>
          <p:nvPr/>
        </p:nvSpPr>
        <p:spPr>
          <a:xfrm>
            <a:off x="174374" y="126126"/>
            <a:ext cx="8000310" cy="6662940"/>
          </a:xfrm>
          <a:prstGeom prst="rect">
            <a:avLst/>
          </a:prstGeom>
        </p:spPr>
        <p:txBody>
          <a:bodyPr wrap="square"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E74B3C"/>
                </a:solidFill>
                <a:effectLst/>
                <a:uLnTx/>
                <a:uFillTx/>
                <a:latin typeface="Consolas" panose="020B0609020204030204" pitchFamily="49" charset="0"/>
                <a:ea typeface="+mn-ea"/>
                <a:cs typeface="Consolas" panose="020B0609020204030204" pitchFamily="49" charset="0"/>
              </a:rPr>
              <a:t>DECLARE</a:t>
            </a:r>
            <a:r>
              <a:rPr kumimoji="0" lang="en-US" sz="1800"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rPr>
              <a:t> @</a:t>
            </a:r>
            <a:r>
              <a:rPr kumimoji="0" lang="en-US" sz="1800" b="0" i="0" u="none" strike="noStrike" kern="0" cap="none" spc="0" normalizeH="0" baseline="0" noProof="0" dirty="0" err="1">
                <a:ln>
                  <a:noFill/>
                </a:ln>
                <a:solidFill>
                  <a:sysClr val="windowText" lastClr="000000"/>
                </a:solidFill>
                <a:effectLst/>
                <a:uLnTx/>
                <a:uFillTx/>
                <a:latin typeface="Consolas" panose="020B0609020204030204" pitchFamily="49" charset="0"/>
                <a:ea typeface="+mn-ea"/>
                <a:cs typeface="Consolas" panose="020B0609020204030204" pitchFamily="49" charset="0"/>
              </a:rPr>
              <a:t>endDate</a:t>
            </a:r>
            <a:r>
              <a:rPr kumimoji="0" lang="en-US" sz="1800"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rPr>
              <a:t> </a:t>
            </a:r>
            <a:r>
              <a:rPr kumimoji="0" lang="en-US" sz="1800" b="0" i="0" u="none" strike="noStrike" kern="0" cap="none" spc="0" normalizeH="0" baseline="0" noProof="0" dirty="0" err="1">
                <a:ln>
                  <a:noFill/>
                </a:ln>
                <a:solidFill>
                  <a:sysClr val="windowText" lastClr="000000"/>
                </a:solidFill>
                <a:effectLst/>
                <a:uLnTx/>
                <a:uFillTx/>
                <a:latin typeface="Consolas" panose="020B0609020204030204" pitchFamily="49" charset="0"/>
                <a:ea typeface="+mn-ea"/>
                <a:cs typeface="Consolas" panose="020B0609020204030204" pitchFamily="49" charset="0"/>
              </a:rPr>
              <a:t>DateTime</a:t>
            </a:r>
            <a:r>
              <a:rPr kumimoji="0" lang="en-US" sz="1800"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rPr>
              <a:t> = </a:t>
            </a:r>
            <a:r>
              <a:rPr kumimoji="0" lang="en-US" sz="1800" b="0" i="0" u="none" strike="noStrike" kern="0" cap="none" spc="0" normalizeH="0" baseline="0" noProof="0" dirty="0" err="1">
                <a:ln>
                  <a:noFill/>
                </a:ln>
                <a:solidFill>
                  <a:sysClr val="windowText" lastClr="000000"/>
                </a:solidFill>
                <a:effectLst/>
                <a:uLnTx/>
                <a:uFillTx/>
                <a:latin typeface="Consolas" panose="020B0609020204030204" pitchFamily="49" charset="0"/>
                <a:ea typeface="+mn-ea"/>
                <a:cs typeface="Consolas" panose="020B0609020204030204" pitchFamily="49" charset="0"/>
              </a:rPr>
              <a:t>DateTime.Now</a:t>
            </a:r>
            <a:r>
              <a:rPr kumimoji="0" lang="en-US" sz="1800"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rPr>
              <a:t>DECLARE @</a:t>
            </a:r>
            <a:r>
              <a:rPr kumimoji="0" lang="en-US" sz="1800" b="0" i="0" u="none" strike="noStrike" kern="0" cap="none" spc="0" normalizeH="0" baseline="0" noProof="0" dirty="0" err="1">
                <a:ln>
                  <a:noFill/>
                </a:ln>
                <a:solidFill>
                  <a:sysClr val="windowText" lastClr="000000"/>
                </a:solidFill>
                <a:effectLst/>
                <a:uLnTx/>
                <a:uFillTx/>
                <a:latin typeface="Consolas" panose="020B0609020204030204" pitchFamily="49" charset="0"/>
                <a:ea typeface="+mn-ea"/>
                <a:cs typeface="Consolas" panose="020B0609020204030204" pitchFamily="49" charset="0"/>
              </a:rPr>
              <a:t>startDate</a:t>
            </a:r>
            <a:r>
              <a:rPr kumimoji="0" lang="en-US" sz="1800"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rPr>
              <a:t> </a:t>
            </a:r>
            <a:r>
              <a:rPr kumimoji="0" lang="en-US" sz="1800" b="0" i="0" u="none" strike="noStrike" kern="0" cap="none" spc="0" normalizeH="0" baseline="0" noProof="0" dirty="0" err="1">
                <a:ln>
                  <a:noFill/>
                </a:ln>
                <a:solidFill>
                  <a:sysClr val="windowText" lastClr="000000"/>
                </a:solidFill>
                <a:effectLst/>
                <a:uLnTx/>
                <a:uFillTx/>
                <a:latin typeface="Consolas" panose="020B0609020204030204" pitchFamily="49" charset="0"/>
                <a:ea typeface="+mn-ea"/>
                <a:cs typeface="Consolas" panose="020B0609020204030204" pitchFamily="49" charset="0"/>
              </a:rPr>
              <a:t>DateTime</a:t>
            </a:r>
            <a:r>
              <a:rPr kumimoji="0" lang="en-US" sz="1800"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rPr>
              <a:t> = @</a:t>
            </a:r>
            <a:r>
              <a:rPr kumimoji="0" lang="en-US" sz="1800" b="0" i="0" u="none" strike="noStrike" kern="0" cap="none" spc="0" normalizeH="0" baseline="0" noProof="0" dirty="0" err="1">
                <a:ln>
                  <a:noFill/>
                </a:ln>
                <a:solidFill>
                  <a:sysClr val="windowText" lastClr="000000"/>
                </a:solidFill>
                <a:effectLst/>
                <a:uLnTx/>
                <a:uFillTx/>
                <a:latin typeface="Consolas" panose="020B0609020204030204" pitchFamily="49" charset="0"/>
                <a:ea typeface="+mn-ea"/>
                <a:cs typeface="Consolas" panose="020B0609020204030204" pitchFamily="49" charset="0"/>
              </a:rPr>
              <a:t>endDate.AddDays</a:t>
            </a:r>
            <a:r>
              <a:rPr kumimoji="0" lang="en-US" sz="1800"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rPr>
              <a:t>(-7);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E74B3C"/>
                </a:solidFill>
                <a:effectLst/>
                <a:uLnTx/>
                <a:uFillTx/>
                <a:latin typeface="Consolas" panose="020B0609020204030204" pitchFamily="49" charset="0"/>
                <a:ea typeface="+mn-ea"/>
                <a:cs typeface="Consolas" panose="020B0609020204030204" pitchFamily="49" charset="0"/>
              </a:rPr>
              <a:t>@orders </a:t>
            </a:r>
            <a:r>
              <a:rPr kumimoji="0" lang="en-US" sz="1800"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rPr>
              <a:t>    </a:t>
            </a:r>
            <a:r>
              <a:rPr kumimoji="0" lang="en-US" sz="1800" b="1" i="0" u="none" strike="noStrike" kern="0" cap="none" spc="0" normalizeH="0" baseline="0" noProof="0" dirty="0">
                <a:ln>
                  <a:noFill/>
                </a:ln>
                <a:solidFill>
                  <a:srgbClr val="E74B3C"/>
                </a:solidFill>
                <a:effectLst/>
                <a:uLnTx/>
                <a:uFillTx/>
                <a:latin typeface="Consolas" panose="020B0609020204030204" pitchFamily="49" charset="0"/>
                <a:ea typeface="+mn-ea"/>
                <a:cs typeface="Consolas" panose="020B0609020204030204" pitchFamily="49" charset="0"/>
              </a:rPr>
              <a:t> EXTRAC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rPr>
              <a:t>         </a:t>
            </a:r>
            <a:r>
              <a:rPr kumimoji="0" lang="en-US" sz="1800" b="0" i="0" u="none" strike="noStrike" kern="0" cap="none" spc="0" normalizeH="0" baseline="0" noProof="0" dirty="0" err="1">
                <a:ln>
                  <a:noFill/>
                </a:ln>
                <a:solidFill>
                  <a:sysClr val="windowText" lastClr="000000"/>
                </a:solidFill>
                <a:effectLst/>
                <a:uLnTx/>
                <a:uFillTx/>
                <a:latin typeface="Consolas" panose="020B0609020204030204" pitchFamily="49" charset="0"/>
                <a:ea typeface="+mn-ea"/>
                <a:cs typeface="Consolas" panose="020B0609020204030204" pitchFamily="49" charset="0"/>
              </a:rPr>
              <a:t>OrderId</a:t>
            </a:r>
            <a:r>
              <a:rPr kumimoji="0" lang="en-US" sz="1800"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rPr>
              <a:t>  </a:t>
            </a:r>
            <a:r>
              <a:rPr kumimoji="0" lang="en-US" sz="1800" b="0" i="0" u="none" strike="noStrike" kern="0" cap="none" spc="0" normalizeH="0" baseline="0" noProof="0" dirty="0" err="1">
                <a:ln>
                  <a:noFill/>
                </a:ln>
                <a:solidFill>
                  <a:sysClr val="windowText" lastClr="000000"/>
                </a:solidFill>
                <a:effectLst/>
                <a:uLnTx/>
                <a:uFillTx/>
                <a:latin typeface="Consolas" panose="020B0609020204030204" pitchFamily="49" charset="0"/>
                <a:ea typeface="+mn-ea"/>
                <a:cs typeface="Consolas" panose="020B0609020204030204" pitchFamily="49" charset="0"/>
              </a:rPr>
              <a:t>int</a:t>
            </a:r>
            <a:r>
              <a:rPr kumimoji="0" lang="en-US" sz="1800"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rPr>
              <a:t>         Customer str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rPr>
              <a:t>         Date     </a:t>
            </a:r>
            <a:r>
              <a:rPr kumimoji="0" lang="en-US" sz="1800" b="0" i="0" u="none" strike="noStrike" kern="0" cap="none" spc="0" normalizeH="0" baseline="0" noProof="0" dirty="0" err="1">
                <a:ln>
                  <a:noFill/>
                </a:ln>
                <a:solidFill>
                  <a:sysClr val="windowText" lastClr="000000"/>
                </a:solidFill>
                <a:effectLst/>
                <a:uLnTx/>
                <a:uFillTx/>
                <a:latin typeface="Consolas" panose="020B0609020204030204" pitchFamily="49" charset="0"/>
                <a:ea typeface="+mn-ea"/>
                <a:cs typeface="Consolas" panose="020B0609020204030204" pitchFamily="49" charset="0"/>
              </a:rPr>
              <a:t>DateTime</a:t>
            </a:r>
            <a:r>
              <a:rPr kumimoji="0" lang="en-US" sz="1800"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rPr>
              <a:t>         Amount   float</a:t>
            </a:r>
            <a:br>
              <a:rPr kumimoji="0" lang="en-US" sz="1800"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rPr>
            </a:br>
            <a:r>
              <a:rPr kumimoji="0" lang="en-US" sz="1800" b="0" i="0" u="none" strike="noStrike" kern="0" cap="none" spc="0" normalizeH="0" baseline="0" noProof="0" dirty="0">
                <a:ln>
                  <a:noFill/>
                </a:ln>
                <a:solidFill>
                  <a:srgbClr val="000000"/>
                </a:solidFill>
                <a:effectLst/>
                <a:uLnTx/>
                <a:uFillTx/>
                <a:latin typeface="Consolas"/>
                <a:ea typeface="+mn-ea"/>
                <a:cs typeface="Consolas" panose="020B0609020204030204" pitchFamily="49" charset="0"/>
              </a:rPr>
              <a:t>    </a:t>
            </a:r>
            <a:r>
              <a:rPr kumimoji="0" lang="en-US" sz="1800"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rPr>
              <a:t> FROM </a:t>
            </a:r>
            <a:r>
              <a:rPr kumimoji="0" lang="en-US" sz="1800" b="1" i="0" u="none" strike="noStrike" kern="0" cap="none" spc="0" normalizeH="0" baseline="0" noProof="0" dirty="0">
                <a:ln>
                  <a:noFill/>
                </a:ln>
                <a:solidFill>
                  <a:srgbClr val="E74B3C"/>
                </a:solidFill>
                <a:effectLst/>
                <a:uLnTx/>
                <a:uFillTx/>
                <a:latin typeface="Consolas" panose="020B0609020204030204" pitchFamily="49" charset="0"/>
                <a:ea typeface="+mn-ea"/>
                <a:cs typeface="Consolas" panose="020B0609020204030204" pitchFamily="49" charset="0"/>
              </a:rPr>
              <a:t>"/input/orders.txt"</a:t>
            </a:r>
            <a:br>
              <a:rPr kumimoji="0" lang="en-US" sz="1800" b="1" i="0" u="none" strike="noStrike" kern="0" cap="none" spc="0" normalizeH="0" baseline="0" noProof="0" dirty="0">
                <a:ln>
                  <a:noFill/>
                </a:ln>
                <a:solidFill>
                  <a:srgbClr val="E74B3C"/>
                </a:solidFill>
                <a:effectLst/>
                <a:uLnTx/>
                <a:uFillTx/>
                <a:latin typeface="Consolas" panose="020B0609020204030204" pitchFamily="49" charset="0"/>
                <a:ea typeface="+mn-ea"/>
                <a:cs typeface="Consolas" panose="020B0609020204030204" pitchFamily="49" charset="0"/>
              </a:rPr>
            </a:br>
            <a:r>
              <a:rPr kumimoji="0" lang="en-US" sz="1800" b="0" i="0" u="none" strike="noStrike" kern="0" cap="none" spc="0" normalizeH="0" baseline="0" noProof="0" dirty="0">
                <a:ln>
                  <a:noFill/>
                </a:ln>
                <a:solidFill>
                  <a:srgbClr val="000000"/>
                </a:solidFill>
                <a:effectLst/>
                <a:uLnTx/>
                <a:uFillTx/>
                <a:latin typeface="Consolas"/>
                <a:ea typeface="+mn-ea"/>
                <a:cs typeface="Consolas" panose="020B0609020204030204" pitchFamily="49" charset="0"/>
              </a:rPr>
              <a:t>    </a:t>
            </a:r>
            <a:r>
              <a:rPr kumimoji="0" lang="en-US" sz="1800"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rPr>
              <a:t> USING </a:t>
            </a:r>
            <a:r>
              <a:rPr kumimoji="0" lang="en-US" sz="1800" b="0" i="0" u="none" strike="noStrike" kern="0" cap="none" spc="0" normalizeH="0" baseline="0" noProof="0" dirty="0" err="1">
                <a:ln>
                  <a:noFill/>
                </a:ln>
                <a:solidFill>
                  <a:sysClr val="windowText" lastClr="000000"/>
                </a:solidFill>
                <a:effectLst/>
                <a:uLnTx/>
                <a:uFillTx/>
                <a:latin typeface="Consolas" panose="020B0609020204030204" pitchFamily="49" charset="0"/>
                <a:ea typeface="+mn-ea"/>
                <a:cs typeface="Consolas" panose="020B0609020204030204" pitchFamily="49" charset="0"/>
              </a:rPr>
              <a:t>Extractors.Tsv</a:t>
            </a:r>
            <a:r>
              <a:rPr kumimoji="0" lang="en-US" sz="1800"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E74B3C"/>
                </a:solidFill>
                <a:effectLst/>
                <a:uLnTx/>
                <a:uFillTx/>
                <a:latin typeface="Consolas" panose="020B0609020204030204" pitchFamily="49" charset="0"/>
                <a:ea typeface="+mn-ea"/>
                <a:cs typeface="Consolas" panose="020B0609020204030204" pitchFamily="49" charset="0"/>
              </a:rPr>
              <a:t>@orders </a:t>
            </a:r>
            <a:r>
              <a:rPr kumimoji="0" lang="en-US" sz="1800"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rPr>
              <a:t>    SELEC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rPr>
              <a:t>    </a:t>
            </a:r>
            <a:r>
              <a:rPr kumimoji="0" lang="en-US" sz="1800" b="1" i="0" u="none" strike="noStrike" kern="0" cap="none" spc="0" normalizeH="0" baseline="0" noProof="0" dirty="0">
                <a:ln>
                  <a:noFill/>
                </a:ln>
                <a:solidFill>
                  <a:srgbClr val="E74B3C"/>
                </a:solidFill>
                <a:effectLst/>
                <a:uLnTx/>
                <a:uFillTx/>
                <a:latin typeface="Consolas" panose="020B0609020204030204" pitchFamily="49" charset="0"/>
                <a:ea typeface="+mn-ea"/>
                <a:cs typeface="Consolas" panose="020B0609020204030204" pitchFamily="49" charset="0"/>
              </a:rPr>
              <a:t>FROM @ord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E74B3C"/>
                </a:solidFill>
                <a:effectLst/>
                <a:uLnTx/>
                <a:uFillTx/>
                <a:latin typeface="Consolas" panose="020B0609020204030204" pitchFamily="49" charset="0"/>
                <a:ea typeface="+mn-ea"/>
                <a:cs typeface="Consolas" panose="020B0609020204030204" pitchFamily="49" charset="0"/>
              </a:rPr>
              <a:t>    WHE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rPr>
              <a:t>        Date &gt;= </a:t>
            </a:r>
            <a:r>
              <a:rPr kumimoji="0" lang="en-US" sz="1800" b="0" i="0" u="none" strike="noStrike" kern="0" cap="none" spc="0" normalizeH="0" baseline="0" noProof="0" dirty="0" err="1">
                <a:ln>
                  <a:noFill/>
                </a:ln>
                <a:solidFill>
                  <a:sysClr val="windowText" lastClr="000000"/>
                </a:solidFill>
                <a:effectLst/>
                <a:uLnTx/>
                <a:uFillTx/>
                <a:latin typeface="Consolas" panose="020B0609020204030204" pitchFamily="49" charset="0"/>
                <a:ea typeface="+mn-ea"/>
                <a:cs typeface="Consolas" panose="020B0609020204030204" pitchFamily="49" charset="0"/>
              </a:rPr>
              <a:t>startDate</a:t>
            </a:r>
            <a:r>
              <a:rPr kumimoji="0" lang="en-US" sz="1800"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rPr>
              <a:t> AND Date &lt;= </a:t>
            </a:r>
            <a:r>
              <a:rPr kumimoji="0" lang="en-US" sz="1800" b="0" i="0" u="none" strike="noStrike" kern="0" cap="none" spc="0" normalizeH="0" baseline="0" noProof="0" dirty="0" err="1">
                <a:ln>
                  <a:noFill/>
                </a:ln>
                <a:solidFill>
                  <a:sysClr val="windowText" lastClr="000000"/>
                </a:solidFill>
                <a:effectLst/>
                <a:uLnTx/>
                <a:uFillTx/>
                <a:latin typeface="Consolas" panose="020B0609020204030204" pitchFamily="49" charset="0"/>
                <a:ea typeface="+mn-ea"/>
                <a:cs typeface="Consolas" panose="020B0609020204030204" pitchFamily="49" charset="0"/>
              </a:rPr>
              <a:t>endDate</a:t>
            </a:r>
            <a:r>
              <a:rPr kumimoji="0" lang="en-US" sz="1800"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rPr>
              <a:t>        AND </a:t>
            </a:r>
            <a:r>
              <a:rPr kumimoji="0" lang="en-US" sz="1800" b="0" i="0" u="none" strike="noStrike" kern="0" cap="none" spc="0" normalizeH="0" baseline="0" noProof="0" dirty="0" err="1">
                <a:ln>
                  <a:noFill/>
                </a:ln>
                <a:solidFill>
                  <a:sysClr val="windowText" lastClr="000000"/>
                </a:solidFill>
                <a:effectLst/>
                <a:uLnTx/>
                <a:uFillTx/>
                <a:latin typeface="Consolas" panose="020B0609020204030204" pitchFamily="49" charset="0"/>
                <a:ea typeface="+mn-ea"/>
                <a:cs typeface="Consolas" panose="020B0609020204030204" pitchFamily="49" charset="0"/>
              </a:rPr>
              <a:t>Customer.Contains</a:t>
            </a:r>
            <a:r>
              <a:rPr kumimoji="0" lang="en-US" sz="1800"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rPr>
              <a:t>(“Contoso”);</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E74B3C"/>
                </a:solidFill>
                <a:effectLst/>
                <a:uLnTx/>
                <a:uFillTx/>
                <a:latin typeface="Consolas" panose="020B0609020204030204" pitchFamily="49" charset="0"/>
                <a:ea typeface="+mn-ea"/>
                <a:cs typeface="Consolas" panose="020B0609020204030204" pitchFamily="49" charset="0"/>
              </a:rPr>
              <a:t>OUTPUT</a:t>
            </a:r>
            <a:r>
              <a:rPr kumimoji="0" lang="en-US" sz="1800"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rPr>
              <a:t> @ord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rPr>
              <a:t>    TO </a:t>
            </a:r>
            <a:r>
              <a:rPr kumimoji="0" lang="en-US" sz="1800" b="1" i="0" u="none" strike="noStrike" kern="0" cap="none" spc="0" normalizeH="0" baseline="0" noProof="0" dirty="0">
                <a:ln>
                  <a:noFill/>
                </a:ln>
                <a:solidFill>
                  <a:srgbClr val="E74B3C"/>
                </a:solidFill>
                <a:effectLst/>
                <a:uLnTx/>
                <a:uFillTx/>
                <a:latin typeface="Consolas" panose="020B0609020204030204" pitchFamily="49" charset="0"/>
                <a:ea typeface="+mn-ea"/>
                <a:cs typeface="Consolas" panose="020B0609020204030204" pitchFamily="49" charset="0"/>
              </a:rPr>
              <a:t>"/output/output.txt"</a:t>
            </a:r>
            <a:br>
              <a:rPr kumimoji="0" lang="en-US" sz="1800" b="1" i="0" u="none" strike="noStrike" kern="0" cap="none" spc="0" normalizeH="0" baseline="0" noProof="0" dirty="0">
                <a:ln>
                  <a:noFill/>
                </a:ln>
                <a:solidFill>
                  <a:srgbClr val="E74B3C"/>
                </a:solidFill>
                <a:effectLst/>
                <a:uLnTx/>
                <a:uFillTx/>
                <a:latin typeface="Consolas" panose="020B0609020204030204" pitchFamily="49" charset="0"/>
                <a:ea typeface="+mn-ea"/>
                <a:cs typeface="Consolas" panose="020B0609020204030204" pitchFamily="49" charset="0"/>
              </a:rPr>
            </a:br>
            <a:r>
              <a:rPr kumimoji="0" lang="en-US" sz="1800" b="0" i="0" u="none" strike="noStrike" kern="0" cap="none" spc="0" normalizeH="0" baseline="0" noProof="0" dirty="0">
                <a:ln>
                  <a:noFill/>
                </a:ln>
                <a:solidFill>
                  <a:srgbClr val="000000"/>
                </a:solidFill>
                <a:effectLst/>
                <a:uLnTx/>
                <a:uFillTx/>
                <a:latin typeface="Consolas"/>
                <a:ea typeface="+mn-ea"/>
                <a:cs typeface="Consolas" panose="020B0609020204030204" pitchFamily="49" charset="0"/>
              </a:rPr>
              <a:t>   </a:t>
            </a:r>
            <a:r>
              <a:rPr kumimoji="0" lang="en-US" sz="1800"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rPr>
              <a:t> USING </a:t>
            </a:r>
            <a:r>
              <a:rPr kumimoji="0" lang="en-US" sz="1800" b="0" i="0" u="none" strike="noStrike" kern="0" cap="none" spc="0" normalizeH="0" baseline="0" noProof="0" dirty="0" err="1">
                <a:ln>
                  <a:noFill/>
                </a:ln>
                <a:solidFill>
                  <a:sysClr val="windowText" lastClr="000000"/>
                </a:solidFill>
                <a:effectLst/>
                <a:uLnTx/>
                <a:uFillTx/>
                <a:latin typeface="Consolas" panose="020B0609020204030204" pitchFamily="49" charset="0"/>
                <a:ea typeface="+mn-ea"/>
                <a:cs typeface="Consolas" panose="020B0609020204030204" pitchFamily="49" charset="0"/>
              </a:rPr>
              <a:t>Outputters.Tsv</a:t>
            </a:r>
            <a:r>
              <a:rPr kumimoji="0" lang="en-US" sz="1800"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onsolas" panose="020B0609020204030204" pitchFamily="49" charset="0"/>
              <a:ea typeface="+mn-ea"/>
              <a:cs typeface="Consolas" panose="020B0609020204030204" pitchFamily="49" charset="0"/>
            </a:endParaRPr>
          </a:p>
        </p:txBody>
      </p:sp>
      <p:sp>
        <p:nvSpPr>
          <p:cNvPr id="10" name="Rectangle 9"/>
          <p:cNvSpPr/>
          <p:nvPr/>
        </p:nvSpPr>
        <p:spPr>
          <a:xfrm>
            <a:off x="8495608" y="0"/>
            <a:ext cx="3940868" cy="699452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black"/>
                </a:solidFill>
                <a:effectLst/>
                <a:uLnTx/>
                <a:uFillTx/>
                <a:latin typeface="Segoe UI"/>
                <a:ea typeface="+mn-ea"/>
                <a:cs typeface="+mn-cs"/>
              </a:rPr>
              <a:t>DECLARE</a:t>
            </a:r>
            <a:r>
              <a:rPr kumimoji="0" lang="en-US" sz="1800" b="0" i="0" u="none" strike="noStrike" kern="0" cap="none" spc="0" normalizeH="0" baseline="0" noProof="0" dirty="0">
                <a:ln>
                  <a:noFill/>
                </a:ln>
                <a:solidFill>
                  <a:prstClr val="black"/>
                </a:solidFill>
                <a:effectLst/>
                <a:uLnTx/>
                <a:uFillTx/>
                <a:latin typeface="Segoe UI"/>
                <a:ea typeface="+mn-ea"/>
                <a:cs typeface="+mn-cs"/>
              </a:rPr>
              <a:t> constant values using C# Express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black"/>
                </a:solidFill>
                <a:effectLst/>
                <a:uLnTx/>
                <a:uFillTx/>
                <a:latin typeface="Segoe UI"/>
                <a:ea typeface="+mn-ea"/>
                <a:cs typeface="+mn-cs"/>
              </a:rPr>
              <a:t>EXTRACT</a:t>
            </a:r>
            <a:r>
              <a:rPr kumimoji="0" lang="en-US" sz="1800" b="0" i="0" u="none" strike="noStrike" kern="0" cap="none" spc="0" normalizeH="0" baseline="0" noProof="0" dirty="0">
                <a:ln>
                  <a:noFill/>
                </a:ln>
                <a:solidFill>
                  <a:prstClr val="black"/>
                </a:solidFill>
                <a:effectLst/>
                <a:uLnTx/>
                <a:uFillTx/>
                <a:latin typeface="Segoe UI"/>
                <a:ea typeface="+mn-ea"/>
                <a:cs typeface="+mn-cs"/>
              </a:rPr>
              <a:t> performs schema on read for files and places results in a </a:t>
            </a:r>
            <a:r>
              <a:rPr kumimoji="0" lang="en-US" sz="1800" b="1" i="0" u="none" strike="noStrike" kern="0" cap="none" spc="0" normalizeH="0" baseline="0" noProof="0" dirty="0">
                <a:ln>
                  <a:noFill/>
                </a:ln>
                <a:solidFill>
                  <a:prstClr val="black"/>
                </a:solidFill>
                <a:effectLst/>
                <a:uLnTx/>
                <a:uFillTx/>
                <a:latin typeface="Segoe UI"/>
                <a:ea typeface="+mn-ea"/>
                <a:cs typeface="+mn-cs"/>
              </a:rPr>
              <a:t>RowSe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a:ea typeface="+mn-ea"/>
                <a:cs typeface="+mn-cs"/>
              </a:rPr>
              <a:t>RowSet refinement with </a:t>
            </a:r>
            <a:r>
              <a:rPr kumimoji="0" lang="en-US" sz="1800" b="1" i="0" u="none" strike="noStrike" kern="0" cap="none" spc="0" normalizeH="0" baseline="0" noProof="0" dirty="0">
                <a:ln>
                  <a:noFill/>
                </a:ln>
                <a:solidFill>
                  <a:prstClr val="black"/>
                </a:solidFill>
                <a:effectLst/>
                <a:uLnTx/>
                <a:uFillTx/>
                <a:latin typeface="Segoe UI"/>
                <a:ea typeface="+mn-ea"/>
                <a:cs typeface="+mn-cs"/>
              </a:rPr>
              <a:t>dataflow programm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black"/>
                </a:solidFill>
                <a:effectLst/>
                <a:uLnTx/>
                <a:uFillTx/>
                <a:latin typeface="Segoe UI"/>
                <a:ea typeface="+mn-ea"/>
                <a:cs typeface="+mn-cs"/>
              </a:rPr>
              <a:t>OUTPUT</a:t>
            </a:r>
            <a:r>
              <a:rPr kumimoji="0" lang="en-US" sz="1800" b="0" i="0" u="none" strike="noStrike" kern="0" cap="none" spc="0" normalizeH="0" baseline="0" noProof="0" dirty="0">
                <a:ln>
                  <a:noFill/>
                </a:ln>
                <a:solidFill>
                  <a:prstClr val="black"/>
                </a:solidFill>
                <a:effectLst/>
                <a:uLnTx/>
                <a:uFillTx/>
                <a:latin typeface="Segoe UI"/>
                <a:ea typeface="+mn-ea"/>
                <a:cs typeface="+mn-cs"/>
              </a:rPr>
              <a:t> for writing files. Built-in handling for CSV &amp; TSV</a:t>
            </a:r>
          </a:p>
        </p:txBody>
      </p:sp>
      <p:sp>
        <p:nvSpPr>
          <p:cNvPr id="4" name="Oval 3"/>
          <p:cNvSpPr/>
          <p:nvPr/>
        </p:nvSpPr>
        <p:spPr>
          <a:xfrm>
            <a:off x="6891866" y="151046"/>
            <a:ext cx="548633" cy="548633"/>
          </a:xfrm>
          <a:prstGeom prst="ellipse">
            <a:avLst/>
          </a:prstGeom>
          <a:solidFill>
            <a:srgbClr val="E74B3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prstClr val="white"/>
                </a:solidFill>
                <a:effectLst/>
                <a:uLnTx/>
                <a:uFillTx/>
                <a:latin typeface="Segoe UI"/>
                <a:ea typeface="+mn-ea"/>
                <a:cs typeface="+mn-cs"/>
              </a:rPr>
              <a:t>1</a:t>
            </a:r>
          </a:p>
        </p:txBody>
      </p:sp>
      <p:sp>
        <p:nvSpPr>
          <p:cNvPr id="5" name="Oval 4"/>
          <p:cNvSpPr/>
          <p:nvPr/>
        </p:nvSpPr>
        <p:spPr>
          <a:xfrm>
            <a:off x="3284255" y="1302726"/>
            <a:ext cx="548633" cy="548633"/>
          </a:xfrm>
          <a:prstGeom prst="ellipse">
            <a:avLst/>
          </a:prstGeom>
          <a:solidFill>
            <a:srgbClr val="E74B3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prstClr val="white"/>
                </a:solidFill>
                <a:effectLst/>
                <a:uLnTx/>
                <a:uFillTx/>
                <a:latin typeface="Segoe UI"/>
                <a:ea typeface="+mn-ea"/>
                <a:cs typeface="+mn-cs"/>
              </a:rPr>
              <a:t>2</a:t>
            </a:r>
          </a:p>
        </p:txBody>
      </p:sp>
      <p:sp>
        <p:nvSpPr>
          <p:cNvPr id="6" name="Oval 5"/>
          <p:cNvSpPr/>
          <p:nvPr/>
        </p:nvSpPr>
        <p:spPr>
          <a:xfrm>
            <a:off x="3460162" y="3567803"/>
            <a:ext cx="548633" cy="548633"/>
          </a:xfrm>
          <a:prstGeom prst="ellipse">
            <a:avLst/>
          </a:prstGeom>
          <a:solidFill>
            <a:srgbClr val="E74B3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prstClr val="white"/>
                </a:solidFill>
                <a:effectLst/>
                <a:uLnTx/>
                <a:uFillTx/>
                <a:latin typeface="Segoe UI"/>
                <a:ea typeface="+mn-ea"/>
                <a:cs typeface="+mn-cs"/>
              </a:rPr>
              <a:t>3</a:t>
            </a:r>
          </a:p>
        </p:txBody>
      </p:sp>
      <p:sp>
        <p:nvSpPr>
          <p:cNvPr id="8" name="Oval 7"/>
          <p:cNvSpPr/>
          <p:nvPr/>
        </p:nvSpPr>
        <p:spPr>
          <a:xfrm>
            <a:off x="3781706" y="5558563"/>
            <a:ext cx="548633" cy="548633"/>
          </a:xfrm>
          <a:prstGeom prst="ellipse">
            <a:avLst/>
          </a:prstGeom>
          <a:solidFill>
            <a:srgbClr val="E74B3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prstClr val="white"/>
                </a:solidFill>
                <a:effectLst/>
                <a:uLnTx/>
                <a:uFillTx/>
                <a:latin typeface="Segoe UI"/>
                <a:ea typeface="+mn-ea"/>
                <a:cs typeface="+mn-cs"/>
              </a:rPr>
              <a:t>4</a:t>
            </a:r>
          </a:p>
        </p:txBody>
      </p:sp>
      <p:sp>
        <p:nvSpPr>
          <p:cNvPr id="9" name="Arrow: Right 8"/>
          <p:cNvSpPr/>
          <p:nvPr/>
        </p:nvSpPr>
        <p:spPr>
          <a:xfrm>
            <a:off x="7315505" y="303656"/>
            <a:ext cx="1097268" cy="243411"/>
          </a:xfrm>
          <a:prstGeom prst="rightArrow">
            <a:avLst/>
          </a:prstGeom>
          <a:solidFill>
            <a:srgbClr val="E74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 name="Arrow: Right 10"/>
          <p:cNvSpPr/>
          <p:nvPr/>
        </p:nvSpPr>
        <p:spPr>
          <a:xfrm>
            <a:off x="3734477" y="1481848"/>
            <a:ext cx="4678295" cy="243411"/>
          </a:xfrm>
          <a:prstGeom prst="rightArrow">
            <a:avLst/>
          </a:prstGeom>
          <a:solidFill>
            <a:srgbClr val="E74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 name="Arrow: Right 11"/>
          <p:cNvSpPr/>
          <p:nvPr/>
        </p:nvSpPr>
        <p:spPr>
          <a:xfrm>
            <a:off x="3820719" y="3720413"/>
            <a:ext cx="4592054" cy="243411"/>
          </a:xfrm>
          <a:prstGeom prst="rightArrow">
            <a:avLst/>
          </a:prstGeom>
          <a:solidFill>
            <a:srgbClr val="E74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 name="Arrow: Right 12"/>
          <p:cNvSpPr/>
          <p:nvPr/>
        </p:nvSpPr>
        <p:spPr>
          <a:xfrm>
            <a:off x="4298018" y="5723846"/>
            <a:ext cx="4114754" cy="243411"/>
          </a:xfrm>
          <a:prstGeom prst="rightArrow">
            <a:avLst/>
          </a:prstGeom>
          <a:solidFill>
            <a:srgbClr val="E74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23090436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8" name="Title 7"/>
          <p:cNvSpPr>
            <a:spLocks noGrp="1"/>
          </p:cNvSpPr>
          <p:nvPr>
            <p:ph type="title"/>
          </p:nvPr>
        </p:nvSpPr>
        <p:spPr/>
        <p:txBody>
          <a:bodyPr>
            <a:normAutofit/>
          </a:bodyPr>
          <a:lstStyle/>
          <a:p>
            <a:pPr algn="ctr"/>
            <a:r>
              <a:rPr lang="en-US" sz="4000" dirty="0"/>
              <a:t>Develop massively parallel programs with simplicity</a:t>
            </a:r>
          </a:p>
        </p:txBody>
      </p:sp>
      <p:sp>
        <p:nvSpPr>
          <p:cNvPr id="3" name="Content Placeholder 2"/>
          <p:cNvSpPr>
            <a:spLocks noGrp="1"/>
          </p:cNvSpPr>
          <p:nvPr>
            <p:ph idx="4294967295"/>
          </p:nvPr>
        </p:nvSpPr>
        <p:spPr>
          <a:xfrm>
            <a:off x="74973" y="4503091"/>
            <a:ext cx="3623052" cy="1645902"/>
          </a:xfrm>
        </p:spPr>
        <p:txBody>
          <a:bodyPr>
            <a:noAutofit/>
          </a:bodyPr>
          <a:lstStyle/>
          <a:p>
            <a:pPr marL="0" indent="0">
              <a:buNone/>
            </a:pPr>
            <a:r>
              <a:rPr lang="en-US" sz="2000" dirty="0">
                <a:latin typeface="+mj-lt"/>
              </a:rPr>
              <a:t>A simple U-SQL script can scale from Gigabytes to Petabytes without learning complex big data programming techniques.</a:t>
            </a:r>
          </a:p>
        </p:txBody>
      </p:sp>
      <p:grpSp>
        <p:nvGrpSpPr>
          <p:cNvPr id="137" name="Group 136"/>
          <p:cNvGrpSpPr/>
          <p:nvPr/>
        </p:nvGrpSpPr>
        <p:grpSpPr>
          <a:xfrm>
            <a:off x="10870486" y="2802994"/>
            <a:ext cx="859749" cy="477470"/>
            <a:chOff x="8425953" y="6111965"/>
            <a:chExt cx="2904171" cy="1612859"/>
          </a:xfrm>
        </p:grpSpPr>
        <p:sp>
          <p:nvSpPr>
            <p:cNvPr id="131" name="Oval 130"/>
            <p:cNvSpPr/>
            <p:nvPr/>
          </p:nvSpPr>
          <p:spPr>
            <a:xfrm>
              <a:off x="8425953" y="6828791"/>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2" name="Oval 131"/>
            <p:cNvSpPr/>
            <p:nvPr/>
          </p:nvSpPr>
          <p:spPr>
            <a:xfrm>
              <a:off x="8761595" y="7007998"/>
              <a:ext cx="179206" cy="179207"/>
            </a:xfrm>
            <a:prstGeom prst="ellipse">
              <a:avLst/>
            </a:prstGeom>
            <a:solidFill>
              <a:srgbClr val="FCBABA"/>
            </a:solidFill>
            <a:ln w="28575">
              <a:solidFill>
                <a:srgbClr val="FF6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3" name="Oval 132"/>
            <p:cNvSpPr/>
            <p:nvPr/>
          </p:nvSpPr>
          <p:spPr>
            <a:xfrm>
              <a:off x="9097237" y="7187204"/>
              <a:ext cx="179206" cy="179207"/>
            </a:xfrm>
            <a:prstGeom prst="ellipse">
              <a:avLst/>
            </a:prstGeom>
            <a:solidFill>
              <a:srgbClr val="FCBABA"/>
            </a:solidFill>
            <a:ln w="28575">
              <a:solidFill>
                <a:srgbClr val="FF6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4" name="Oval 133"/>
            <p:cNvSpPr/>
            <p:nvPr/>
          </p:nvSpPr>
          <p:spPr>
            <a:xfrm>
              <a:off x="9432879" y="7366411"/>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5" name="Oval 134"/>
            <p:cNvSpPr/>
            <p:nvPr/>
          </p:nvSpPr>
          <p:spPr>
            <a:xfrm>
              <a:off x="9768522" y="7545617"/>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6" name="Oval 125"/>
            <p:cNvSpPr/>
            <p:nvPr/>
          </p:nvSpPr>
          <p:spPr>
            <a:xfrm>
              <a:off x="8771552" y="6649585"/>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7" name="Oval 126"/>
            <p:cNvSpPr/>
            <p:nvPr/>
          </p:nvSpPr>
          <p:spPr>
            <a:xfrm>
              <a:off x="9107194" y="6828792"/>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8" name="Oval 127"/>
            <p:cNvSpPr/>
            <p:nvPr/>
          </p:nvSpPr>
          <p:spPr>
            <a:xfrm>
              <a:off x="9442836" y="7007998"/>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9" name="Oval 128"/>
            <p:cNvSpPr/>
            <p:nvPr/>
          </p:nvSpPr>
          <p:spPr>
            <a:xfrm>
              <a:off x="9778478" y="7187205"/>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0" name="Oval 129"/>
            <p:cNvSpPr/>
            <p:nvPr/>
          </p:nvSpPr>
          <p:spPr>
            <a:xfrm>
              <a:off x="10114121" y="7366411"/>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1" name="Oval 120"/>
            <p:cNvSpPr/>
            <p:nvPr/>
          </p:nvSpPr>
          <p:spPr>
            <a:xfrm>
              <a:off x="9117151" y="6470378"/>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2" name="Oval 121"/>
            <p:cNvSpPr/>
            <p:nvPr/>
          </p:nvSpPr>
          <p:spPr>
            <a:xfrm>
              <a:off x="9452793" y="6649585"/>
              <a:ext cx="179206" cy="179207"/>
            </a:xfrm>
            <a:prstGeom prst="ellipse">
              <a:avLst/>
            </a:prstGeom>
            <a:solidFill>
              <a:srgbClr val="FCBABA"/>
            </a:solidFill>
            <a:ln w="28575">
              <a:solidFill>
                <a:srgbClr val="FF6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3" name="Oval 122"/>
            <p:cNvSpPr/>
            <p:nvPr/>
          </p:nvSpPr>
          <p:spPr>
            <a:xfrm>
              <a:off x="9788435" y="6828791"/>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4" name="Oval 123"/>
            <p:cNvSpPr/>
            <p:nvPr/>
          </p:nvSpPr>
          <p:spPr>
            <a:xfrm>
              <a:off x="10124077" y="7007998"/>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5" name="Oval 124"/>
            <p:cNvSpPr/>
            <p:nvPr/>
          </p:nvSpPr>
          <p:spPr>
            <a:xfrm>
              <a:off x="10459720" y="7187204"/>
              <a:ext cx="179206" cy="179207"/>
            </a:xfrm>
            <a:prstGeom prst="ellipse">
              <a:avLst/>
            </a:prstGeom>
            <a:solidFill>
              <a:srgbClr val="FCBABA"/>
            </a:solidFill>
            <a:ln w="28575">
              <a:solidFill>
                <a:srgbClr val="FF6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6" name="Oval 115"/>
            <p:cNvSpPr/>
            <p:nvPr/>
          </p:nvSpPr>
          <p:spPr>
            <a:xfrm>
              <a:off x="9462750" y="6291172"/>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7" name="Oval 116"/>
            <p:cNvSpPr/>
            <p:nvPr/>
          </p:nvSpPr>
          <p:spPr>
            <a:xfrm>
              <a:off x="9798392" y="6470379"/>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8" name="Oval 117"/>
            <p:cNvSpPr/>
            <p:nvPr/>
          </p:nvSpPr>
          <p:spPr>
            <a:xfrm>
              <a:off x="10134034" y="6649585"/>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9" name="Oval 118"/>
            <p:cNvSpPr/>
            <p:nvPr/>
          </p:nvSpPr>
          <p:spPr>
            <a:xfrm>
              <a:off x="10469676" y="6828792"/>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0" name="Oval 119"/>
            <p:cNvSpPr/>
            <p:nvPr/>
          </p:nvSpPr>
          <p:spPr>
            <a:xfrm>
              <a:off x="10805319" y="7007998"/>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1" name="Oval 110"/>
            <p:cNvSpPr/>
            <p:nvPr/>
          </p:nvSpPr>
          <p:spPr>
            <a:xfrm>
              <a:off x="9808349" y="6111965"/>
              <a:ext cx="179206" cy="179207"/>
            </a:xfrm>
            <a:prstGeom prst="ellipse">
              <a:avLst/>
            </a:prstGeom>
            <a:solidFill>
              <a:srgbClr val="FCBABA"/>
            </a:solidFill>
            <a:ln w="28575">
              <a:solidFill>
                <a:srgbClr val="FF6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2" name="Oval 111"/>
            <p:cNvSpPr/>
            <p:nvPr/>
          </p:nvSpPr>
          <p:spPr>
            <a:xfrm>
              <a:off x="10143991" y="6291172"/>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3" name="Oval 112"/>
            <p:cNvSpPr/>
            <p:nvPr/>
          </p:nvSpPr>
          <p:spPr>
            <a:xfrm>
              <a:off x="10479633" y="6470378"/>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4" name="Oval 113"/>
            <p:cNvSpPr/>
            <p:nvPr/>
          </p:nvSpPr>
          <p:spPr>
            <a:xfrm>
              <a:off x="10815275" y="6649585"/>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5" name="Oval 114"/>
            <p:cNvSpPr/>
            <p:nvPr/>
          </p:nvSpPr>
          <p:spPr>
            <a:xfrm>
              <a:off x="11150918" y="6828791"/>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38" name="Group 137"/>
          <p:cNvGrpSpPr/>
          <p:nvPr/>
        </p:nvGrpSpPr>
        <p:grpSpPr>
          <a:xfrm>
            <a:off x="9784358" y="2034238"/>
            <a:ext cx="1512493" cy="839977"/>
            <a:chOff x="8452759" y="4199567"/>
            <a:chExt cx="2904171" cy="1612859"/>
          </a:xfrm>
        </p:grpSpPr>
        <p:sp>
          <p:nvSpPr>
            <p:cNvPr id="2" name="Oval 1"/>
            <p:cNvSpPr/>
            <p:nvPr/>
          </p:nvSpPr>
          <p:spPr>
            <a:xfrm>
              <a:off x="8452759" y="4916393"/>
              <a:ext cx="179206" cy="179207"/>
            </a:xfrm>
            <a:prstGeom prst="ellipse">
              <a:avLst/>
            </a:prstGeom>
            <a:solidFill>
              <a:srgbClr val="FCBABA"/>
            </a:solidFill>
            <a:ln w="28575">
              <a:solidFill>
                <a:srgbClr val="FF6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 name="Oval 6"/>
            <p:cNvSpPr/>
            <p:nvPr/>
          </p:nvSpPr>
          <p:spPr>
            <a:xfrm>
              <a:off x="8788401" y="5095600"/>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Oval 8"/>
            <p:cNvSpPr/>
            <p:nvPr/>
          </p:nvSpPr>
          <p:spPr>
            <a:xfrm>
              <a:off x="9124043" y="5274806"/>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 name="Oval 9"/>
            <p:cNvSpPr/>
            <p:nvPr/>
          </p:nvSpPr>
          <p:spPr>
            <a:xfrm>
              <a:off x="9459685" y="5454013"/>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 name="Oval 10"/>
            <p:cNvSpPr/>
            <p:nvPr/>
          </p:nvSpPr>
          <p:spPr>
            <a:xfrm>
              <a:off x="9795328" y="5633219"/>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 name="Oval 18"/>
            <p:cNvSpPr/>
            <p:nvPr/>
          </p:nvSpPr>
          <p:spPr>
            <a:xfrm>
              <a:off x="8798358" y="4737187"/>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 name="Oval 19"/>
            <p:cNvSpPr/>
            <p:nvPr/>
          </p:nvSpPr>
          <p:spPr>
            <a:xfrm>
              <a:off x="9134000" y="4916394"/>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 name="Oval 20"/>
            <p:cNvSpPr/>
            <p:nvPr/>
          </p:nvSpPr>
          <p:spPr>
            <a:xfrm>
              <a:off x="9469642" y="5095600"/>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 name="Oval 21"/>
            <p:cNvSpPr/>
            <p:nvPr/>
          </p:nvSpPr>
          <p:spPr>
            <a:xfrm>
              <a:off x="9805284" y="5274807"/>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 name="Oval 22"/>
            <p:cNvSpPr/>
            <p:nvPr/>
          </p:nvSpPr>
          <p:spPr>
            <a:xfrm>
              <a:off x="10140927" y="5454013"/>
              <a:ext cx="179206" cy="179207"/>
            </a:xfrm>
            <a:prstGeom prst="ellipse">
              <a:avLst/>
            </a:prstGeom>
            <a:solidFill>
              <a:srgbClr val="FCBABA"/>
            </a:solidFill>
            <a:ln w="28575">
              <a:solidFill>
                <a:srgbClr val="FF6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5" name="Oval 24"/>
            <p:cNvSpPr/>
            <p:nvPr/>
          </p:nvSpPr>
          <p:spPr>
            <a:xfrm>
              <a:off x="9143957" y="4557980"/>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6" name="Oval 25"/>
            <p:cNvSpPr/>
            <p:nvPr/>
          </p:nvSpPr>
          <p:spPr>
            <a:xfrm>
              <a:off x="9479599" y="4737187"/>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7" name="Oval 26"/>
            <p:cNvSpPr/>
            <p:nvPr/>
          </p:nvSpPr>
          <p:spPr>
            <a:xfrm>
              <a:off x="9815241" y="4916393"/>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 name="Oval 27"/>
            <p:cNvSpPr/>
            <p:nvPr/>
          </p:nvSpPr>
          <p:spPr>
            <a:xfrm>
              <a:off x="10150883" y="5095600"/>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 name="Oval 28"/>
            <p:cNvSpPr/>
            <p:nvPr/>
          </p:nvSpPr>
          <p:spPr>
            <a:xfrm>
              <a:off x="10486526" y="5274806"/>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 name="Oval 30"/>
            <p:cNvSpPr/>
            <p:nvPr/>
          </p:nvSpPr>
          <p:spPr>
            <a:xfrm>
              <a:off x="9489556" y="4378774"/>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 name="Oval 31"/>
            <p:cNvSpPr/>
            <p:nvPr/>
          </p:nvSpPr>
          <p:spPr>
            <a:xfrm>
              <a:off x="9825198" y="4557981"/>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3" name="Oval 32"/>
            <p:cNvSpPr/>
            <p:nvPr/>
          </p:nvSpPr>
          <p:spPr>
            <a:xfrm>
              <a:off x="10160840" y="4737187"/>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4" name="Oval 33"/>
            <p:cNvSpPr/>
            <p:nvPr/>
          </p:nvSpPr>
          <p:spPr>
            <a:xfrm>
              <a:off x="10496482" y="4916394"/>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5" name="Oval 34"/>
            <p:cNvSpPr/>
            <p:nvPr/>
          </p:nvSpPr>
          <p:spPr>
            <a:xfrm>
              <a:off x="10832125" y="5095600"/>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7" name="Oval 36"/>
            <p:cNvSpPr/>
            <p:nvPr/>
          </p:nvSpPr>
          <p:spPr>
            <a:xfrm>
              <a:off x="9835155" y="4199567"/>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8" name="Oval 37"/>
            <p:cNvSpPr/>
            <p:nvPr/>
          </p:nvSpPr>
          <p:spPr>
            <a:xfrm>
              <a:off x="10170797" y="4378774"/>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9" name="Oval 38"/>
            <p:cNvSpPr/>
            <p:nvPr/>
          </p:nvSpPr>
          <p:spPr>
            <a:xfrm>
              <a:off x="10506439" y="4557980"/>
              <a:ext cx="179206" cy="179207"/>
            </a:xfrm>
            <a:prstGeom prst="ellipse">
              <a:avLst/>
            </a:prstGeom>
            <a:solidFill>
              <a:srgbClr val="FCBABA"/>
            </a:solidFill>
            <a:ln w="28575">
              <a:solidFill>
                <a:srgbClr val="FF6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 name="Oval 39"/>
            <p:cNvSpPr/>
            <p:nvPr/>
          </p:nvSpPr>
          <p:spPr>
            <a:xfrm>
              <a:off x="10842081" y="4737187"/>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 name="Oval 40"/>
            <p:cNvSpPr/>
            <p:nvPr/>
          </p:nvSpPr>
          <p:spPr>
            <a:xfrm>
              <a:off x="11177724" y="4916393"/>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74" name="Group 73"/>
          <p:cNvGrpSpPr/>
          <p:nvPr/>
        </p:nvGrpSpPr>
        <p:grpSpPr>
          <a:xfrm>
            <a:off x="8510750" y="2701565"/>
            <a:ext cx="2263902" cy="1257280"/>
            <a:chOff x="8356190" y="2399994"/>
            <a:chExt cx="4445505" cy="2468853"/>
          </a:xfrm>
        </p:grpSpPr>
        <p:grpSp>
          <p:nvGrpSpPr>
            <p:cNvPr id="75" name="Group 74"/>
            <p:cNvGrpSpPr/>
            <p:nvPr/>
          </p:nvGrpSpPr>
          <p:grpSpPr>
            <a:xfrm>
              <a:off x="8356190" y="3497262"/>
              <a:ext cx="2329429" cy="1371585"/>
              <a:chOff x="8356190" y="3497262"/>
              <a:chExt cx="2329429" cy="1371585"/>
            </a:xfrm>
          </p:grpSpPr>
          <p:sp>
            <p:nvSpPr>
              <p:cNvPr id="100" name="Oval 99"/>
              <p:cNvSpPr/>
              <p:nvPr/>
            </p:nvSpPr>
            <p:spPr>
              <a:xfrm>
                <a:off x="8356190" y="3497262"/>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1" name="Oval 100"/>
              <p:cNvSpPr/>
              <p:nvPr/>
            </p:nvSpPr>
            <p:spPr>
              <a:xfrm>
                <a:off x="8869968" y="3771579"/>
                <a:ext cx="274317" cy="274317"/>
              </a:xfrm>
              <a:prstGeom prst="ellipse">
                <a:avLst/>
              </a:prstGeom>
              <a:solidFill>
                <a:srgbClr val="FCBABA"/>
              </a:solidFill>
              <a:ln w="28575">
                <a:solidFill>
                  <a:srgbClr val="FF6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02" name="Oval 101"/>
              <p:cNvSpPr/>
              <p:nvPr/>
            </p:nvSpPr>
            <p:spPr>
              <a:xfrm>
                <a:off x="9383746" y="4045896"/>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3" name="Oval 102"/>
              <p:cNvSpPr/>
              <p:nvPr/>
            </p:nvSpPr>
            <p:spPr>
              <a:xfrm>
                <a:off x="9897524" y="4320213"/>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4" name="Oval 103"/>
              <p:cNvSpPr/>
              <p:nvPr/>
            </p:nvSpPr>
            <p:spPr>
              <a:xfrm>
                <a:off x="10411302" y="4594530"/>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76" name="Group 75"/>
            <p:cNvGrpSpPr/>
            <p:nvPr/>
          </p:nvGrpSpPr>
          <p:grpSpPr>
            <a:xfrm>
              <a:off x="8885209" y="3222945"/>
              <a:ext cx="2329429" cy="1371585"/>
              <a:chOff x="8356190" y="3497262"/>
              <a:chExt cx="2329429" cy="1371585"/>
            </a:xfrm>
          </p:grpSpPr>
          <p:sp>
            <p:nvSpPr>
              <p:cNvPr id="95" name="Oval 94"/>
              <p:cNvSpPr/>
              <p:nvPr/>
            </p:nvSpPr>
            <p:spPr>
              <a:xfrm>
                <a:off x="8356190" y="3497262"/>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6" name="Oval 95"/>
              <p:cNvSpPr/>
              <p:nvPr/>
            </p:nvSpPr>
            <p:spPr>
              <a:xfrm>
                <a:off x="8869968" y="3771579"/>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7" name="Oval 96"/>
              <p:cNvSpPr/>
              <p:nvPr/>
            </p:nvSpPr>
            <p:spPr>
              <a:xfrm>
                <a:off x="9383746" y="4045896"/>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8" name="Oval 97"/>
              <p:cNvSpPr/>
              <p:nvPr/>
            </p:nvSpPr>
            <p:spPr>
              <a:xfrm>
                <a:off x="9897524" y="4320213"/>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9" name="Oval 98"/>
              <p:cNvSpPr/>
              <p:nvPr/>
            </p:nvSpPr>
            <p:spPr>
              <a:xfrm>
                <a:off x="10411302" y="4594530"/>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77" name="Group 76"/>
            <p:cNvGrpSpPr/>
            <p:nvPr/>
          </p:nvGrpSpPr>
          <p:grpSpPr>
            <a:xfrm>
              <a:off x="9414228" y="2948628"/>
              <a:ext cx="2329429" cy="1371585"/>
              <a:chOff x="8356190" y="3497262"/>
              <a:chExt cx="2329429" cy="1371585"/>
            </a:xfrm>
          </p:grpSpPr>
          <p:sp>
            <p:nvSpPr>
              <p:cNvPr id="90" name="Oval 89"/>
              <p:cNvSpPr/>
              <p:nvPr/>
            </p:nvSpPr>
            <p:spPr>
              <a:xfrm>
                <a:off x="8356190" y="3497262"/>
                <a:ext cx="274317" cy="274317"/>
              </a:xfrm>
              <a:prstGeom prst="ellipse">
                <a:avLst/>
              </a:prstGeom>
              <a:solidFill>
                <a:srgbClr val="FCBABA"/>
              </a:solidFill>
              <a:ln w="28575">
                <a:solidFill>
                  <a:srgbClr val="FF6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1" name="Oval 90"/>
              <p:cNvSpPr/>
              <p:nvPr/>
            </p:nvSpPr>
            <p:spPr>
              <a:xfrm>
                <a:off x="8869968" y="3771579"/>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2" name="Oval 91"/>
              <p:cNvSpPr/>
              <p:nvPr/>
            </p:nvSpPr>
            <p:spPr>
              <a:xfrm>
                <a:off x="9383746" y="4045896"/>
                <a:ext cx="274317" cy="274317"/>
              </a:xfrm>
              <a:prstGeom prst="ellipse">
                <a:avLst/>
              </a:prstGeom>
              <a:solidFill>
                <a:srgbClr val="FCBABA"/>
              </a:solidFill>
              <a:ln w="28575">
                <a:solidFill>
                  <a:srgbClr val="FF6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3" name="Oval 92"/>
              <p:cNvSpPr/>
              <p:nvPr/>
            </p:nvSpPr>
            <p:spPr>
              <a:xfrm>
                <a:off x="9897524" y="4320213"/>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4" name="Oval 93"/>
              <p:cNvSpPr/>
              <p:nvPr/>
            </p:nvSpPr>
            <p:spPr>
              <a:xfrm>
                <a:off x="10411302" y="4594530"/>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78" name="Group 77"/>
            <p:cNvGrpSpPr/>
            <p:nvPr/>
          </p:nvGrpSpPr>
          <p:grpSpPr>
            <a:xfrm>
              <a:off x="9943247" y="2674311"/>
              <a:ext cx="2329429" cy="1371585"/>
              <a:chOff x="8356190" y="3497262"/>
              <a:chExt cx="2329429" cy="1371585"/>
            </a:xfrm>
          </p:grpSpPr>
          <p:sp>
            <p:nvSpPr>
              <p:cNvPr id="85" name="Oval 84"/>
              <p:cNvSpPr/>
              <p:nvPr/>
            </p:nvSpPr>
            <p:spPr>
              <a:xfrm>
                <a:off x="8356190" y="3497262"/>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6" name="Oval 85"/>
              <p:cNvSpPr/>
              <p:nvPr/>
            </p:nvSpPr>
            <p:spPr>
              <a:xfrm>
                <a:off x="8869968" y="3771579"/>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7" name="Oval 86"/>
              <p:cNvSpPr/>
              <p:nvPr/>
            </p:nvSpPr>
            <p:spPr>
              <a:xfrm>
                <a:off x="9383746" y="4045896"/>
                <a:ext cx="274317" cy="274317"/>
              </a:xfrm>
              <a:prstGeom prst="ellipse">
                <a:avLst/>
              </a:prstGeom>
              <a:solidFill>
                <a:srgbClr val="FCBABA"/>
              </a:solidFill>
              <a:ln w="28575">
                <a:solidFill>
                  <a:srgbClr val="FF6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8" name="Oval 87"/>
              <p:cNvSpPr/>
              <p:nvPr/>
            </p:nvSpPr>
            <p:spPr>
              <a:xfrm>
                <a:off x="9897524" y="4320213"/>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9" name="Oval 88"/>
              <p:cNvSpPr/>
              <p:nvPr/>
            </p:nvSpPr>
            <p:spPr>
              <a:xfrm>
                <a:off x="10411302" y="4594530"/>
                <a:ext cx="274317" cy="274317"/>
              </a:xfrm>
              <a:prstGeom prst="ellipse">
                <a:avLst/>
              </a:prstGeom>
              <a:solidFill>
                <a:srgbClr val="FCBABA"/>
              </a:solidFill>
              <a:ln w="28575">
                <a:solidFill>
                  <a:srgbClr val="FF6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79" name="Group 78"/>
            <p:cNvGrpSpPr/>
            <p:nvPr/>
          </p:nvGrpSpPr>
          <p:grpSpPr>
            <a:xfrm>
              <a:off x="10472266" y="2399994"/>
              <a:ext cx="2329429" cy="1371585"/>
              <a:chOff x="8356190" y="3497262"/>
              <a:chExt cx="2329429" cy="1371585"/>
            </a:xfrm>
          </p:grpSpPr>
          <p:sp>
            <p:nvSpPr>
              <p:cNvPr id="80" name="Oval 79"/>
              <p:cNvSpPr/>
              <p:nvPr/>
            </p:nvSpPr>
            <p:spPr>
              <a:xfrm>
                <a:off x="8356190" y="3497262"/>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1" name="Oval 80"/>
              <p:cNvSpPr/>
              <p:nvPr/>
            </p:nvSpPr>
            <p:spPr>
              <a:xfrm>
                <a:off x="8869968" y="3771579"/>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2" name="Oval 81"/>
              <p:cNvSpPr/>
              <p:nvPr/>
            </p:nvSpPr>
            <p:spPr>
              <a:xfrm>
                <a:off x="9383746" y="4045896"/>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3" name="Oval 82"/>
              <p:cNvSpPr/>
              <p:nvPr/>
            </p:nvSpPr>
            <p:spPr>
              <a:xfrm>
                <a:off x="9897524" y="4320213"/>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4" name="Oval 83"/>
              <p:cNvSpPr/>
              <p:nvPr/>
            </p:nvSpPr>
            <p:spPr>
              <a:xfrm>
                <a:off x="10411302" y="4594530"/>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sp>
        <p:nvSpPr>
          <p:cNvPr id="144" name="Content Placeholder 2"/>
          <p:cNvSpPr txBox="1">
            <a:spLocks/>
          </p:cNvSpPr>
          <p:nvPr/>
        </p:nvSpPr>
        <p:spPr>
          <a:xfrm>
            <a:off x="3972175" y="4503091"/>
            <a:ext cx="3983403" cy="1645902"/>
          </a:xfrm>
          <a:prstGeom prst="rect">
            <a:avLst/>
          </a:prstGeom>
        </p:spPr>
        <p:txBody>
          <a:bodyPr vert="horz" lIns="91440" tIns="45720" rIns="91440" bIns="45720" rtlCol="0">
            <a:noAutofit/>
          </a:bodyPr>
          <a:lstStyle>
            <a:lvl1pPr marL="233145" indent="-233145" algn="l" defTabSz="932578"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34" indent="-233145" algn="l" defTabSz="932578"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23" indent="-233145" algn="l" defTabSz="932578"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12"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01"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590"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879"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169"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458"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0" marR="0" lvl="0" indent="0" algn="l" defTabSz="932578" rtl="0" eaLnBrk="1" fontAlgn="auto" latinLnBrk="0" hangingPunct="1">
              <a:lnSpc>
                <a:spcPct val="90000"/>
              </a:lnSpc>
              <a:spcBef>
                <a:spcPts val="102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Segoe UI Light"/>
                <a:ea typeface="+mn-ea"/>
                <a:cs typeface="+mn-cs"/>
              </a:rPr>
              <a:t>U-SQL automatically generates a scaled out and optimized execution plan to handle any amount of data.</a:t>
            </a:r>
          </a:p>
        </p:txBody>
      </p:sp>
      <p:sp>
        <p:nvSpPr>
          <p:cNvPr id="145" name="Content Placeholder 2"/>
          <p:cNvSpPr txBox="1">
            <a:spLocks/>
          </p:cNvSpPr>
          <p:nvPr/>
        </p:nvSpPr>
        <p:spPr>
          <a:xfrm>
            <a:off x="8395812" y="4503091"/>
            <a:ext cx="3623052" cy="1645902"/>
          </a:xfrm>
          <a:prstGeom prst="rect">
            <a:avLst/>
          </a:prstGeom>
        </p:spPr>
        <p:txBody>
          <a:bodyPr vert="horz" lIns="91440" tIns="45720" rIns="91440" bIns="45720" rtlCol="0">
            <a:noAutofit/>
          </a:bodyPr>
          <a:lstStyle>
            <a:lvl1pPr marL="233145" indent="-233145" algn="l" defTabSz="932578"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34" indent="-233145" algn="l" defTabSz="932578"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23" indent="-233145" algn="l" defTabSz="932578"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12"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01"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590"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879"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169"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458"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0" marR="0" lvl="0" indent="0" algn="l" defTabSz="932578" rtl="0" eaLnBrk="1" fontAlgn="auto" latinLnBrk="0" hangingPunct="1">
              <a:lnSpc>
                <a:spcPct val="90000"/>
              </a:lnSpc>
              <a:spcBef>
                <a:spcPts val="102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Segoe UI Light"/>
                <a:ea typeface="+mn-ea"/>
                <a:cs typeface="+mn-cs"/>
              </a:rPr>
              <a:t>Execution nodes immediately rapidly allocated to run the program. </a:t>
            </a:r>
          </a:p>
          <a:p>
            <a:pPr marL="0" marR="0" lvl="0" indent="0" algn="l" defTabSz="932578" rtl="0" eaLnBrk="1" fontAlgn="auto" latinLnBrk="0" hangingPunct="1">
              <a:lnSpc>
                <a:spcPct val="90000"/>
              </a:lnSpc>
              <a:spcBef>
                <a:spcPts val="102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Segoe UI Light"/>
                <a:ea typeface="+mn-ea"/>
                <a:cs typeface="+mn-cs"/>
              </a:rPr>
              <a:t>Error handling, network issues, and runtime optimization are handled automatically. </a:t>
            </a:r>
          </a:p>
        </p:txBody>
      </p:sp>
      <p:sp>
        <p:nvSpPr>
          <p:cNvPr id="147" name="Isosceles Triangle 146"/>
          <p:cNvSpPr/>
          <p:nvPr/>
        </p:nvSpPr>
        <p:spPr>
          <a:xfrm rot="5400000">
            <a:off x="3900849" y="2718745"/>
            <a:ext cx="548634" cy="611460"/>
          </a:xfrm>
          <a:prstGeom prst="triangle">
            <a:avLst/>
          </a:prstGeom>
          <a:solidFill>
            <a:srgbClr val="F034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8" name="Isosceles Triangle 147"/>
          <p:cNvSpPr/>
          <p:nvPr/>
        </p:nvSpPr>
        <p:spPr>
          <a:xfrm rot="5400000">
            <a:off x="7438357" y="2682299"/>
            <a:ext cx="548634" cy="611460"/>
          </a:xfrm>
          <a:prstGeom prst="triangle">
            <a:avLst/>
          </a:prstGeom>
          <a:solidFill>
            <a:srgbClr val="F034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 name="Rectangle 4"/>
          <p:cNvSpPr/>
          <p:nvPr/>
        </p:nvSpPr>
        <p:spPr>
          <a:xfrm>
            <a:off x="194320" y="2191141"/>
            <a:ext cx="3161998" cy="1780595"/>
          </a:xfrm>
          <a:prstGeom prst="rect">
            <a:avLst/>
          </a:prstGeom>
          <a:solidFill>
            <a:schemeClr val="tx1">
              <a:lumMod val="85000"/>
              <a:lumOff val="1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Consolas" panose="020B0609020204030204" pitchFamily="49" charset="0"/>
                <a:ea typeface="+mn-ea"/>
                <a:cs typeface="+mn-cs"/>
              </a:rPr>
              <a:t>@</a:t>
            </a:r>
            <a:r>
              <a:rPr kumimoji="0" lang="en-US" sz="700" b="0" i="0" u="none" strike="noStrike" kern="1200" cap="none" spc="0" normalizeH="0" baseline="0" noProof="0" dirty="0" err="1">
                <a:ln>
                  <a:noFill/>
                </a:ln>
                <a:solidFill>
                  <a:prstClr val="white"/>
                </a:solidFill>
                <a:effectLst/>
                <a:uLnTx/>
                <a:uFillTx/>
                <a:latin typeface="Consolas" panose="020B0609020204030204" pitchFamily="49" charset="0"/>
                <a:ea typeface="+mn-ea"/>
                <a:cs typeface="+mn-cs"/>
              </a:rPr>
              <a:t>searchlog</a:t>
            </a:r>
            <a:r>
              <a:rPr kumimoji="0" lang="en-US" sz="700" b="0" i="0" u="none" strike="noStrike" kern="1200" cap="none" spc="0" normalizeH="0" baseline="0" noProof="0" dirty="0">
                <a:ln>
                  <a:noFill/>
                </a:ln>
                <a:solidFill>
                  <a:prstClr val="white"/>
                </a:solidFill>
                <a:effectLst/>
                <a:uLnTx/>
                <a:uFillTx/>
                <a:latin typeface="Consolas" panose="020B0609020204030204" pitchFamily="49" charset="0"/>
                <a:ea typeface="+mn-ea"/>
                <a:cs typeface="+mn-cs"/>
              </a:rPr>
              <a:t> = </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Consolas" panose="020B0609020204030204" pitchFamily="49" charset="0"/>
                <a:ea typeface="+mn-ea"/>
                <a:cs typeface="+mn-cs"/>
              </a:rPr>
              <a:t>    EXTRACT </a:t>
            </a:r>
            <a:r>
              <a:rPr kumimoji="0" lang="en-US" sz="700" b="0" i="0" u="none" strike="noStrike" kern="1200" cap="none" spc="0" normalizeH="0" baseline="0" noProof="0" dirty="0" err="1">
                <a:ln>
                  <a:noFill/>
                </a:ln>
                <a:solidFill>
                  <a:prstClr val="white"/>
                </a:solidFill>
                <a:effectLst/>
                <a:uLnTx/>
                <a:uFillTx/>
                <a:latin typeface="Consolas" panose="020B0609020204030204" pitchFamily="49" charset="0"/>
                <a:ea typeface="+mn-ea"/>
                <a:cs typeface="+mn-cs"/>
              </a:rPr>
              <a:t>UserId</a:t>
            </a:r>
            <a:r>
              <a:rPr kumimoji="0" lang="en-US" sz="700" b="0" i="0" u="none" strike="noStrike" kern="1200" cap="none" spc="0" normalizeH="0" baseline="0" noProof="0" dirty="0">
                <a:ln>
                  <a:noFill/>
                </a:ln>
                <a:solidFill>
                  <a:prstClr val="white"/>
                </a:solidFill>
                <a:effectLst/>
                <a:uLnTx/>
                <a:uFillTx/>
                <a:latin typeface="Consolas" panose="020B0609020204030204" pitchFamily="49" charset="0"/>
                <a:ea typeface="+mn-ea"/>
                <a:cs typeface="+mn-cs"/>
              </a:rPr>
              <a:t>          </a:t>
            </a:r>
            <a:r>
              <a:rPr kumimoji="0" lang="en-US" sz="700" b="0" i="0" u="none" strike="noStrike" kern="1200" cap="none" spc="0" normalizeH="0" baseline="0" noProof="0" dirty="0" err="1">
                <a:ln>
                  <a:noFill/>
                </a:ln>
                <a:solidFill>
                  <a:prstClr val="white"/>
                </a:solidFill>
                <a:effectLst/>
                <a:uLnTx/>
                <a:uFillTx/>
                <a:latin typeface="Consolas" panose="020B0609020204030204" pitchFamily="49" charset="0"/>
                <a:ea typeface="+mn-ea"/>
                <a:cs typeface="+mn-cs"/>
              </a:rPr>
              <a:t>int</a:t>
            </a:r>
            <a:r>
              <a:rPr kumimoji="0" lang="en-US" sz="700" b="0" i="0" u="none" strike="noStrike" kern="1200" cap="none" spc="0" normalizeH="0" baseline="0" noProof="0" dirty="0">
                <a:ln>
                  <a:noFill/>
                </a:ln>
                <a:solidFill>
                  <a:prstClr val="white"/>
                </a:solidFill>
                <a:effectLst/>
                <a:uLnTx/>
                <a:uFillTx/>
                <a:latin typeface="Consolas" panose="020B0609020204030204" pitchFamily="49" charset="0"/>
                <a:ea typeface="+mn-ea"/>
                <a:cs typeface="+mn-cs"/>
              </a:rPr>
              <a:t>, </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Consolas" panose="020B0609020204030204" pitchFamily="49" charset="0"/>
                <a:ea typeface="+mn-ea"/>
                <a:cs typeface="+mn-cs"/>
              </a:rPr>
              <a:t>            Start           </a:t>
            </a:r>
            <a:r>
              <a:rPr kumimoji="0" lang="en-US" sz="700" b="0" i="0" u="none" strike="noStrike" kern="1200" cap="none" spc="0" normalizeH="0" baseline="0" noProof="0" dirty="0" err="1">
                <a:ln>
                  <a:noFill/>
                </a:ln>
                <a:solidFill>
                  <a:prstClr val="white"/>
                </a:solidFill>
                <a:effectLst/>
                <a:uLnTx/>
                <a:uFillTx/>
                <a:latin typeface="Consolas" panose="020B0609020204030204" pitchFamily="49" charset="0"/>
                <a:ea typeface="+mn-ea"/>
                <a:cs typeface="+mn-cs"/>
              </a:rPr>
              <a:t>DateTime</a:t>
            </a:r>
            <a:r>
              <a:rPr kumimoji="0" lang="en-US" sz="700" b="0" i="0" u="none" strike="noStrike" kern="1200" cap="none" spc="0" normalizeH="0" baseline="0" noProof="0" dirty="0">
                <a:ln>
                  <a:noFill/>
                </a:ln>
                <a:solidFill>
                  <a:prstClr val="white"/>
                </a:solidFill>
                <a:effectLst/>
                <a:uLnTx/>
                <a:uFillTx/>
                <a:latin typeface="Consolas" panose="020B0609020204030204" pitchFamily="49" charset="0"/>
                <a:ea typeface="+mn-ea"/>
                <a:cs typeface="+mn-cs"/>
              </a:rPr>
              <a:t>, </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Consolas" panose="020B0609020204030204" pitchFamily="49" charset="0"/>
                <a:ea typeface="+mn-ea"/>
                <a:cs typeface="+mn-cs"/>
              </a:rPr>
              <a:t>            Region          string, </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Consolas" panose="020B0609020204030204" pitchFamily="49" charset="0"/>
                <a:ea typeface="+mn-ea"/>
                <a:cs typeface="+mn-cs"/>
              </a:rPr>
              <a:t>            Query           string, </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Consolas" panose="020B0609020204030204" pitchFamily="49" charset="0"/>
                <a:ea typeface="+mn-ea"/>
                <a:cs typeface="+mn-cs"/>
              </a:rPr>
              <a:t>            Duration        </a:t>
            </a:r>
            <a:r>
              <a:rPr kumimoji="0" lang="en-US" sz="700" b="0" i="0" u="none" strike="noStrike" kern="1200" cap="none" spc="0" normalizeH="0" baseline="0" noProof="0" dirty="0" err="1">
                <a:ln>
                  <a:noFill/>
                </a:ln>
                <a:solidFill>
                  <a:prstClr val="white"/>
                </a:solidFill>
                <a:effectLst/>
                <a:uLnTx/>
                <a:uFillTx/>
                <a:latin typeface="Consolas" panose="020B0609020204030204" pitchFamily="49" charset="0"/>
                <a:ea typeface="+mn-ea"/>
                <a:cs typeface="+mn-cs"/>
              </a:rPr>
              <a:t>int</a:t>
            </a:r>
            <a:r>
              <a:rPr kumimoji="0" lang="en-US" sz="700" b="0" i="0" u="none" strike="noStrike" kern="1200" cap="none" spc="0" normalizeH="0" baseline="0" noProof="0" dirty="0">
                <a:ln>
                  <a:noFill/>
                </a:ln>
                <a:solidFill>
                  <a:prstClr val="white"/>
                </a:solidFill>
                <a:effectLst/>
                <a:uLnTx/>
                <a:uFillTx/>
                <a:latin typeface="Consolas" panose="020B0609020204030204" pitchFamily="49" charset="0"/>
                <a:ea typeface="+mn-ea"/>
                <a:cs typeface="+mn-cs"/>
              </a:rPr>
              <a:t>, </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Consolas" panose="020B0609020204030204" pitchFamily="49" charset="0"/>
                <a:ea typeface="+mn-ea"/>
                <a:cs typeface="+mn-cs"/>
              </a:rPr>
              <a:t>            </a:t>
            </a:r>
            <a:r>
              <a:rPr kumimoji="0" lang="en-US" sz="700" b="0" i="0" u="none" strike="noStrike" kern="1200" cap="none" spc="0" normalizeH="0" baseline="0" noProof="0" dirty="0" err="1">
                <a:ln>
                  <a:noFill/>
                </a:ln>
                <a:solidFill>
                  <a:prstClr val="white"/>
                </a:solidFill>
                <a:effectLst/>
                <a:uLnTx/>
                <a:uFillTx/>
                <a:latin typeface="Consolas" panose="020B0609020204030204" pitchFamily="49" charset="0"/>
                <a:ea typeface="+mn-ea"/>
                <a:cs typeface="+mn-cs"/>
              </a:rPr>
              <a:t>Urls</a:t>
            </a:r>
            <a:r>
              <a:rPr kumimoji="0" lang="en-US" sz="700" b="0" i="0" u="none" strike="noStrike" kern="1200" cap="none" spc="0" normalizeH="0" baseline="0" noProof="0" dirty="0">
                <a:ln>
                  <a:noFill/>
                </a:ln>
                <a:solidFill>
                  <a:prstClr val="white"/>
                </a:solidFill>
                <a:effectLst/>
                <a:uLnTx/>
                <a:uFillTx/>
                <a:latin typeface="Consolas" panose="020B0609020204030204" pitchFamily="49" charset="0"/>
                <a:ea typeface="+mn-ea"/>
                <a:cs typeface="+mn-cs"/>
              </a:rPr>
              <a:t>            string, </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Consolas" panose="020B0609020204030204" pitchFamily="49" charset="0"/>
                <a:ea typeface="+mn-ea"/>
                <a:cs typeface="+mn-cs"/>
              </a:rPr>
              <a:t>            </a:t>
            </a:r>
            <a:r>
              <a:rPr kumimoji="0" lang="en-US" sz="700" b="0" i="0" u="none" strike="noStrike" kern="1200" cap="none" spc="0" normalizeH="0" baseline="0" noProof="0" dirty="0" err="1">
                <a:ln>
                  <a:noFill/>
                </a:ln>
                <a:solidFill>
                  <a:prstClr val="white"/>
                </a:solidFill>
                <a:effectLst/>
                <a:uLnTx/>
                <a:uFillTx/>
                <a:latin typeface="Consolas" panose="020B0609020204030204" pitchFamily="49" charset="0"/>
                <a:ea typeface="+mn-ea"/>
                <a:cs typeface="+mn-cs"/>
              </a:rPr>
              <a:t>ClickedUrls</a:t>
            </a:r>
            <a:r>
              <a:rPr kumimoji="0" lang="en-US" sz="700" b="0" i="0" u="none" strike="noStrike" kern="1200" cap="none" spc="0" normalizeH="0" baseline="0" noProof="0" dirty="0">
                <a:ln>
                  <a:noFill/>
                </a:ln>
                <a:solidFill>
                  <a:prstClr val="white"/>
                </a:solidFill>
                <a:effectLst/>
                <a:uLnTx/>
                <a:uFillTx/>
                <a:latin typeface="Consolas" panose="020B0609020204030204" pitchFamily="49" charset="0"/>
                <a:ea typeface="+mn-ea"/>
                <a:cs typeface="+mn-cs"/>
              </a:rPr>
              <a:t>     string</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Consolas" panose="020B0609020204030204" pitchFamily="49" charset="0"/>
                <a:ea typeface="+mn-ea"/>
                <a:cs typeface="+mn-cs"/>
              </a:rPr>
              <a:t>    FROM @"/Samples/Data/</a:t>
            </a:r>
            <a:r>
              <a:rPr kumimoji="0" lang="en-US" sz="700" b="0" i="0" u="none" strike="noStrike" kern="1200" cap="none" spc="0" normalizeH="0" baseline="0" noProof="0" dirty="0" err="1">
                <a:ln>
                  <a:noFill/>
                </a:ln>
                <a:solidFill>
                  <a:prstClr val="white"/>
                </a:solidFill>
                <a:effectLst/>
                <a:uLnTx/>
                <a:uFillTx/>
                <a:latin typeface="Consolas" panose="020B0609020204030204" pitchFamily="49" charset="0"/>
                <a:ea typeface="+mn-ea"/>
                <a:cs typeface="+mn-cs"/>
              </a:rPr>
              <a:t>SearchLog.tsv</a:t>
            </a:r>
            <a:r>
              <a:rPr kumimoji="0" lang="en-US" sz="700" b="0" i="0" u="none" strike="noStrike" kern="1200" cap="none" spc="0" normalizeH="0" baseline="0" noProof="0" dirty="0">
                <a:ln>
                  <a:noFill/>
                </a:ln>
                <a:solidFill>
                  <a:prstClr val="white"/>
                </a:solidFill>
                <a:effectLst/>
                <a:uLnTx/>
                <a:uFillTx/>
                <a:latin typeface="Consolas" panose="020B0609020204030204" pitchFamily="49" charset="0"/>
                <a:ea typeface="+mn-ea"/>
                <a:cs typeface="+mn-cs"/>
              </a:rPr>
              <a:t>"</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Consolas" panose="020B0609020204030204" pitchFamily="49" charset="0"/>
                <a:ea typeface="+mn-ea"/>
                <a:cs typeface="+mn-cs"/>
              </a:rPr>
              <a:t>    USING </a:t>
            </a:r>
            <a:r>
              <a:rPr kumimoji="0" lang="en-US" sz="700" b="0" i="0" u="none" strike="noStrike" kern="1200" cap="none" spc="0" normalizeH="0" baseline="0" noProof="0" dirty="0" err="1">
                <a:ln>
                  <a:noFill/>
                </a:ln>
                <a:solidFill>
                  <a:prstClr val="white"/>
                </a:solidFill>
                <a:effectLst/>
                <a:uLnTx/>
                <a:uFillTx/>
                <a:latin typeface="Consolas" panose="020B0609020204030204" pitchFamily="49" charset="0"/>
                <a:ea typeface="+mn-ea"/>
                <a:cs typeface="+mn-cs"/>
              </a:rPr>
              <a:t>Extractors.Tsv</a:t>
            </a:r>
            <a:r>
              <a:rPr kumimoji="0" lang="en-US" sz="700" b="0" i="0" u="none" strike="noStrike" kern="1200" cap="none" spc="0" normalizeH="0" baseline="0" noProof="0" dirty="0">
                <a:ln>
                  <a:noFill/>
                </a:ln>
                <a:solidFill>
                  <a:prstClr val="white"/>
                </a:solidFill>
                <a:effectLst/>
                <a:uLnTx/>
                <a:uFillTx/>
                <a:latin typeface="Consolas" panose="020B0609020204030204" pitchFamily="49" charset="0"/>
                <a:ea typeface="+mn-ea"/>
                <a:cs typeface="+mn-cs"/>
              </a:rPr>
              <a:t>();</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white"/>
              </a:solidFill>
              <a:effectLst/>
              <a:uLnTx/>
              <a:uFillTx/>
              <a:latin typeface="Consolas" panose="020B0609020204030204" pitchFamily="49" charset="0"/>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Consolas" panose="020B0609020204030204" pitchFamily="49" charset="0"/>
                <a:ea typeface="+mn-ea"/>
                <a:cs typeface="+mn-cs"/>
              </a:rPr>
              <a:t>OUTPUT @</a:t>
            </a:r>
            <a:r>
              <a:rPr kumimoji="0" lang="en-US" sz="700" b="0" i="0" u="none" strike="noStrike" kern="1200" cap="none" spc="0" normalizeH="0" baseline="0" noProof="0" dirty="0" err="1">
                <a:ln>
                  <a:noFill/>
                </a:ln>
                <a:solidFill>
                  <a:prstClr val="white"/>
                </a:solidFill>
                <a:effectLst/>
                <a:uLnTx/>
                <a:uFillTx/>
                <a:latin typeface="Consolas" panose="020B0609020204030204" pitchFamily="49" charset="0"/>
                <a:ea typeface="+mn-ea"/>
                <a:cs typeface="+mn-cs"/>
              </a:rPr>
              <a:t>searchlog</a:t>
            </a:r>
            <a:r>
              <a:rPr kumimoji="0" lang="en-US" sz="700" b="0" i="0" u="none" strike="noStrike" kern="1200" cap="none" spc="0" normalizeH="0" baseline="0" noProof="0" dirty="0">
                <a:ln>
                  <a:noFill/>
                </a:ln>
                <a:solidFill>
                  <a:prstClr val="white"/>
                </a:solidFill>
                <a:effectLst/>
                <a:uLnTx/>
                <a:uFillTx/>
                <a:latin typeface="Consolas" panose="020B0609020204030204" pitchFamily="49" charset="0"/>
                <a:ea typeface="+mn-ea"/>
                <a:cs typeface="+mn-cs"/>
              </a:rPr>
              <a:t> </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Consolas" panose="020B0609020204030204" pitchFamily="49" charset="0"/>
                <a:ea typeface="+mn-ea"/>
                <a:cs typeface="+mn-cs"/>
              </a:rPr>
              <a:t>    TO @"/Samples/Output/</a:t>
            </a:r>
            <a:r>
              <a:rPr kumimoji="0" lang="en-US" sz="700" b="0" i="0" u="none" strike="noStrike" kern="1200" cap="none" spc="0" normalizeH="0" baseline="0" noProof="0" dirty="0" err="1">
                <a:ln>
                  <a:noFill/>
                </a:ln>
                <a:solidFill>
                  <a:prstClr val="white"/>
                </a:solidFill>
                <a:effectLst/>
                <a:uLnTx/>
                <a:uFillTx/>
                <a:latin typeface="Consolas" panose="020B0609020204030204" pitchFamily="49" charset="0"/>
                <a:ea typeface="+mn-ea"/>
                <a:cs typeface="+mn-cs"/>
              </a:rPr>
              <a:t>SearchLog_output.tsv</a:t>
            </a:r>
            <a:r>
              <a:rPr kumimoji="0" lang="en-US" sz="700" b="0" i="0" u="none" strike="noStrike" kern="1200" cap="none" spc="0" normalizeH="0" baseline="0" noProof="0" dirty="0">
                <a:ln>
                  <a:noFill/>
                </a:ln>
                <a:solidFill>
                  <a:prstClr val="white"/>
                </a:solidFill>
                <a:effectLst/>
                <a:uLnTx/>
                <a:uFillTx/>
                <a:latin typeface="Consolas" panose="020B0609020204030204" pitchFamily="49" charset="0"/>
                <a:ea typeface="+mn-ea"/>
                <a:cs typeface="+mn-cs"/>
              </a:rPr>
              <a:t>"</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Consolas" panose="020B0609020204030204" pitchFamily="49" charset="0"/>
                <a:ea typeface="+mn-ea"/>
                <a:cs typeface="+mn-cs"/>
              </a:rPr>
              <a:t>    USING </a:t>
            </a:r>
            <a:r>
              <a:rPr kumimoji="0" lang="en-US" sz="700" b="0" i="0" u="none" strike="noStrike" kern="1200" cap="none" spc="0" normalizeH="0" baseline="0" noProof="0" dirty="0" err="1">
                <a:ln>
                  <a:noFill/>
                </a:ln>
                <a:solidFill>
                  <a:prstClr val="white"/>
                </a:solidFill>
                <a:effectLst/>
                <a:uLnTx/>
                <a:uFillTx/>
                <a:latin typeface="Consolas" panose="020B0609020204030204" pitchFamily="49" charset="0"/>
                <a:ea typeface="+mn-ea"/>
                <a:cs typeface="+mn-cs"/>
              </a:rPr>
              <a:t>Outputters.Tsv</a:t>
            </a:r>
            <a:r>
              <a:rPr kumimoji="0" lang="en-US" sz="700" b="0" i="0" u="none" strike="noStrike" kern="1200" cap="none" spc="0" normalizeH="0" baseline="0" noProof="0" dirty="0">
                <a:ln>
                  <a:noFill/>
                </a:ln>
                <a:solidFill>
                  <a:prstClr val="white"/>
                </a:solidFill>
                <a:effectLst/>
                <a:uLnTx/>
                <a:uFillTx/>
                <a:latin typeface="Consolas" panose="020B0609020204030204" pitchFamily="49" charset="0"/>
                <a:ea typeface="+mn-ea"/>
                <a:cs typeface="+mn-cs"/>
              </a:rPr>
              <a:t>();</a:t>
            </a:r>
          </a:p>
        </p:txBody>
      </p:sp>
      <p:grpSp>
        <p:nvGrpSpPr>
          <p:cNvPr id="105" name="Group 104"/>
          <p:cNvGrpSpPr/>
          <p:nvPr/>
        </p:nvGrpSpPr>
        <p:grpSpPr>
          <a:xfrm>
            <a:off x="4771132" y="1876909"/>
            <a:ext cx="1863036" cy="2422440"/>
            <a:chOff x="1006214" y="1211287"/>
            <a:chExt cx="3639902" cy="4732835"/>
          </a:xfrm>
          <a:solidFill>
            <a:schemeClr val="bg1"/>
          </a:solidFill>
        </p:grpSpPr>
        <p:sp>
          <p:nvSpPr>
            <p:cNvPr id="106" name="Rectangle 105"/>
            <p:cNvSpPr/>
            <p:nvPr/>
          </p:nvSpPr>
          <p:spPr>
            <a:xfrm>
              <a:off x="2588739" y="1211287"/>
              <a:ext cx="1371585" cy="64007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7" name="Rectangle 106"/>
            <p:cNvSpPr/>
            <p:nvPr/>
          </p:nvSpPr>
          <p:spPr>
            <a:xfrm>
              <a:off x="1034276" y="2582872"/>
              <a:ext cx="1371585" cy="64007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8" name="Rectangle 107"/>
            <p:cNvSpPr/>
            <p:nvPr/>
          </p:nvSpPr>
          <p:spPr>
            <a:xfrm>
              <a:off x="1006214" y="4140425"/>
              <a:ext cx="1371585" cy="64007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9" name="Rectangle 108"/>
            <p:cNvSpPr/>
            <p:nvPr/>
          </p:nvSpPr>
          <p:spPr>
            <a:xfrm>
              <a:off x="3274531" y="2803536"/>
              <a:ext cx="1371585" cy="64007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0" name="Arrow: Bent-Up 109"/>
            <p:cNvSpPr/>
            <p:nvPr/>
          </p:nvSpPr>
          <p:spPr>
            <a:xfrm rot="10800000">
              <a:off x="1445750" y="1417025"/>
              <a:ext cx="822951" cy="868670"/>
            </a:xfrm>
            <a:prstGeom prst="bentUp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6" name="Rectangle 135"/>
            <p:cNvSpPr/>
            <p:nvPr/>
          </p:nvSpPr>
          <p:spPr>
            <a:xfrm>
              <a:off x="2797083" y="5304049"/>
              <a:ext cx="1371585" cy="64007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9" name="Arrow: Down 138"/>
            <p:cNvSpPr/>
            <p:nvPr/>
          </p:nvSpPr>
          <p:spPr>
            <a:xfrm>
              <a:off x="1453067" y="3405823"/>
              <a:ext cx="442562" cy="594352"/>
            </a:xfrm>
            <a:prstGeom prst="down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0" name="Arrow: Down 139"/>
            <p:cNvSpPr/>
            <p:nvPr/>
          </p:nvSpPr>
          <p:spPr>
            <a:xfrm>
              <a:off x="3690678" y="2030272"/>
              <a:ext cx="442562" cy="594352"/>
            </a:xfrm>
            <a:prstGeom prst="down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1" name="Arrow: Bent-Up 140"/>
            <p:cNvSpPr/>
            <p:nvPr/>
          </p:nvSpPr>
          <p:spPr>
            <a:xfrm rot="5400000">
              <a:off x="1625278" y="4941788"/>
              <a:ext cx="822951" cy="868670"/>
            </a:xfrm>
            <a:prstGeom prst="bentUp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2" name="Arrow: Down 141"/>
            <p:cNvSpPr/>
            <p:nvPr/>
          </p:nvSpPr>
          <p:spPr>
            <a:xfrm>
              <a:off x="3491271" y="3577129"/>
              <a:ext cx="442562" cy="1474596"/>
            </a:xfrm>
            <a:prstGeom prst="down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88613230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Arrow: Bent-Up 1"/>
          <p:cNvSpPr/>
          <p:nvPr/>
        </p:nvSpPr>
        <p:spPr>
          <a:xfrm rot="10800000">
            <a:off x="3049308" y="1777319"/>
            <a:ext cx="1839676" cy="1097268"/>
          </a:xfrm>
          <a:prstGeom prst="bentUp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61" name="Arrow: Bent-Up 260"/>
          <p:cNvSpPr/>
          <p:nvPr/>
        </p:nvSpPr>
        <p:spPr>
          <a:xfrm rot="10800000" flipH="1">
            <a:off x="8535849" y="1810044"/>
            <a:ext cx="1952844" cy="1097268"/>
          </a:xfrm>
          <a:prstGeom prst="bentUp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 name="Arrow: Pentagon 6">
            <a:extLst>
              <a:ext uri="{FF2B5EF4-FFF2-40B4-BE49-F238E27FC236}">
                <a16:creationId xmlns:a16="http://schemas.microsoft.com/office/drawing/2014/main" id="{A6D88667-2ADC-4FC8-9DAD-93168AC81CCF}"/>
              </a:ext>
            </a:extLst>
          </p:cNvPr>
          <p:cNvSpPr/>
          <p:nvPr/>
        </p:nvSpPr>
        <p:spPr>
          <a:xfrm rot="5400000">
            <a:off x="4552293" y="230471"/>
            <a:ext cx="4456705" cy="3995766"/>
          </a:xfrm>
          <a:prstGeom prst="homePlate">
            <a:avLst>
              <a:gd name="adj" fmla="val 17527"/>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3" name="Group 12"/>
          <p:cNvGrpSpPr/>
          <p:nvPr/>
        </p:nvGrpSpPr>
        <p:grpSpPr>
          <a:xfrm>
            <a:off x="3458902" y="1"/>
            <a:ext cx="5660255" cy="3093066"/>
            <a:chOff x="3714934" y="0"/>
            <a:chExt cx="5145685" cy="3357183"/>
          </a:xfrm>
          <a:noFill/>
        </p:grpSpPr>
        <p:sp>
          <p:nvSpPr>
            <p:cNvPr id="4" name="Rectangle 3"/>
            <p:cNvSpPr/>
            <p:nvPr/>
          </p:nvSpPr>
          <p:spPr>
            <a:xfrm>
              <a:off x="3714934" y="0"/>
              <a:ext cx="5120640" cy="267431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 name="Isosceles Triangle 13"/>
            <p:cNvSpPr/>
            <p:nvPr/>
          </p:nvSpPr>
          <p:spPr>
            <a:xfrm flipV="1">
              <a:off x="3739979" y="2664910"/>
              <a:ext cx="5120640" cy="692273"/>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36" name="Isosceles Triangle 135"/>
            <p:cNvSpPr/>
            <p:nvPr/>
          </p:nvSpPr>
          <p:spPr>
            <a:xfrm flipV="1">
              <a:off x="3739979" y="2663881"/>
              <a:ext cx="5120640" cy="374596"/>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grpSp>
      <p:sp>
        <p:nvSpPr>
          <p:cNvPr id="8" name="Title 7"/>
          <p:cNvSpPr>
            <a:spLocks noGrp="1"/>
          </p:cNvSpPr>
          <p:nvPr>
            <p:ph type="title"/>
          </p:nvPr>
        </p:nvSpPr>
        <p:spPr>
          <a:xfrm>
            <a:off x="91824" y="114020"/>
            <a:ext cx="4536375" cy="1630645"/>
          </a:xfrm>
        </p:spPr>
        <p:txBody>
          <a:bodyPr anchor="t">
            <a:noAutofit/>
          </a:bodyPr>
          <a:lstStyle/>
          <a:p>
            <a:r>
              <a:rPr lang="en-US" sz="6000" dirty="0"/>
              <a:t>Optimization</a:t>
            </a:r>
          </a:p>
        </p:txBody>
      </p:sp>
      <p:sp>
        <p:nvSpPr>
          <p:cNvPr id="3" name="Content Placeholder 2"/>
          <p:cNvSpPr>
            <a:spLocks noGrp="1"/>
          </p:cNvSpPr>
          <p:nvPr>
            <p:ph idx="4294967295"/>
          </p:nvPr>
        </p:nvSpPr>
        <p:spPr>
          <a:xfrm>
            <a:off x="1925783" y="5051725"/>
            <a:ext cx="4383893" cy="1371585"/>
          </a:xfrm>
        </p:spPr>
        <p:txBody>
          <a:bodyPr>
            <a:noAutofit/>
          </a:bodyPr>
          <a:lstStyle/>
          <a:p>
            <a:pPr marL="0" indent="0">
              <a:buNone/>
            </a:pPr>
            <a:r>
              <a:rPr lang="en-US" sz="2000" b="1" dirty="0"/>
              <a:t>Performance Bottlenecks</a:t>
            </a:r>
          </a:p>
          <a:p>
            <a:pPr marL="0" indent="0">
              <a:buNone/>
            </a:pPr>
            <a:r>
              <a:rPr lang="en-US" sz="2000" dirty="0">
                <a:latin typeface="+mj-lt"/>
              </a:rPr>
              <a:t>Hotspots identified for I/O, execution time, CPU time. Executions plans can be interactively played back for intuitive understanding of performance bottlenecks.</a:t>
            </a:r>
          </a:p>
        </p:txBody>
      </p:sp>
      <p:sp>
        <p:nvSpPr>
          <p:cNvPr id="144" name="Content Placeholder 2"/>
          <p:cNvSpPr txBox="1">
            <a:spLocks/>
          </p:cNvSpPr>
          <p:nvPr/>
        </p:nvSpPr>
        <p:spPr>
          <a:xfrm>
            <a:off x="7559112" y="5051725"/>
            <a:ext cx="4819917" cy="1341107"/>
          </a:xfrm>
          <a:prstGeom prst="rect">
            <a:avLst/>
          </a:prstGeom>
        </p:spPr>
        <p:txBody>
          <a:bodyPr vert="horz" lIns="91440" tIns="45720" rIns="91440" bIns="45720" rtlCol="0">
            <a:noAutofit/>
          </a:bodyPr>
          <a:lstStyle>
            <a:lvl1pPr marL="233145" indent="-233145" algn="l" defTabSz="932578"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34" indent="-233145" algn="l" defTabSz="932578"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23" indent="-233145" algn="l" defTabSz="932578"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12"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01"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590"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879"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169"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458"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0" marR="0" lvl="0" indent="0" algn="l" defTabSz="932578" rtl="0" eaLnBrk="1" fontAlgn="auto" latinLnBrk="0" hangingPunct="1">
              <a:lnSpc>
                <a:spcPct val="90000"/>
              </a:lnSpc>
              <a:spcBef>
                <a:spcPts val="102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prstClr val="black"/>
                </a:solidFill>
                <a:effectLst/>
                <a:uLnTx/>
                <a:uFillTx/>
                <a:latin typeface="Segoe UI"/>
                <a:ea typeface="+mn-ea"/>
                <a:cs typeface="+mn-cs"/>
              </a:rPr>
              <a:t>Trade off time versus cost</a:t>
            </a:r>
          </a:p>
          <a:p>
            <a:pPr marL="0" marR="0" lvl="0" indent="0" algn="l" defTabSz="932578" rtl="0" eaLnBrk="1" fontAlgn="auto" latinLnBrk="0" hangingPunct="1">
              <a:lnSpc>
                <a:spcPct val="90000"/>
              </a:lnSpc>
              <a:spcBef>
                <a:spcPts val="102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Segoe UI Light"/>
                <a:ea typeface="+mn-ea"/>
                <a:cs typeface="+mn-cs"/>
              </a:rPr>
              <a:t>Efficiency analysis reveals whether the developer has reserved more processing resources than needed. Optimization views estimated number of resources needed to secure the fastest execution time.</a:t>
            </a:r>
          </a:p>
        </p:txBody>
      </p:sp>
      <p:sp>
        <p:nvSpPr>
          <p:cNvPr id="145" name="Content Placeholder 2"/>
          <p:cNvSpPr txBox="1">
            <a:spLocks/>
          </p:cNvSpPr>
          <p:nvPr/>
        </p:nvSpPr>
        <p:spPr>
          <a:xfrm>
            <a:off x="4916534" y="1668482"/>
            <a:ext cx="3861995" cy="1478930"/>
          </a:xfrm>
          <a:prstGeom prst="rect">
            <a:avLst/>
          </a:prstGeom>
        </p:spPr>
        <p:txBody>
          <a:bodyPr vert="horz" lIns="91440" tIns="45720" rIns="91440" bIns="45720" rtlCol="0">
            <a:noAutofit/>
          </a:bodyPr>
          <a:lstStyle>
            <a:lvl1pPr marL="233145" indent="-233145" algn="l" defTabSz="932578"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34" indent="-233145" algn="l" defTabSz="932578"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23" indent="-233145" algn="l" defTabSz="932578"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12"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01"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590"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879"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169"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458"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0" marR="0" lvl="0" indent="0" algn="l" defTabSz="932578" rtl="0" eaLnBrk="1" fontAlgn="auto" latinLnBrk="0" hangingPunct="1">
              <a:lnSpc>
                <a:spcPct val="90000"/>
              </a:lnSpc>
              <a:spcBef>
                <a:spcPts val="102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Segoe UI Light"/>
                <a:ea typeface="+mn-ea"/>
                <a:cs typeface="+mn-cs"/>
              </a:rPr>
              <a:t>Data Lake automatically collects and analyses the execution plan and node execution logs. Data Lake developer tools provide insightful visualizations to guide performance improvements and control costs.</a:t>
            </a:r>
          </a:p>
        </p:txBody>
      </p:sp>
      <p:sp>
        <p:nvSpPr>
          <p:cNvPr id="12" name="Cross 11"/>
          <p:cNvSpPr/>
          <p:nvPr/>
        </p:nvSpPr>
        <p:spPr>
          <a:xfrm>
            <a:off x="6301044" y="708463"/>
            <a:ext cx="286229" cy="286229"/>
          </a:xfrm>
          <a:prstGeom prst="plus">
            <a:avLst>
              <a:gd name="adj" fmla="val 36425"/>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10" name="Group 109"/>
          <p:cNvGrpSpPr/>
          <p:nvPr/>
        </p:nvGrpSpPr>
        <p:grpSpPr>
          <a:xfrm>
            <a:off x="6583993" y="296897"/>
            <a:ext cx="1951856" cy="1166819"/>
            <a:chOff x="8510750" y="2034238"/>
            <a:chExt cx="3219485" cy="1924607"/>
          </a:xfrm>
        </p:grpSpPr>
        <p:grpSp>
          <p:nvGrpSpPr>
            <p:cNvPr id="139" name="Group 138"/>
            <p:cNvGrpSpPr/>
            <p:nvPr/>
          </p:nvGrpSpPr>
          <p:grpSpPr>
            <a:xfrm>
              <a:off x="10870486" y="2802994"/>
              <a:ext cx="859749" cy="477470"/>
              <a:chOff x="8425953" y="6111965"/>
              <a:chExt cx="2904171" cy="1612859"/>
            </a:xfrm>
          </p:grpSpPr>
          <p:sp>
            <p:nvSpPr>
              <p:cNvPr id="199" name="Oval 198"/>
              <p:cNvSpPr/>
              <p:nvPr/>
            </p:nvSpPr>
            <p:spPr>
              <a:xfrm>
                <a:off x="8425953" y="6828791"/>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0" name="Oval 199"/>
              <p:cNvSpPr/>
              <p:nvPr/>
            </p:nvSpPr>
            <p:spPr>
              <a:xfrm>
                <a:off x="8761595" y="7007998"/>
                <a:ext cx="179206" cy="179207"/>
              </a:xfrm>
              <a:prstGeom prst="ellipse">
                <a:avLst/>
              </a:prstGeom>
              <a:solidFill>
                <a:srgbClr val="FCBABA"/>
              </a:solidFill>
              <a:ln w="28575">
                <a:solidFill>
                  <a:srgbClr val="FF6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1" name="Oval 200"/>
              <p:cNvSpPr/>
              <p:nvPr/>
            </p:nvSpPr>
            <p:spPr>
              <a:xfrm>
                <a:off x="9097237" y="7187204"/>
                <a:ext cx="179206" cy="179207"/>
              </a:xfrm>
              <a:prstGeom prst="ellipse">
                <a:avLst/>
              </a:prstGeom>
              <a:solidFill>
                <a:srgbClr val="FCBABA"/>
              </a:solidFill>
              <a:ln w="28575">
                <a:solidFill>
                  <a:srgbClr val="FF6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2" name="Oval 201"/>
              <p:cNvSpPr/>
              <p:nvPr/>
            </p:nvSpPr>
            <p:spPr>
              <a:xfrm>
                <a:off x="9432879" y="7366411"/>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3" name="Oval 202"/>
              <p:cNvSpPr/>
              <p:nvPr/>
            </p:nvSpPr>
            <p:spPr>
              <a:xfrm>
                <a:off x="9768522" y="7545617"/>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4" name="Oval 203"/>
              <p:cNvSpPr/>
              <p:nvPr/>
            </p:nvSpPr>
            <p:spPr>
              <a:xfrm>
                <a:off x="8771552" y="6649585"/>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5" name="Oval 204"/>
              <p:cNvSpPr/>
              <p:nvPr/>
            </p:nvSpPr>
            <p:spPr>
              <a:xfrm>
                <a:off x="9107194" y="6828792"/>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6" name="Oval 205"/>
              <p:cNvSpPr/>
              <p:nvPr/>
            </p:nvSpPr>
            <p:spPr>
              <a:xfrm>
                <a:off x="9442836" y="7007998"/>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7" name="Oval 206"/>
              <p:cNvSpPr/>
              <p:nvPr/>
            </p:nvSpPr>
            <p:spPr>
              <a:xfrm>
                <a:off x="9778478" y="7187205"/>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8" name="Oval 207"/>
              <p:cNvSpPr/>
              <p:nvPr/>
            </p:nvSpPr>
            <p:spPr>
              <a:xfrm>
                <a:off x="10114121" y="7366411"/>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9" name="Oval 208"/>
              <p:cNvSpPr/>
              <p:nvPr/>
            </p:nvSpPr>
            <p:spPr>
              <a:xfrm>
                <a:off x="9117151" y="6470378"/>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0" name="Oval 209"/>
              <p:cNvSpPr/>
              <p:nvPr/>
            </p:nvSpPr>
            <p:spPr>
              <a:xfrm>
                <a:off x="9452793" y="6649585"/>
                <a:ext cx="179206" cy="179207"/>
              </a:xfrm>
              <a:prstGeom prst="ellipse">
                <a:avLst/>
              </a:prstGeom>
              <a:solidFill>
                <a:srgbClr val="FCBABA"/>
              </a:solidFill>
              <a:ln w="28575">
                <a:solidFill>
                  <a:srgbClr val="FF6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1" name="Oval 210"/>
              <p:cNvSpPr/>
              <p:nvPr/>
            </p:nvSpPr>
            <p:spPr>
              <a:xfrm>
                <a:off x="9788435" y="6828791"/>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2" name="Oval 211"/>
              <p:cNvSpPr/>
              <p:nvPr/>
            </p:nvSpPr>
            <p:spPr>
              <a:xfrm>
                <a:off x="10124077" y="7007998"/>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3" name="Oval 212"/>
              <p:cNvSpPr/>
              <p:nvPr/>
            </p:nvSpPr>
            <p:spPr>
              <a:xfrm>
                <a:off x="10459720" y="7187204"/>
                <a:ext cx="179206" cy="179207"/>
              </a:xfrm>
              <a:prstGeom prst="ellipse">
                <a:avLst/>
              </a:prstGeom>
              <a:solidFill>
                <a:srgbClr val="FCBABA"/>
              </a:solidFill>
              <a:ln w="28575">
                <a:solidFill>
                  <a:srgbClr val="FF6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4" name="Oval 213"/>
              <p:cNvSpPr/>
              <p:nvPr/>
            </p:nvSpPr>
            <p:spPr>
              <a:xfrm>
                <a:off x="9462750" y="6291172"/>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5" name="Oval 214"/>
              <p:cNvSpPr/>
              <p:nvPr/>
            </p:nvSpPr>
            <p:spPr>
              <a:xfrm>
                <a:off x="9798392" y="6470379"/>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6" name="Oval 215"/>
              <p:cNvSpPr/>
              <p:nvPr/>
            </p:nvSpPr>
            <p:spPr>
              <a:xfrm>
                <a:off x="10134034" y="6649585"/>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7" name="Oval 216"/>
              <p:cNvSpPr/>
              <p:nvPr/>
            </p:nvSpPr>
            <p:spPr>
              <a:xfrm>
                <a:off x="10469676" y="6828792"/>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8" name="Oval 217"/>
              <p:cNvSpPr/>
              <p:nvPr/>
            </p:nvSpPr>
            <p:spPr>
              <a:xfrm>
                <a:off x="10805319" y="7007998"/>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9" name="Oval 218"/>
              <p:cNvSpPr/>
              <p:nvPr/>
            </p:nvSpPr>
            <p:spPr>
              <a:xfrm>
                <a:off x="9808349" y="6111965"/>
                <a:ext cx="179206" cy="179207"/>
              </a:xfrm>
              <a:prstGeom prst="ellipse">
                <a:avLst/>
              </a:prstGeom>
              <a:solidFill>
                <a:srgbClr val="FCBABA"/>
              </a:solidFill>
              <a:ln w="28575">
                <a:solidFill>
                  <a:srgbClr val="FF6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0" name="Oval 219"/>
              <p:cNvSpPr/>
              <p:nvPr/>
            </p:nvSpPr>
            <p:spPr>
              <a:xfrm>
                <a:off x="10143991" y="6291172"/>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1" name="Oval 220"/>
              <p:cNvSpPr/>
              <p:nvPr/>
            </p:nvSpPr>
            <p:spPr>
              <a:xfrm>
                <a:off x="10479633" y="6470378"/>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2" name="Oval 221"/>
              <p:cNvSpPr/>
              <p:nvPr/>
            </p:nvSpPr>
            <p:spPr>
              <a:xfrm>
                <a:off x="10815275" y="6649585"/>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3" name="Oval 222"/>
              <p:cNvSpPr/>
              <p:nvPr/>
            </p:nvSpPr>
            <p:spPr>
              <a:xfrm>
                <a:off x="11150918" y="6828791"/>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40" name="Group 139"/>
            <p:cNvGrpSpPr/>
            <p:nvPr/>
          </p:nvGrpSpPr>
          <p:grpSpPr>
            <a:xfrm>
              <a:off x="9784358" y="2034238"/>
              <a:ext cx="1512493" cy="839977"/>
              <a:chOff x="8452759" y="4199567"/>
              <a:chExt cx="2904171" cy="1612859"/>
            </a:xfrm>
          </p:grpSpPr>
          <p:sp>
            <p:nvSpPr>
              <p:cNvPr id="174" name="Oval 173"/>
              <p:cNvSpPr/>
              <p:nvPr/>
            </p:nvSpPr>
            <p:spPr>
              <a:xfrm>
                <a:off x="8452759" y="4916393"/>
                <a:ext cx="179206" cy="179207"/>
              </a:xfrm>
              <a:prstGeom prst="ellipse">
                <a:avLst/>
              </a:prstGeom>
              <a:solidFill>
                <a:srgbClr val="FCBABA"/>
              </a:solidFill>
              <a:ln w="28575">
                <a:solidFill>
                  <a:srgbClr val="FF6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5" name="Oval 174"/>
              <p:cNvSpPr/>
              <p:nvPr/>
            </p:nvSpPr>
            <p:spPr>
              <a:xfrm>
                <a:off x="8788401" y="5095600"/>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6" name="Oval 175"/>
              <p:cNvSpPr/>
              <p:nvPr/>
            </p:nvSpPr>
            <p:spPr>
              <a:xfrm>
                <a:off x="9124043" y="5274806"/>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7" name="Oval 176"/>
              <p:cNvSpPr/>
              <p:nvPr/>
            </p:nvSpPr>
            <p:spPr>
              <a:xfrm>
                <a:off x="9459685" y="5454013"/>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8" name="Oval 177"/>
              <p:cNvSpPr/>
              <p:nvPr/>
            </p:nvSpPr>
            <p:spPr>
              <a:xfrm>
                <a:off x="9795328" y="5633219"/>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9" name="Oval 178"/>
              <p:cNvSpPr/>
              <p:nvPr/>
            </p:nvSpPr>
            <p:spPr>
              <a:xfrm>
                <a:off x="8798358" y="4737187"/>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0" name="Oval 179"/>
              <p:cNvSpPr/>
              <p:nvPr/>
            </p:nvSpPr>
            <p:spPr>
              <a:xfrm>
                <a:off x="9134000" y="4916394"/>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1" name="Oval 180"/>
              <p:cNvSpPr/>
              <p:nvPr/>
            </p:nvSpPr>
            <p:spPr>
              <a:xfrm>
                <a:off x="9469642" y="5095600"/>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2" name="Oval 181"/>
              <p:cNvSpPr/>
              <p:nvPr/>
            </p:nvSpPr>
            <p:spPr>
              <a:xfrm>
                <a:off x="9805284" y="5274807"/>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3" name="Oval 182"/>
              <p:cNvSpPr/>
              <p:nvPr/>
            </p:nvSpPr>
            <p:spPr>
              <a:xfrm>
                <a:off x="10140927" y="5454013"/>
                <a:ext cx="179206" cy="179207"/>
              </a:xfrm>
              <a:prstGeom prst="ellipse">
                <a:avLst/>
              </a:prstGeom>
              <a:solidFill>
                <a:srgbClr val="FCBABA"/>
              </a:solidFill>
              <a:ln w="28575">
                <a:solidFill>
                  <a:srgbClr val="FF6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4" name="Oval 183"/>
              <p:cNvSpPr/>
              <p:nvPr/>
            </p:nvSpPr>
            <p:spPr>
              <a:xfrm>
                <a:off x="9143957" y="4557980"/>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5" name="Oval 184"/>
              <p:cNvSpPr/>
              <p:nvPr/>
            </p:nvSpPr>
            <p:spPr>
              <a:xfrm>
                <a:off x="9479599" y="4737187"/>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6" name="Oval 185"/>
              <p:cNvSpPr/>
              <p:nvPr/>
            </p:nvSpPr>
            <p:spPr>
              <a:xfrm>
                <a:off x="9815241" y="4916393"/>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7" name="Oval 186"/>
              <p:cNvSpPr/>
              <p:nvPr/>
            </p:nvSpPr>
            <p:spPr>
              <a:xfrm>
                <a:off x="10150883" y="5095600"/>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8" name="Oval 187"/>
              <p:cNvSpPr/>
              <p:nvPr/>
            </p:nvSpPr>
            <p:spPr>
              <a:xfrm>
                <a:off x="10486526" y="5274806"/>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9" name="Oval 188"/>
              <p:cNvSpPr/>
              <p:nvPr/>
            </p:nvSpPr>
            <p:spPr>
              <a:xfrm>
                <a:off x="9489556" y="4378774"/>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0" name="Oval 189"/>
              <p:cNvSpPr/>
              <p:nvPr/>
            </p:nvSpPr>
            <p:spPr>
              <a:xfrm>
                <a:off x="9825198" y="4557981"/>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1" name="Oval 190"/>
              <p:cNvSpPr/>
              <p:nvPr/>
            </p:nvSpPr>
            <p:spPr>
              <a:xfrm>
                <a:off x="10160840" y="4737187"/>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2" name="Oval 191"/>
              <p:cNvSpPr/>
              <p:nvPr/>
            </p:nvSpPr>
            <p:spPr>
              <a:xfrm>
                <a:off x="10496482" y="4916394"/>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3" name="Oval 192"/>
              <p:cNvSpPr/>
              <p:nvPr/>
            </p:nvSpPr>
            <p:spPr>
              <a:xfrm>
                <a:off x="10832125" y="5095600"/>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4" name="Oval 193"/>
              <p:cNvSpPr/>
              <p:nvPr/>
            </p:nvSpPr>
            <p:spPr>
              <a:xfrm>
                <a:off x="9835155" y="4199567"/>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5" name="Oval 194"/>
              <p:cNvSpPr/>
              <p:nvPr/>
            </p:nvSpPr>
            <p:spPr>
              <a:xfrm>
                <a:off x="10170797" y="4378774"/>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6" name="Oval 195"/>
              <p:cNvSpPr/>
              <p:nvPr/>
            </p:nvSpPr>
            <p:spPr>
              <a:xfrm>
                <a:off x="10506439" y="4557980"/>
                <a:ext cx="179206" cy="179207"/>
              </a:xfrm>
              <a:prstGeom prst="ellipse">
                <a:avLst/>
              </a:prstGeom>
              <a:solidFill>
                <a:srgbClr val="FCBABA"/>
              </a:solidFill>
              <a:ln w="28575">
                <a:solidFill>
                  <a:srgbClr val="FF6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7" name="Oval 196"/>
              <p:cNvSpPr/>
              <p:nvPr/>
            </p:nvSpPr>
            <p:spPr>
              <a:xfrm>
                <a:off x="10842081" y="4737187"/>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8" name="Oval 197"/>
              <p:cNvSpPr/>
              <p:nvPr/>
            </p:nvSpPr>
            <p:spPr>
              <a:xfrm>
                <a:off x="11177724" y="4916393"/>
                <a:ext cx="179206" cy="17920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41" name="Group 140"/>
            <p:cNvGrpSpPr/>
            <p:nvPr/>
          </p:nvGrpSpPr>
          <p:grpSpPr>
            <a:xfrm>
              <a:off x="8510750" y="2701565"/>
              <a:ext cx="2263902" cy="1257280"/>
              <a:chOff x="8356190" y="2399994"/>
              <a:chExt cx="4445505" cy="2468853"/>
            </a:xfrm>
          </p:grpSpPr>
          <p:grpSp>
            <p:nvGrpSpPr>
              <p:cNvPr id="142" name="Group 141"/>
              <p:cNvGrpSpPr/>
              <p:nvPr/>
            </p:nvGrpSpPr>
            <p:grpSpPr>
              <a:xfrm>
                <a:off x="8356190" y="3497262"/>
                <a:ext cx="2329429" cy="1371585"/>
                <a:chOff x="8356190" y="3497262"/>
                <a:chExt cx="2329429" cy="1371585"/>
              </a:xfrm>
            </p:grpSpPr>
            <p:sp>
              <p:nvSpPr>
                <p:cNvPr id="169" name="Oval 168"/>
                <p:cNvSpPr/>
                <p:nvPr/>
              </p:nvSpPr>
              <p:spPr>
                <a:xfrm>
                  <a:off x="8356190" y="3497262"/>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0" name="Oval 169"/>
                <p:cNvSpPr/>
                <p:nvPr/>
              </p:nvSpPr>
              <p:spPr>
                <a:xfrm>
                  <a:off x="8869968" y="3771579"/>
                  <a:ext cx="274317" cy="274317"/>
                </a:xfrm>
                <a:prstGeom prst="ellipse">
                  <a:avLst/>
                </a:prstGeom>
                <a:solidFill>
                  <a:srgbClr val="FCBABA"/>
                </a:solidFill>
                <a:ln w="28575">
                  <a:solidFill>
                    <a:srgbClr val="FF6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71" name="Oval 170"/>
                <p:cNvSpPr/>
                <p:nvPr/>
              </p:nvSpPr>
              <p:spPr>
                <a:xfrm>
                  <a:off x="9383746" y="4045896"/>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2" name="Oval 171"/>
                <p:cNvSpPr/>
                <p:nvPr/>
              </p:nvSpPr>
              <p:spPr>
                <a:xfrm>
                  <a:off x="9897524" y="4320213"/>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3" name="Oval 172"/>
                <p:cNvSpPr/>
                <p:nvPr/>
              </p:nvSpPr>
              <p:spPr>
                <a:xfrm>
                  <a:off x="10411302" y="4594530"/>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43" name="Group 142"/>
              <p:cNvGrpSpPr/>
              <p:nvPr/>
            </p:nvGrpSpPr>
            <p:grpSpPr>
              <a:xfrm>
                <a:off x="8885209" y="3222945"/>
                <a:ext cx="2329429" cy="1371585"/>
                <a:chOff x="8356190" y="3497262"/>
                <a:chExt cx="2329429" cy="1371585"/>
              </a:xfrm>
            </p:grpSpPr>
            <p:sp>
              <p:nvSpPr>
                <p:cNvPr id="164" name="Oval 163"/>
                <p:cNvSpPr/>
                <p:nvPr/>
              </p:nvSpPr>
              <p:spPr>
                <a:xfrm>
                  <a:off x="8356190" y="3497262"/>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5" name="Oval 164"/>
                <p:cNvSpPr/>
                <p:nvPr/>
              </p:nvSpPr>
              <p:spPr>
                <a:xfrm>
                  <a:off x="8869968" y="3771579"/>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6" name="Oval 165"/>
                <p:cNvSpPr/>
                <p:nvPr/>
              </p:nvSpPr>
              <p:spPr>
                <a:xfrm>
                  <a:off x="9383746" y="4045896"/>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7" name="Oval 166"/>
                <p:cNvSpPr/>
                <p:nvPr/>
              </p:nvSpPr>
              <p:spPr>
                <a:xfrm>
                  <a:off x="9897524" y="4320213"/>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8" name="Oval 167"/>
                <p:cNvSpPr/>
                <p:nvPr/>
              </p:nvSpPr>
              <p:spPr>
                <a:xfrm>
                  <a:off x="10411302" y="4594530"/>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46" name="Group 145"/>
              <p:cNvGrpSpPr/>
              <p:nvPr/>
            </p:nvGrpSpPr>
            <p:grpSpPr>
              <a:xfrm>
                <a:off x="9414228" y="2948628"/>
                <a:ext cx="2329429" cy="1371585"/>
                <a:chOff x="8356190" y="3497262"/>
                <a:chExt cx="2329429" cy="1371585"/>
              </a:xfrm>
            </p:grpSpPr>
            <p:sp>
              <p:nvSpPr>
                <p:cNvPr id="159" name="Oval 158"/>
                <p:cNvSpPr/>
                <p:nvPr/>
              </p:nvSpPr>
              <p:spPr>
                <a:xfrm>
                  <a:off x="8356190" y="3497262"/>
                  <a:ext cx="274317" cy="274317"/>
                </a:xfrm>
                <a:prstGeom prst="ellipse">
                  <a:avLst/>
                </a:prstGeom>
                <a:solidFill>
                  <a:srgbClr val="FCBABA"/>
                </a:solidFill>
                <a:ln w="28575">
                  <a:solidFill>
                    <a:srgbClr val="FF6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0" name="Oval 159"/>
                <p:cNvSpPr/>
                <p:nvPr/>
              </p:nvSpPr>
              <p:spPr>
                <a:xfrm>
                  <a:off x="8869968" y="3771579"/>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1" name="Oval 160"/>
                <p:cNvSpPr/>
                <p:nvPr/>
              </p:nvSpPr>
              <p:spPr>
                <a:xfrm>
                  <a:off x="9383746" y="4045896"/>
                  <a:ext cx="274317" cy="274317"/>
                </a:xfrm>
                <a:prstGeom prst="ellipse">
                  <a:avLst/>
                </a:prstGeom>
                <a:solidFill>
                  <a:srgbClr val="FCBABA"/>
                </a:solidFill>
                <a:ln w="28575">
                  <a:solidFill>
                    <a:srgbClr val="FF6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2" name="Oval 161"/>
                <p:cNvSpPr/>
                <p:nvPr/>
              </p:nvSpPr>
              <p:spPr>
                <a:xfrm>
                  <a:off x="9897524" y="4320213"/>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3" name="Oval 162"/>
                <p:cNvSpPr/>
                <p:nvPr/>
              </p:nvSpPr>
              <p:spPr>
                <a:xfrm>
                  <a:off x="10411302" y="4594530"/>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47" name="Group 146"/>
              <p:cNvGrpSpPr/>
              <p:nvPr/>
            </p:nvGrpSpPr>
            <p:grpSpPr>
              <a:xfrm>
                <a:off x="9943247" y="2674311"/>
                <a:ext cx="2329429" cy="1371585"/>
                <a:chOff x="8356190" y="3497262"/>
                <a:chExt cx="2329429" cy="1371585"/>
              </a:xfrm>
            </p:grpSpPr>
            <p:sp>
              <p:nvSpPr>
                <p:cNvPr id="154" name="Oval 153"/>
                <p:cNvSpPr/>
                <p:nvPr/>
              </p:nvSpPr>
              <p:spPr>
                <a:xfrm>
                  <a:off x="8356190" y="3497262"/>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5" name="Oval 154"/>
                <p:cNvSpPr/>
                <p:nvPr/>
              </p:nvSpPr>
              <p:spPr>
                <a:xfrm>
                  <a:off x="8869968" y="3771579"/>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6" name="Oval 155"/>
                <p:cNvSpPr/>
                <p:nvPr/>
              </p:nvSpPr>
              <p:spPr>
                <a:xfrm>
                  <a:off x="9383746" y="4045896"/>
                  <a:ext cx="274317" cy="274317"/>
                </a:xfrm>
                <a:prstGeom prst="ellipse">
                  <a:avLst/>
                </a:prstGeom>
                <a:solidFill>
                  <a:srgbClr val="FCBABA"/>
                </a:solidFill>
                <a:ln w="28575">
                  <a:solidFill>
                    <a:srgbClr val="FF6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7" name="Oval 156"/>
                <p:cNvSpPr/>
                <p:nvPr/>
              </p:nvSpPr>
              <p:spPr>
                <a:xfrm>
                  <a:off x="9897524" y="4320213"/>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8" name="Oval 157"/>
                <p:cNvSpPr/>
                <p:nvPr/>
              </p:nvSpPr>
              <p:spPr>
                <a:xfrm>
                  <a:off x="10411302" y="4594530"/>
                  <a:ext cx="274317" cy="274317"/>
                </a:xfrm>
                <a:prstGeom prst="ellipse">
                  <a:avLst/>
                </a:prstGeom>
                <a:solidFill>
                  <a:srgbClr val="FCBABA"/>
                </a:solidFill>
                <a:ln w="28575">
                  <a:solidFill>
                    <a:srgbClr val="FF6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48" name="Group 147"/>
              <p:cNvGrpSpPr/>
              <p:nvPr/>
            </p:nvGrpSpPr>
            <p:grpSpPr>
              <a:xfrm>
                <a:off x="10472266" y="2399994"/>
                <a:ext cx="2329429" cy="1371585"/>
                <a:chOff x="8356190" y="3497262"/>
                <a:chExt cx="2329429" cy="1371585"/>
              </a:xfrm>
            </p:grpSpPr>
            <p:sp>
              <p:nvSpPr>
                <p:cNvPr id="149" name="Oval 148"/>
                <p:cNvSpPr/>
                <p:nvPr/>
              </p:nvSpPr>
              <p:spPr>
                <a:xfrm>
                  <a:off x="8356190" y="3497262"/>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0" name="Oval 149"/>
                <p:cNvSpPr/>
                <p:nvPr/>
              </p:nvSpPr>
              <p:spPr>
                <a:xfrm>
                  <a:off x="8869968" y="3771579"/>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1" name="Oval 150"/>
                <p:cNvSpPr/>
                <p:nvPr/>
              </p:nvSpPr>
              <p:spPr>
                <a:xfrm>
                  <a:off x="9383746" y="4045896"/>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2" name="Oval 151"/>
                <p:cNvSpPr/>
                <p:nvPr/>
              </p:nvSpPr>
              <p:spPr>
                <a:xfrm>
                  <a:off x="9897524" y="4320213"/>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3" name="Oval 152"/>
                <p:cNvSpPr/>
                <p:nvPr/>
              </p:nvSpPr>
              <p:spPr>
                <a:xfrm>
                  <a:off x="10411302" y="4594530"/>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grpSp>
        <p:nvGrpSpPr>
          <p:cNvPr id="137" name="Group 136"/>
          <p:cNvGrpSpPr/>
          <p:nvPr/>
        </p:nvGrpSpPr>
        <p:grpSpPr>
          <a:xfrm>
            <a:off x="5120969" y="298935"/>
            <a:ext cx="908063" cy="1180722"/>
            <a:chOff x="1006214" y="1211287"/>
            <a:chExt cx="3639902" cy="4732835"/>
          </a:xfrm>
          <a:solidFill>
            <a:schemeClr val="bg1"/>
          </a:solidFill>
        </p:grpSpPr>
        <p:sp>
          <p:nvSpPr>
            <p:cNvPr id="138" name="Rectangle 137"/>
            <p:cNvSpPr/>
            <p:nvPr/>
          </p:nvSpPr>
          <p:spPr>
            <a:xfrm>
              <a:off x="2588739" y="1211287"/>
              <a:ext cx="1371585" cy="64007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4" name="Rectangle 223"/>
            <p:cNvSpPr/>
            <p:nvPr/>
          </p:nvSpPr>
          <p:spPr>
            <a:xfrm>
              <a:off x="1034276" y="2582872"/>
              <a:ext cx="1371585" cy="64007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5" name="Rectangle 224"/>
            <p:cNvSpPr/>
            <p:nvPr/>
          </p:nvSpPr>
          <p:spPr>
            <a:xfrm>
              <a:off x="1006214" y="4140425"/>
              <a:ext cx="1371585" cy="64007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6" name="Rectangle 225"/>
            <p:cNvSpPr/>
            <p:nvPr/>
          </p:nvSpPr>
          <p:spPr>
            <a:xfrm>
              <a:off x="3274531" y="2803536"/>
              <a:ext cx="1371585" cy="64007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7" name="Arrow: Bent-Up 226"/>
            <p:cNvSpPr/>
            <p:nvPr/>
          </p:nvSpPr>
          <p:spPr>
            <a:xfrm rot="10800000">
              <a:off x="1445750" y="1417025"/>
              <a:ext cx="822951" cy="868670"/>
            </a:xfrm>
            <a:prstGeom prst="bentUp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8" name="Rectangle 227"/>
            <p:cNvSpPr/>
            <p:nvPr/>
          </p:nvSpPr>
          <p:spPr>
            <a:xfrm>
              <a:off x="2797083" y="5304049"/>
              <a:ext cx="1371585" cy="64007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9" name="Arrow: Down 228"/>
            <p:cNvSpPr/>
            <p:nvPr/>
          </p:nvSpPr>
          <p:spPr>
            <a:xfrm>
              <a:off x="1453067" y="3405823"/>
              <a:ext cx="442562" cy="594352"/>
            </a:xfrm>
            <a:prstGeom prst="down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0" name="Arrow: Down 229"/>
            <p:cNvSpPr/>
            <p:nvPr/>
          </p:nvSpPr>
          <p:spPr>
            <a:xfrm>
              <a:off x="3690678" y="2030272"/>
              <a:ext cx="442562" cy="594352"/>
            </a:xfrm>
            <a:prstGeom prst="down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1" name="Arrow: Bent-Up 230"/>
            <p:cNvSpPr/>
            <p:nvPr/>
          </p:nvSpPr>
          <p:spPr>
            <a:xfrm rot="5400000">
              <a:off x="1625278" y="4941788"/>
              <a:ext cx="822951" cy="868670"/>
            </a:xfrm>
            <a:prstGeom prst="bentUp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2" name="Arrow: Down 231"/>
            <p:cNvSpPr/>
            <p:nvPr/>
          </p:nvSpPr>
          <p:spPr>
            <a:xfrm>
              <a:off x="3491271" y="3577129"/>
              <a:ext cx="442562" cy="1474596"/>
            </a:xfrm>
            <a:prstGeom prst="down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233" name="Group 232"/>
          <p:cNvGrpSpPr/>
          <p:nvPr/>
        </p:nvGrpSpPr>
        <p:grpSpPr>
          <a:xfrm>
            <a:off x="2648131" y="3107852"/>
            <a:ext cx="1375570" cy="1788604"/>
            <a:chOff x="1006214" y="1211287"/>
            <a:chExt cx="3639902" cy="4732835"/>
          </a:xfrm>
          <a:solidFill>
            <a:schemeClr val="bg1"/>
          </a:solidFill>
        </p:grpSpPr>
        <p:sp>
          <p:nvSpPr>
            <p:cNvPr id="234" name="Rectangle 233"/>
            <p:cNvSpPr/>
            <p:nvPr/>
          </p:nvSpPr>
          <p:spPr>
            <a:xfrm>
              <a:off x="2588739" y="1211287"/>
              <a:ext cx="1371585" cy="640073"/>
            </a:xfrm>
            <a:prstGeom prst="rect">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5" name="Rectangle 234"/>
            <p:cNvSpPr/>
            <p:nvPr/>
          </p:nvSpPr>
          <p:spPr>
            <a:xfrm>
              <a:off x="1034276" y="2582872"/>
              <a:ext cx="1371585" cy="640073"/>
            </a:xfrm>
            <a:prstGeom prst="rect">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6" name="Rectangle 235"/>
            <p:cNvSpPr/>
            <p:nvPr/>
          </p:nvSpPr>
          <p:spPr>
            <a:xfrm>
              <a:off x="1006214" y="4140425"/>
              <a:ext cx="1371585" cy="640073"/>
            </a:xfrm>
            <a:prstGeom prst="rect">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7" name="Rectangle 236"/>
            <p:cNvSpPr/>
            <p:nvPr/>
          </p:nvSpPr>
          <p:spPr>
            <a:xfrm>
              <a:off x="3274531" y="2803536"/>
              <a:ext cx="1371585" cy="640073"/>
            </a:xfrm>
            <a:prstGeom prst="rect">
              <a:avLst/>
            </a:prstGeom>
            <a:solidFill>
              <a:srgbClr val="E74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8" name="Arrow: Bent-Up 237"/>
            <p:cNvSpPr/>
            <p:nvPr/>
          </p:nvSpPr>
          <p:spPr>
            <a:xfrm rot="10800000">
              <a:off x="1445750" y="1417025"/>
              <a:ext cx="822951" cy="868670"/>
            </a:xfrm>
            <a:prstGeom prst="bentUp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9" name="Rectangle 238"/>
            <p:cNvSpPr/>
            <p:nvPr/>
          </p:nvSpPr>
          <p:spPr>
            <a:xfrm>
              <a:off x="2797083" y="5304049"/>
              <a:ext cx="1371585" cy="640073"/>
            </a:xfrm>
            <a:prstGeom prst="rect">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40" name="Arrow: Down 239"/>
            <p:cNvSpPr/>
            <p:nvPr/>
          </p:nvSpPr>
          <p:spPr>
            <a:xfrm>
              <a:off x="1453067" y="3405823"/>
              <a:ext cx="442562" cy="594352"/>
            </a:xfrm>
            <a:prstGeom prst="down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41" name="Arrow: Down 240"/>
            <p:cNvSpPr/>
            <p:nvPr/>
          </p:nvSpPr>
          <p:spPr>
            <a:xfrm>
              <a:off x="3690678" y="2030272"/>
              <a:ext cx="442562" cy="594352"/>
            </a:xfrm>
            <a:prstGeom prst="down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42" name="Arrow: Bent-Up 241"/>
            <p:cNvSpPr/>
            <p:nvPr/>
          </p:nvSpPr>
          <p:spPr>
            <a:xfrm rot="5400000">
              <a:off x="1625278" y="4941788"/>
              <a:ext cx="822951" cy="868670"/>
            </a:xfrm>
            <a:prstGeom prst="bentUp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43" name="Arrow: Down 242"/>
            <p:cNvSpPr/>
            <p:nvPr/>
          </p:nvSpPr>
          <p:spPr>
            <a:xfrm>
              <a:off x="3491271" y="3577129"/>
              <a:ext cx="442562" cy="1474596"/>
            </a:xfrm>
            <a:prstGeom prst="down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1" name="Group 10"/>
          <p:cNvGrpSpPr/>
          <p:nvPr/>
        </p:nvGrpSpPr>
        <p:grpSpPr>
          <a:xfrm>
            <a:off x="8893270" y="3176452"/>
            <a:ext cx="3085624" cy="1712025"/>
            <a:chOff x="4830958" y="3598037"/>
            <a:chExt cx="2781746" cy="1543421"/>
          </a:xfrm>
        </p:grpSpPr>
        <p:sp>
          <p:nvSpPr>
            <p:cNvPr id="10" name="Rectangle 9"/>
            <p:cNvSpPr/>
            <p:nvPr/>
          </p:nvSpPr>
          <p:spPr>
            <a:xfrm>
              <a:off x="4938604" y="3598037"/>
              <a:ext cx="2670288" cy="15434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9" name="Group 8"/>
            <p:cNvGrpSpPr/>
            <p:nvPr/>
          </p:nvGrpSpPr>
          <p:grpSpPr>
            <a:xfrm>
              <a:off x="4830958" y="4126044"/>
              <a:ext cx="2777934" cy="1015414"/>
              <a:chOff x="4857037" y="4282510"/>
              <a:chExt cx="3602123" cy="861956"/>
            </a:xfrm>
          </p:grpSpPr>
          <p:grpSp>
            <p:nvGrpSpPr>
              <p:cNvPr id="1028" name="Group 4"/>
              <p:cNvGrpSpPr>
                <a:grpSpLocks noChangeAspect="1"/>
              </p:cNvGrpSpPr>
              <p:nvPr/>
            </p:nvGrpSpPr>
            <p:grpSpPr bwMode="auto">
              <a:xfrm>
                <a:off x="4857037" y="4489488"/>
                <a:ext cx="3213249" cy="654978"/>
                <a:chOff x="3090" y="2458"/>
                <a:chExt cx="1362" cy="766"/>
              </a:xfrm>
              <a:solidFill>
                <a:srgbClr val="E74B3C"/>
              </a:solidFill>
            </p:grpSpPr>
          </p:grpSp>
          <p:sp>
            <p:nvSpPr>
              <p:cNvPr id="5" name="Rectangle 4"/>
              <p:cNvSpPr/>
              <p:nvPr/>
            </p:nvSpPr>
            <p:spPr>
              <a:xfrm>
                <a:off x="4996621" y="4814564"/>
                <a:ext cx="271781" cy="329902"/>
              </a:xfrm>
              <a:prstGeom prst="rect">
                <a:avLst/>
              </a:prstGeom>
              <a:solidFill>
                <a:srgbClr val="E74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44" name="Rectangle 243"/>
              <p:cNvSpPr/>
              <p:nvPr/>
            </p:nvSpPr>
            <p:spPr>
              <a:xfrm>
                <a:off x="5258609" y="4496866"/>
                <a:ext cx="271781" cy="647600"/>
              </a:xfrm>
              <a:prstGeom prst="rect">
                <a:avLst/>
              </a:prstGeom>
              <a:solidFill>
                <a:srgbClr val="E74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45" name="Rectangle 244"/>
              <p:cNvSpPr/>
              <p:nvPr/>
            </p:nvSpPr>
            <p:spPr>
              <a:xfrm>
                <a:off x="5524283" y="4282510"/>
                <a:ext cx="271781" cy="861956"/>
              </a:xfrm>
              <a:prstGeom prst="rect">
                <a:avLst/>
              </a:prstGeom>
              <a:solidFill>
                <a:srgbClr val="E74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46" name="Rectangle 245"/>
              <p:cNvSpPr/>
              <p:nvPr/>
            </p:nvSpPr>
            <p:spPr>
              <a:xfrm>
                <a:off x="5794929" y="4360870"/>
                <a:ext cx="271781" cy="783596"/>
              </a:xfrm>
              <a:prstGeom prst="rect">
                <a:avLst/>
              </a:prstGeom>
              <a:solidFill>
                <a:srgbClr val="E74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47" name="Rectangle 246"/>
              <p:cNvSpPr/>
              <p:nvPr/>
            </p:nvSpPr>
            <p:spPr>
              <a:xfrm>
                <a:off x="6065574" y="4496866"/>
                <a:ext cx="271781" cy="647600"/>
              </a:xfrm>
              <a:prstGeom prst="rect">
                <a:avLst/>
              </a:prstGeom>
              <a:solidFill>
                <a:srgbClr val="E74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48" name="Rectangle 247"/>
              <p:cNvSpPr/>
              <p:nvPr/>
            </p:nvSpPr>
            <p:spPr>
              <a:xfrm>
                <a:off x="6326872" y="4917486"/>
                <a:ext cx="271781" cy="226980"/>
              </a:xfrm>
              <a:prstGeom prst="rect">
                <a:avLst/>
              </a:prstGeom>
              <a:solidFill>
                <a:srgbClr val="E74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49" name="Rectangle 248"/>
              <p:cNvSpPr/>
              <p:nvPr/>
            </p:nvSpPr>
            <p:spPr>
              <a:xfrm>
                <a:off x="6586181" y="5078717"/>
                <a:ext cx="271781" cy="65749"/>
              </a:xfrm>
              <a:prstGeom prst="rect">
                <a:avLst/>
              </a:prstGeom>
              <a:solidFill>
                <a:srgbClr val="E74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50" name="Rectangle 249"/>
              <p:cNvSpPr/>
              <p:nvPr/>
            </p:nvSpPr>
            <p:spPr>
              <a:xfrm>
                <a:off x="6849269" y="5056955"/>
                <a:ext cx="271781" cy="87511"/>
              </a:xfrm>
              <a:prstGeom prst="rect">
                <a:avLst/>
              </a:prstGeom>
              <a:solidFill>
                <a:srgbClr val="E74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51" name="Rectangle 250"/>
              <p:cNvSpPr/>
              <p:nvPr/>
            </p:nvSpPr>
            <p:spPr>
              <a:xfrm>
                <a:off x="7116135" y="4938120"/>
                <a:ext cx="271781" cy="206346"/>
              </a:xfrm>
              <a:prstGeom prst="rect">
                <a:avLst/>
              </a:prstGeom>
              <a:solidFill>
                <a:srgbClr val="E74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52" name="Rectangle 251"/>
              <p:cNvSpPr/>
              <p:nvPr/>
            </p:nvSpPr>
            <p:spPr>
              <a:xfrm>
                <a:off x="7379222" y="4496866"/>
                <a:ext cx="271781" cy="647600"/>
              </a:xfrm>
              <a:prstGeom prst="rect">
                <a:avLst/>
              </a:prstGeom>
              <a:solidFill>
                <a:srgbClr val="E74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53" name="Rectangle 252"/>
              <p:cNvSpPr/>
              <p:nvPr/>
            </p:nvSpPr>
            <p:spPr>
              <a:xfrm>
                <a:off x="7649867" y="4702144"/>
                <a:ext cx="271781" cy="442322"/>
              </a:xfrm>
              <a:prstGeom prst="rect">
                <a:avLst/>
              </a:prstGeom>
              <a:solidFill>
                <a:srgbClr val="E74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54" name="Rectangle 253"/>
              <p:cNvSpPr/>
              <p:nvPr/>
            </p:nvSpPr>
            <p:spPr>
              <a:xfrm>
                <a:off x="7916733" y="5056955"/>
                <a:ext cx="271781" cy="87511"/>
              </a:xfrm>
              <a:prstGeom prst="rect">
                <a:avLst/>
              </a:prstGeom>
              <a:solidFill>
                <a:srgbClr val="E74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59" name="Rectangle 258"/>
              <p:cNvSpPr/>
              <p:nvPr/>
            </p:nvSpPr>
            <p:spPr>
              <a:xfrm>
                <a:off x="8187379" y="5084695"/>
                <a:ext cx="271781" cy="59771"/>
              </a:xfrm>
              <a:prstGeom prst="rect">
                <a:avLst/>
              </a:prstGeom>
              <a:solidFill>
                <a:srgbClr val="E74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60" name="Rectangle 259"/>
            <p:cNvSpPr/>
            <p:nvPr/>
          </p:nvSpPr>
          <p:spPr>
            <a:xfrm>
              <a:off x="4942416" y="3683549"/>
              <a:ext cx="2670288" cy="83876"/>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307608912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44" name="Arrow: Pentagon 43">
            <a:extLst>
              <a:ext uri="{FF2B5EF4-FFF2-40B4-BE49-F238E27FC236}">
                <a16:creationId xmlns:a16="http://schemas.microsoft.com/office/drawing/2014/main" id="{CE0540C3-1263-45D8-BBC5-E11DD2A2EBC3}"/>
              </a:ext>
            </a:extLst>
          </p:cNvPr>
          <p:cNvSpPr/>
          <p:nvPr/>
        </p:nvSpPr>
        <p:spPr>
          <a:xfrm rot="5400000">
            <a:off x="669182" y="-680207"/>
            <a:ext cx="3782603" cy="5120971"/>
          </a:xfrm>
          <a:prstGeom prst="homePlate">
            <a:avLst>
              <a:gd name="adj" fmla="val 3860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 name="Arrow: Bent-Up 3"/>
          <p:cNvSpPr/>
          <p:nvPr/>
        </p:nvSpPr>
        <p:spPr>
          <a:xfrm rot="5400000">
            <a:off x="3048943" y="2796823"/>
            <a:ext cx="3749000" cy="2955343"/>
          </a:xfrm>
          <a:prstGeom prst="bentUpArrow">
            <a:avLst>
              <a:gd name="adj1" fmla="val 11596"/>
              <a:gd name="adj2" fmla="val 14318"/>
              <a:gd name="adj3" fmla="val 25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5" name="Content Placeholder 2"/>
          <p:cNvSpPr txBox="1">
            <a:spLocks/>
          </p:cNvSpPr>
          <p:nvPr/>
        </p:nvSpPr>
        <p:spPr>
          <a:xfrm>
            <a:off x="5403958" y="1643409"/>
            <a:ext cx="7123569" cy="2285974"/>
          </a:xfrm>
          <a:prstGeom prst="rect">
            <a:avLst/>
          </a:prstGeom>
        </p:spPr>
        <p:txBody>
          <a:bodyPr vert="horz" lIns="91440" tIns="45720" rIns="91440" bIns="45720" rtlCol="0">
            <a:noAutofit/>
          </a:bodyPr>
          <a:lstStyle>
            <a:lvl1pPr marL="233145" indent="-233145" algn="l" defTabSz="932578"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34" indent="-233145" algn="l" defTabSz="932578"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23" indent="-233145" algn="l" defTabSz="932578"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12"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01"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590"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879"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169"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458"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0" marR="0" lvl="0" indent="0" algn="l" defTabSz="932578" rtl="0" eaLnBrk="1" fontAlgn="auto" latinLnBrk="0" hangingPunct="1">
              <a:lnSpc>
                <a:spcPct val="90000"/>
              </a:lnSpc>
              <a:spcBef>
                <a:spcPts val="102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prstClr val="black"/>
                </a:solidFill>
                <a:effectLst/>
                <a:uLnTx/>
                <a:uFillTx/>
                <a:latin typeface="Segoe UI Light"/>
                <a:ea typeface="+mn-ea"/>
                <a:cs typeface="+mn-cs"/>
              </a:rPr>
              <a:t>When user-defined procedural code is used, failed nodes and input data can be downloaded to the developer workstation for interactive debugging in Visual Studio.</a:t>
            </a:r>
          </a:p>
        </p:txBody>
      </p:sp>
      <p:grpSp>
        <p:nvGrpSpPr>
          <p:cNvPr id="74" name="Group 73"/>
          <p:cNvGrpSpPr/>
          <p:nvPr/>
        </p:nvGrpSpPr>
        <p:grpSpPr>
          <a:xfrm>
            <a:off x="243786" y="484300"/>
            <a:ext cx="4610152" cy="2560292"/>
            <a:chOff x="8356190" y="2399994"/>
            <a:chExt cx="4445505" cy="2468853"/>
          </a:xfrm>
        </p:grpSpPr>
        <p:grpSp>
          <p:nvGrpSpPr>
            <p:cNvPr id="75" name="Group 74"/>
            <p:cNvGrpSpPr/>
            <p:nvPr/>
          </p:nvGrpSpPr>
          <p:grpSpPr>
            <a:xfrm>
              <a:off x="8356190" y="3497262"/>
              <a:ext cx="2329429" cy="1371585"/>
              <a:chOff x="8356190" y="3497262"/>
              <a:chExt cx="2329429" cy="1371585"/>
            </a:xfrm>
          </p:grpSpPr>
          <p:sp>
            <p:nvSpPr>
              <p:cNvPr id="100" name="Oval 99"/>
              <p:cNvSpPr/>
              <p:nvPr/>
            </p:nvSpPr>
            <p:spPr>
              <a:xfrm>
                <a:off x="8356190" y="3497262"/>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1" name="Oval 100"/>
              <p:cNvSpPr/>
              <p:nvPr/>
            </p:nvSpPr>
            <p:spPr>
              <a:xfrm>
                <a:off x="8869968" y="3771579"/>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02" name="Oval 101"/>
              <p:cNvSpPr/>
              <p:nvPr/>
            </p:nvSpPr>
            <p:spPr>
              <a:xfrm>
                <a:off x="9383746" y="4045896"/>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3" name="Oval 102"/>
              <p:cNvSpPr/>
              <p:nvPr/>
            </p:nvSpPr>
            <p:spPr>
              <a:xfrm>
                <a:off x="9897524" y="4320213"/>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4" name="Oval 103"/>
              <p:cNvSpPr/>
              <p:nvPr/>
            </p:nvSpPr>
            <p:spPr>
              <a:xfrm>
                <a:off x="10411302" y="4594530"/>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76" name="Group 75"/>
            <p:cNvGrpSpPr/>
            <p:nvPr/>
          </p:nvGrpSpPr>
          <p:grpSpPr>
            <a:xfrm>
              <a:off x="8885209" y="3222945"/>
              <a:ext cx="2329429" cy="1371585"/>
              <a:chOff x="8356190" y="3497262"/>
              <a:chExt cx="2329429" cy="1371585"/>
            </a:xfrm>
          </p:grpSpPr>
          <p:sp>
            <p:nvSpPr>
              <p:cNvPr id="95" name="Oval 94"/>
              <p:cNvSpPr/>
              <p:nvPr/>
            </p:nvSpPr>
            <p:spPr>
              <a:xfrm>
                <a:off x="8356190" y="3497262"/>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6" name="Oval 95"/>
              <p:cNvSpPr/>
              <p:nvPr/>
            </p:nvSpPr>
            <p:spPr>
              <a:xfrm>
                <a:off x="8869968" y="3771579"/>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7" name="Oval 96"/>
              <p:cNvSpPr/>
              <p:nvPr/>
            </p:nvSpPr>
            <p:spPr>
              <a:xfrm>
                <a:off x="9383746" y="4045896"/>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8" name="Oval 97"/>
              <p:cNvSpPr/>
              <p:nvPr/>
            </p:nvSpPr>
            <p:spPr>
              <a:xfrm>
                <a:off x="9897524" y="4320213"/>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9" name="Oval 98"/>
              <p:cNvSpPr/>
              <p:nvPr/>
            </p:nvSpPr>
            <p:spPr>
              <a:xfrm>
                <a:off x="10411302" y="4594530"/>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77" name="Group 76"/>
            <p:cNvGrpSpPr/>
            <p:nvPr/>
          </p:nvGrpSpPr>
          <p:grpSpPr>
            <a:xfrm>
              <a:off x="9414228" y="2948628"/>
              <a:ext cx="2329429" cy="1371585"/>
              <a:chOff x="8356190" y="3497262"/>
              <a:chExt cx="2329429" cy="1371585"/>
            </a:xfrm>
          </p:grpSpPr>
          <p:sp>
            <p:nvSpPr>
              <p:cNvPr id="90" name="Oval 89"/>
              <p:cNvSpPr/>
              <p:nvPr/>
            </p:nvSpPr>
            <p:spPr>
              <a:xfrm>
                <a:off x="8356190" y="3497262"/>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1" name="Oval 90"/>
              <p:cNvSpPr/>
              <p:nvPr/>
            </p:nvSpPr>
            <p:spPr>
              <a:xfrm>
                <a:off x="8869968" y="3771579"/>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2" name="Oval 91"/>
              <p:cNvSpPr/>
              <p:nvPr/>
            </p:nvSpPr>
            <p:spPr>
              <a:xfrm>
                <a:off x="9383746" y="4045896"/>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3" name="Oval 92"/>
              <p:cNvSpPr/>
              <p:nvPr/>
            </p:nvSpPr>
            <p:spPr>
              <a:xfrm>
                <a:off x="9897524" y="4320213"/>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4" name="Oval 93"/>
              <p:cNvSpPr/>
              <p:nvPr/>
            </p:nvSpPr>
            <p:spPr>
              <a:xfrm>
                <a:off x="10411302" y="4594530"/>
                <a:ext cx="274317" cy="274317"/>
              </a:xfrm>
              <a:prstGeom prst="ellipse">
                <a:avLst/>
              </a:prstGeom>
              <a:solidFill>
                <a:srgbClr val="FFC000"/>
              </a:solidFill>
              <a:ln w="123825" cmpd="dbl">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grpSp>
        <p:grpSp>
          <p:nvGrpSpPr>
            <p:cNvPr id="78" name="Group 77"/>
            <p:cNvGrpSpPr/>
            <p:nvPr/>
          </p:nvGrpSpPr>
          <p:grpSpPr>
            <a:xfrm>
              <a:off x="9943247" y="2674311"/>
              <a:ext cx="2329429" cy="1371585"/>
              <a:chOff x="8356190" y="3497262"/>
              <a:chExt cx="2329429" cy="1371585"/>
            </a:xfrm>
          </p:grpSpPr>
          <p:sp>
            <p:nvSpPr>
              <p:cNvPr id="85" name="Oval 84"/>
              <p:cNvSpPr/>
              <p:nvPr/>
            </p:nvSpPr>
            <p:spPr>
              <a:xfrm>
                <a:off x="8356190" y="3497262"/>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6" name="Oval 85"/>
              <p:cNvSpPr/>
              <p:nvPr/>
            </p:nvSpPr>
            <p:spPr>
              <a:xfrm>
                <a:off x="8869968" y="3771579"/>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7" name="Oval 86"/>
              <p:cNvSpPr/>
              <p:nvPr/>
            </p:nvSpPr>
            <p:spPr>
              <a:xfrm>
                <a:off x="9383746" y="4045896"/>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8" name="Oval 87"/>
              <p:cNvSpPr/>
              <p:nvPr/>
            </p:nvSpPr>
            <p:spPr>
              <a:xfrm>
                <a:off x="9897524" y="4320213"/>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9" name="Oval 88"/>
              <p:cNvSpPr/>
              <p:nvPr/>
            </p:nvSpPr>
            <p:spPr>
              <a:xfrm>
                <a:off x="10411302" y="4594530"/>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79" name="Group 78"/>
            <p:cNvGrpSpPr/>
            <p:nvPr/>
          </p:nvGrpSpPr>
          <p:grpSpPr>
            <a:xfrm>
              <a:off x="10472266" y="2399994"/>
              <a:ext cx="2329429" cy="1371585"/>
              <a:chOff x="8356190" y="3497262"/>
              <a:chExt cx="2329429" cy="1371585"/>
            </a:xfrm>
          </p:grpSpPr>
          <p:sp>
            <p:nvSpPr>
              <p:cNvPr id="80" name="Oval 79"/>
              <p:cNvSpPr/>
              <p:nvPr/>
            </p:nvSpPr>
            <p:spPr>
              <a:xfrm>
                <a:off x="8356190" y="3497262"/>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1" name="Oval 80"/>
              <p:cNvSpPr/>
              <p:nvPr/>
            </p:nvSpPr>
            <p:spPr>
              <a:xfrm>
                <a:off x="8869968" y="3771579"/>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2" name="Oval 81"/>
              <p:cNvSpPr/>
              <p:nvPr/>
            </p:nvSpPr>
            <p:spPr>
              <a:xfrm>
                <a:off x="9383746" y="4045896"/>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3" name="Oval 82"/>
              <p:cNvSpPr/>
              <p:nvPr/>
            </p:nvSpPr>
            <p:spPr>
              <a:xfrm>
                <a:off x="9897524" y="4320213"/>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4" name="Oval 83"/>
              <p:cNvSpPr/>
              <p:nvPr/>
            </p:nvSpPr>
            <p:spPr>
              <a:xfrm>
                <a:off x="10411302" y="4594530"/>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255" name="Group 254"/>
          <p:cNvGrpSpPr>
            <a:grpSpLocks noChangeAspect="1"/>
          </p:cNvGrpSpPr>
          <p:nvPr/>
        </p:nvGrpSpPr>
        <p:grpSpPr>
          <a:xfrm>
            <a:off x="6823916" y="5279652"/>
            <a:ext cx="1405979" cy="1235097"/>
            <a:chOff x="13060789" y="5431985"/>
            <a:chExt cx="2063750" cy="1812925"/>
          </a:xfrm>
          <a:solidFill>
            <a:schemeClr val="tx1"/>
          </a:solidFill>
        </p:grpSpPr>
        <p:sp>
          <p:nvSpPr>
            <p:cNvPr id="256" name="Freeform 51"/>
            <p:cNvSpPr>
              <a:spLocks/>
            </p:cNvSpPr>
            <p:nvPr/>
          </p:nvSpPr>
          <p:spPr bwMode="auto">
            <a:xfrm>
              <a:off x="13060789" y="6933760"/>
              <a:ext cx="2063750" cy="311150"/>
            </a:xfrm>
            <a:custGeom>
              <a:avLst/>
              <a:gdLst>
                <a:gd name="T0" fmla="*/ 1104 w 1300"/>
                <a:gd name="T1" fmla="*/ 0 h 196"/>
                <a:gd name="T2" fmla="*/ 175 w 1300"/>
                <a:gd name="T3" fmla="*/ 0 h 196"/>
                <a:gd name="T4" fmla="*/ 0 w 1300"/>
                <a:gd name="T5" fmla="*/ 196 h 196"/>
                <a:gd name="T6" fmla="*/ 1300 w 1300"/>
                <a:gd name="T7" fmla="*/ 196 h 196"/>
                <a:gd name="T8" fmla="*/ 1104 w 1300"/>
                <a:gd name="T9" fmla="*/ 0 h 196"/>
              </a:gdLst>
              <a:ahLst/>
              <a:cxnLst>
                <a:cxn ang="0">
                  <a:pos x="T0" y="T1"/>
                </a:cxn>
                <a:cxn ang="0">
                  <a:pos x="T2" y="T3"/>
                </a:cxn>
                <a:cxn ang="0">
                  <a:pos x="T4" y="T5"/>
                </a:cxn>
                <a:cxn ang="0">
                  <a:pos x="T6" y="T7"/>
                </a:cxn>
                <a:cxn ang="0">
                  <a:pos x="T8" y="T9"/>
                </a:cxn>
              </a:cxnLst>
              <a:rect l="0" t="0" r="r" b="b"/>
              <a:pathLst>
                <a:path w="1300" h="196">
                  <a:moveTo>
                    <a:pt x="1104" y="0"/>
                  </a:moveTo>
                  <a:lnTo>
                    <a:pt x="175" y="0"/>
                  </a:lnTo>
                  <a:lnTo>
                    <a:pt x="0" y="196"/>
                  </a:lnTo>
                  <a:lnTo>
                    <a:pt x="1300" y="196"/>
                  </a:lnTo>
                  <a:lnTo>
                    <a:pt x="1104"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45" tIns="74436" rIns="93045" bIns="74436" numCol="1" spcCol="0" rtlCol="0" fromWordArt="0" anchor="t" anchorCtr="0" forceAA="0" compatLnSpc="1">
              <a:prstTxWarp prst="textNoShape">
                <a:avLst/>
              </a:prstTxWarp>
              <a:noAutofit/>
            </a:bodyPr>
            <a:lstStyle/>
            <a:p>
              <a:pPr marL="0" marR="0" lvl="0" indent="0" algn="ctr" defTabSz="474372" rtl="0" eaLnBrk="1" fontAlgn="base" latinLnBrk="0" hangingPunct="1">
                <a:lnSpc>
                  <a:spcPct val="90000"/>
                </a:lnSpc>
                <a:spcBef>
                  <a:spcPct val="0"/>
                </a:spcBef>
                <a:spcAft>
                  <a:spcPct val="0"/>
                </a:spcAft>
                <a:buClrTx/>
                <a:buSzTx/>
                <a:buFontTx/>
                <a:buNone/>
                <a:tabLst/>
                <a:defRPr/>
              </a:pPr>
              <a:endParaRPr kumimoji="0" lang="en-US" sz="122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7" name="Freeform 1259"/>
            <p:cNvSpPr>
              <a:spLocks/>
            </p:cNvSpPr>
            <p:nvPr/>
          </p:nvSpPr>
          <p:spPr bwMode="auto">
            <a:xfrm>
              <a:off x="13106827" y="5431985"/>
              <a:ext cx="1971675" cy="1409700"/>
            </a:xfrm>
            <a:custGeom>
              <a:avLst/>
              <a:gdLst>
                <a:gd name="connsiteX0" fmla="*/ 427036 w 1971675"/>
                <a:gd name="connsiteY0" fmla="*/ 1374775 h 1409700"/>
                <a:gd name="connsiteX1" fmla="*/ 1544636 w 1971675"/>
                <a:gd name="connsiteY1" fmla="*/ 1374775 h 1409700"/>
                <a:gd name="connsiteX2" fmla="*/ 1544636 w 1971675"/>
                <a:gd name="connsiteY2" fmla="*/ 1409700 h 1409700"/>
                <a:gd name="connsiteX3" fmla="*/ 427036 w 1971675"/>
                <a:gd name="connsiteY3" fmla="*/ 1409700 h 1409700"/>
                <a:gd name="connsiteX4" fmla="*/ 104775 w 1971675"/>
                <a:gd name="connsiteY4" fmla="*/ 104775 h 1409700"/>
                <a:gd name="connsiteX5" fmla="*/ 104775 w 1971675"/>
                <a:gd name="connsiteY5" fmla="*/ 1028700 h 1409700"/>
                <a:gd name="connsiteX6" fmla="*/ 761999 w 1971675"/>
                <a:gd name="connsiteY6" fmla="*/ 1028700 h 1409700"/>
                <a:gd name="connsiteX7" fmla="*/ 1198562 w 1971675"/>
                <a:gd name="connsiteY7" fmla="*/ 1028700 h 1409700"/>
                <a:gd name="connsiteX8" fmla="*/ 1879600 w 1971675"/>
                <a:gd name="connsiteY8" fmla="*/ 1028700 h 1409700"/>
                <a:gd name="connsiteX9" fmla="*/ 1879600 w 1971675"/>
                <a:gd name="connsiteY9" fmla="*/ 104775 h 1409700"/>
                <a:gd name="connsiteX10" fmla="*/ 985837 w 1971675"/>
                <a:gd name="connsiteY10" fmla="*/ 23812 h 1409700"/>
                <a:gd name="connsiteX11" fmla="*/ 957262 w 1971675"/>
                <a:gd name="connsiteY11" fmla="*/ 46831 h 1409700"/>
                <a:gd name="connsiteX12" fmla="*/ 985837 w 1971675"/>
                <a:gd name="connsiteY12" fmla="*/ 69850 h 1409700"/>
                <a:gd name="connsiteX13" fmla="*/ 1014412 w 1971675"/>
                <a:gd name="connsiteY13" fmla="*/ 46831 h 1409700"/>
                <a:gd name="connsiteX14" fmla="*/ 985837 w 1971675"/>
                <a:gd name="connsiteY14" fmla="*/ 23812 h 1409700"/>
                <a:gd name="connsiteX15" fmla="*/ 103772 w 1971675"/>
                <a:gd name="connsiteY15" fmla="*/ 0 h 1409700"/>
                <a:gd name="connsiteX16" fmla="*/ 1856372 w 1971675"/>
                <a:gd name="connsiteY16" fmla="*/ 0 h 1409700"/>
                <a:gd name="connsiteX17" fmla="*/ 1971675 w 1971675"/>
                <a:gd name="connsiteY17" fmla="*/ 103909 h 1409700"/>
                <a:gd name="connsiteX18" fmla="*/ 1971675 w 1971675"/>
                <a:gd name="connsiteY18" fmla="*/ 1027546 h 1409700"/>
                <a:gd name="connsiteX19" fmla="*/ 1856372 w 1971675"/>
                <a:gd name="connsiteY19" fmla="*/ 1143000 h 1409700"/>
                <a:gd name="connsiteX20" fmla="*/ 1277877 w 1971675"/>
                <a:gd name="connsiteY20" fmla="*/ 1143000 h 1409700"/>
                <a:gd name="connsiteX21" fmla="*/ 1198562 w 1971675"/>
                <a:gd name="connsiteY21" fmla="*/ 1143000 h 1409700"/>
                <a:gd name="connsiteX22" fmla="*/ 1198562 w 1971675"/>
                <a:gd name="connsiteY22" fmla="*/ 1212850 h 1409700"/>
                <a:gd name="connsiteX23" fmla="*/ 1198562 w 1971675"/>
                <a:gd name="connsiteY23" fmla="*/ 1258887 h 1409700"/>
                <a:gd name="connsiteX24" fmla="*/ 1452561 w 1971675"/>
                <a:gd name="connsiteY24" fmla="*/ 1258887 h 1409700"/>
                <a:gd name="connsiteX25" fmla="*/ 1544636 w 1971675"/>
                <a:gd name="connsiteY25" fmla="*/ 1374774 h 1409700"/>
                <a:gd name="connsiteX26" fmla="*/ 427036 w 1971675"/>
                <a:gd name="connsiteY26" fmla="*/ 1374774 h 1409700"/>
                <a:gd name="connsiteX27" fmla="*/ 519111 w 1971675"/>
                <a:gd name="connsiteY27" fmla="*/ 1258887 h 1409700"/>
                <a:gd name="connsiteX28" fmla="*/ 761999 w 1971675"/>
                <a:gd name="connsiteY28" fmla="*/ 1258887 h 1409700"/>
                <a:gd name="connsiteX29" fmla="*/ 761999 w 1971675"/>
                <a:gd name="connsiteY29" fmla="*/ 1212850 h 1409700"/>
                <a:gd name="connsiteX30" fmla="*/ 761999 w 1971675"/>
                <a:gd name="connsiteY30" fmla="*/ 1143000 h 1409700"/>
                <a:gd name="connsiteX31" fmla="*/ 673281 w 1971675"/>
                <a:gd name="connsiteY31" fmla="*/ 1143000 h 1409700"/>
                <a:gd name="connsiteX32" fmla="*/ 103772 w 1971675"/>
                <a:gd name="connsiteY32" fmla="*/ 1143000 h 1409700"/>
                <a:gd name="connsiteX33" fmla="*/ 0 w 1971675"/>
                <a:gd name="connsiteY33" fmla="*/ 1027546 h 1409700"/>
                <a:gd name="connsiteX34" fmla="*/ 0 w 1971675"/>
                <a:gd name="connsiteY34" fmla="*/ 103909 h 1409700"/>
                <a:gd name="connsiteX35" fmla="*/ 103772 w 1971675"/>
                <a:gd name="connsiteY35" fmla="*/ 0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971675" h="1409700">
                  <a:moveTo>
                    <a:pt x="427036" y="1374775"/>
                  </a:moveTo>
                  <a:lnTo>
                    <a:pt x="1544636" y="1374775"/>
                  </a:lnTo>
                  <a:lnTo>
                    <a:pt x="1544636" y="1409700"/>
                  </a:lnTo>
                  <a:lnTo>
                    <a:pt x="427036" y="1409700"/>
                  </a:lnTo>
                  <a:close/>
                  <a:moveTo>
                    <a:pt x="104775" y="104775"/>
                  </a:moveTo>
                  <a:lnTo>
                    <a:pt x="104775" y="1028700"/>
                  </a:lnTo>
                  <a:lnTo>
                    <a:pt x="761999" y="1028700"/>
                  </a:lnTo>
                  <a:lnTo>
                    <a:pt x="1198562" y="1028700"/>
                  </a:lnTo>
                  <a:lnTo>
                    <a:pt x="1879600" y="1028700"/>
                  </a:lnTo>
                  <a:lnTo>
                    <a:pt x="1879600" y="104775"/>
                  </a:lnTo>
                  <a:close/>
                  <a:moveTo>
                    <a:pt x="985837" y="23812"/>
                  </a:moveTo>
                  <a:cubicBezTo>
                    <a:pt x="970055" y="23812"/>
                    <a:pt x="957262" y="34118"/>
                    <a:pt x="957262" y="46831"/>
                  </a:cubicBezTo>
                  <a:cubicBezTo>
                    <a:pt x="957262" y="59544"/>
                    <a:pt x="970055" y="69850"/>
                    <a:pt x="985837" y="69850"/>
                  </a:cubicBezTo>
                  <a:cubicBezTo>
                    <a:pt x="1001619" y="69850"/>
                    <a:pt x="1014412" y="59544"/>
                    <a:pt x="1014412" y="46831"/>
                  </a:cubicBezTo>
                  <a:cubicBezTo>
                    <a:pt x="1014412" y="34118"/>
                    <a:pt x="1001619" y="23812"/>
                    <a:pt x="985837" y="23812"/>
                  </a:cubicBezTo>
                  <a:close/>
                  <a:moveTo>
                    <a:pt x="103772" y="0"/>
                  </a:moveTo>
                  <a:cubicBezTo>
                    <a:pt x="1856372" y="0"/>
                    <a:pt x="1856372" y="0"/>
                    <a:pt x="1856372" y="0"/>
                  </a:cubicBezTo>
                  <a:cubicBezTo>
                    <a:pt x="1925554" y="0"/>
                    <a:pt x="1971675" y="46182"/>
                    <a:pt x="1971675" y="103909"/>
                  </a:cubicBezTo>
                  <a:lnTo>
                    <a:pt x="1971675" y="1027546"/>
                  </a:lnTo>
                  <a:cubicBezTo>
                    <a:pt x="1971675" y="1085273"/>
                    <a:pt x="1925554" y="1143000"/>
                    <a:pt x="1856372" y="1143000"/>
                  </a:cubicBezTo>
                  <a:cubicBezTo>
                    <a:pt x="1637297" y="1143000"/>
                    <a:pt x="1445606" y="1143000"/>
                    <a:pt x="1277877" y="1143000"/>
                  </a:cubicBezTo>
                  <a:lnTo>
                    <a:pt x="1198562" y="1143000"/>
                  </a:lnTo>
                  <a:lnTo>
                    <a:pt x="1198562" y="1212850"/>
                  </a:lnTo>
                  <a:lnTo>
                    <a:pt x="1198562" y="1258887"/>
                  </a:lnTo>
                  <a:lnTo>
                    <a:pt x="1452561" y="1258887"/>
                  </a:lnTo>
                  <a:lnTo>
                    <a:pt x="1544636" y="1374774"/>
                  </a:lnTo>
                  <a:lnTo>
                    <a:pt x="427036" y="1374774"/>
                  </a:lnTo>
                  <a:lnTo>
                    <a:pt x="519111" y="1258887"/>
                  </a:lnTo>
                  <a:lnTo>
                    <a:pt x="761999" y="1258887"/>
                  </a:lnTo>
                  <a:lnTo>
                    <a:pt x="761999" y="1212850"/>
                  </a:lnTo>
                  <a:lnTo>
                    <a:pt x="761999" y="1143000"/>
                  </a:lnTo>
                  <a:lnTo>
                    <a:pt x="673281" y="1143000"/>
                  </a:lnTo>
                  <a:cubicBezTo>
                    <a:pt x="103772" y="1143000"/>
                    <a:pt x="103772" y="1143000"/>
                    <a:pt x="103772" y="1143000"/>
                  </a:cubicBezTo>
                  <a:cubicBezTo>
                    <a:pt x="46121" y="1143000"/>
                    <a:pt x="0" y="1085273"/>
                    <a:pt x="0" y="1027546"/>
                  </a:cubicBezTo>
                  <a:cubicBezTo>
                    <a:pt x="0" y="103909"/>
                    <a:pt x="0" y="103909"/>
                    <a:pt x="0" y="103909"/>
                  </a:cubicBezTo>
                  <a:cubicBezTo>
                    <a:pt x="0" y="46182"/>
                    <a:pt x="46121" y="0"/>
                    <a:pt x="103772" y="0"/>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45" tIns="74436" rIns="93045" bIns="74436" numCol="1" spcCol="0" rtlCol="0" fromWordArt="0" anchor="t" anchorCtr="0" forceAA="0" compatLnSpc="1">
              <a:prstTxWarp prst="textNoShape">
                <a:avLst/>
              </a:prstTxWarp>
              <a:noAutofit/>
            </a:bodyPr>
            <a:lstStyle/>
            <a:p>
              <a:pPr marL="0" marR="0" lvl="0" indent="0" algn="ctr" defTabSz="474372" rtl="0" eaLnBrk="1" fontAlgn="base" latinLnBrk="0" hangingPunct="1">
                <a:lnSpc>
                  <a:spcPct val="90000"/>
                </a:lnSpc>
                <a:spcBef>
                  <a:spcPct val="0"/>
                </a:spcBef>
                <a:spcAft>
                  <a:spcPct val="0"/>
                </a:spcAft>
                <a:buClrTx/>
                <a:buSzTx/>
                <a:buFontTx/>
                <a:buNone/>
                <a:tabLst/>
                <a:defRPr/>
              </a:pPr>
              <a:endParaRPr kumimoji="0" lang="en-US" sz="122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8" name="Oval 257"/>
          <p:cNvSpPr/>
          <p:nvPr/>
        </p:nvSpPr>
        <p:spPr>
          <a:xfrm>
            <a:off x="7433886" y="5573809"/>
            <a:ext cx="186038" cy="186038"/>
          </a:xfrm>
          <a:prstGeom prst="ellipse">
            <a:avLst/>
          </a:prstGeom>
          <a:solidFill>
            <a:srgbClr val="FFC000"/>
          </a:solidFill>
          <a:ln w="123825" cmpd="dbl">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 name="Title 16"/>
          <p:cNvSpPr>
            <a:spLocks noGrp="1"/>
          </p:cNvSpPr>
          <p:nvPr>
            <p:ph type="title"/>
          </p:nvPr>
        </p:nvSpPr>
        <p:spPr>
          <a:xfrm>
            <a:off x="5403958" y="194292"/>
            <a:ext cx="7580765" cy="1513687"/>
          </a:xfrm>
        </p:spPr>
        <p:txBody>
          <a:bodyPr/>
          <a:lstStyle/>
          <a:p>
            <a:r>
              <a:rPr lang="en-US" dirty="0"/>
              <a:t>Debugging user code errors</a:t>
            </a:r>
          </a:p>
        </p:txBody>
      </p:sp>
      <p:grpSp>
        <p:nvGrpSpPr>
          <p:cNvPr id="5" name="Group 4"/>
          <p:cNvGrpSpPr/>
          <p:nvPr/>
        </p:nvGrpSpPr>
        <p:grpSpPr>
          <a:xfrm>
            <a:off x="2926432" y="4014727"/>
            <a:ext cx="1419823" cy="1036998"/>
            <a:chOff x="3241568" y="4148147"/>
            <a:chExt cx="1343104" cy="1004757"/>
          </a:xfrm>
          <a:solidFill>
            <a:schemeClr val="tx1">
              <a:lumMod val="75000"/>
              <a:lumOff val="25000"/>
            </a:schemeClr>
          </a:solidFill>
        </p:grpSpPr>
        <p:sp>
          <p:nvSpPr>
            <p:cNvPr id="2" name="Rectangle 1"/>
            <p:cNvSpPr/>
            <p:nvPr/>
          </p:nvSpPr>
          <p:spPr>
            <a:xfrm>
              <a:off x="3241568" y="4148147"/>
              <a:ext cx="1343104" cy="2743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Segoe UI"/>
                  <a:ea typeface="+mn-ea"/>
                  <a:cs typeface="+mn-cs"/>
                </a:rPr>
                <a:t>USER CODE</a:t>
              </a:r>
            </a:p>
          </p:txBody>
        </p:sp>
        <p:sp>
          <p:nvSpPr>
            <p:cNvPr id="42" name="Rectangle 41"/>
            <p:cNvSpPr/>
            <p:nvPr/>
          </p:nvSpPr>
          <p:spPr>
            <a:xfrm>
              <a:off x="3241568" y="4506677"/>
              <a:ext cx="1343104" cy="2743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Segoe UI"/>
                  <a:ea typeface="+mn-ea"/>
                  <a:cs typeface="+mn-cs"/>
                </a:rPr>
                <a:t>U-SQL RUNTIME</a:t>
              </a:r>
            </a:p>
          </p:txBody>
        </p:sp>
        <p:sp>
          <p:nvSpPr>
            <p:cNvPr id="47" name="Rectangle 46"/>
            <p:cNvSpPr/>
            <p:nvPr/>
          </p:nvSpPr>
          <p:spPr>
            <a:xfrm>
              <a:off x="3241568" y="4878587"/>
              <a:ext cx="1343104" cy="2743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Segoe UI"/>
                  <a:ea typeface="+mn-ea"/>
                  <a:cs typeface="+mn-cs"/>
                </a:rPr>
                <a:t>INPUT DATA</a:t>
              </a:r>
            </a:p>
          </p:txBody>
        </p:sp>
      </p:grpSp>
    </p:spTree>
    <p:extLst>
      <p:ext uri="{BB962C8B-B14F-4D97-AF65-F5344CB8AC3E}">
        <p14:creationId xmlns:p14="http://schemas.microsoft.com/office/powerpoint/2010/main" val="288629140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3" name="Arrow: Pentagon 2">
            <a:extLst>
              <a:ext uri="{FF2B5EF4-FFF2-40B4-BE49-F238E27FC236}">
                <a16:creationId xmlns:a16="http://schemas.microsoft.com/office/drawing/2014/main" id="{E2693F9C-478C-4865-8A05-ABB7F040F4F3}"/>
              </a:ext>
            </a:extLst>
          </p:cNvPr>
          <p:cNvSpPr/>
          <p:nvPr/>
        </p:nvSpPr>
        <p:spPr>
          <a:xfrm>
            <a:off x="386" y="22580"/>
            <a:ext cx="5319568" cy="7040803"/>
          </a:xfrm>
          <a:prstGeom prst="homePlate">
            <a:avLst>
              <a:gd name="adj" fmla="val 1954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5669604" y="205116"/>
            <a:ext cx="6675046" cy="1288291"/>
          </a:xfrm>
        </p:spPr>
        <p:txBody>
          <a:bodyPr>
            <a:normAutofit/>
          </a:bodyPr>
          <a:lstStyle/>
          <a:p>
            <a:r>
              <a:rPr lang="en-US" sz="4000" dirty="0"/>
              <a:t>Query multiple data sources in a single U-SQL Query</a:t>
            </a:r>
          </a:p>
        </p:txBody>
      </p:sp>
      <p:grpSp>
        <p:nvGrpSpPr>
          <p:cNvPr id="29" name="Group 28"/>
          <p:cNvGrpSpPr/>
          <p:nvPr/>
        </p:nvGrpSpPr>
        <p:grpSpPr>
          <a:xfrm>
            <a:off x="8906338" y="3103997"/>
            <a:ext cx="699303" cy="925548"/>
            <a:chOff x="9966057" y="1843677"/>
            <a:chExt cx="863355" cy="1142676"/>
          </a:xfrm>
        </p:grpSpPr>
        <p:sp>
          <p:nvSpPr>
            <p:cNvPr id="30" name="Freeform 22"/>
            <p:cNvSpPr>
              <a:spLocks/>
            </p:cNvSpPr>
            <p:nvPr/>
          </p:nvSpPr>
          <p:spPr bwMode="auto">
            <a:xfrm>
              <a:off x="9966057" y="1999208"/>
              <a:ext cx="431678" cy="987145"/>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78" tIns="38088" rIns="76178" bIns="38088" numCol="1" anchor="t" anchorCtr="0" compatLnSpc="1">
              <a:prstTxWarp prst="textNoShape">
                <a:avLst/>
              </a:prstTxWarp>
            </a:bodyPr>
            <a:lstStyle/>
            <a:p>
              <a:pPr marL="0" marR="0" lvl="0" indent="0" algn="l" defTabSz="76167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0B0F0"/>
                </a:solidFill>
                <a:effectLst/>
                <a:uLnTx/>
                <a:uFillTx/>
                <a:latin typeface="Segoe UI Light" panose="020B0502040204020203" pitchFamily="34" charset="0"/>
                <a:ea typeface="+mn-ea"/>
                <a:cs typeface="Segoe UI Light" panose="020B0502040204020203" pitchFamily="34" charset="0"/>
              </a:endParaRPr>
            </a:p>
          </p:txBody>
        </p:sp>
        <p:sp>
          <p:nvSpPr>
            <p:cNvPr id="31" name="Freeform 23"/>
            <p:cNvSpPr>
              <a:spLocks/>
            </p:cNvSpPr>
            <p:nvPr/>
          </p:nvSpPr>
          <p:spPr bwMode="auto">
            <a:xfrm>
              <a:off x="10392973" y="1999208"/>
              <a:ext cx="436439" cy="987145"/>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78" tIns="38088" rIns="76178" bIns="38088" numCol="1" anchor="t" anchorCtr="0" compatLnSpc="1">
              <a:prstTxWarp prst="textNoShape">
                <a:avLst/>
              </a:prstTxWarp>
            </a:bodyPr>
            <a:lstStyle/>
            <a:p>
              <a:pPr marL="0" marR="0" lvl="0" indent="0" algn="l" defTabSz="76167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0B0F0"/>
                </a:solidFill>
                <a:effectLst/>
                <a:uLnTx/>
                <a:uFillTx/>
                <a:latin typeface="Segoe UI Light" panose="020B0502040204020203" pitchFamily="34" charset="0"/>
                <a:ea typeface="+mn-ea"/>
                <a:cs typeface="Segoe UI Light" panose="020B0502040204020203" pitchFamily="34" charset="0"/>
              </a:endParaRPr>
            </a:p>
          </p:txBody>
        </p:sp>
        <p:sp>
          <p:nvSpPr>
            <p:cNvPr id="32" name="Oval 24"/>
            <p:cNvSpPr>
              <a:spLocks noChangeArrowheads="1"/>
            </p:cNvSpPr>
            <p:nvPr/>
          </p:nvSpPr>
          <p:spPr bwMode="auto">
            <a:xfrm>
              <a:off x="9966057" y="1843677"/>
              <a:ext cx="863355" cy="3110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78" tIns="38088" rIns="76178" bIns="38088" numCol="1" anchor="t" anchorCtr="0" compatLnSpc="1">
              <a:prstTxWarp prst="textNoShape">
                <a:avLst/>
              </a:prstTxWarp>
            </a:bodyPr>
            <a:lstStyle/>
            <a:p>
              <a:pPr marL="0" marR="0" lvl="0" indent="0" algn="l" defTabSz="76167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0B0F0"/>
                </a:solidFill>
                <a:effectLst/>
                <a:uLnTx/>
                <a:uFillTx/>
                <a:latin typeface="Segoe UI Light" panose="020B0502040204020203" pitchFamily="34" charset="0"/>
                <a:ea typeface="+mn-ea"/>
                <a:cs typeface="Segoe UI Light" panose="020B0502040204020203" pitchFamily="34" charset="0"/>
              </a:endParaRPr>
            </a:p>
          </p:txBody>
        </p:sp>
        <p:sp>
          <p:nvSpPr>
            <p:cNvPr id="33" name="Oval 25"/>
            <p:cNvSpPr>
              <a:spLocks noChangeArrowheads="1"/>
            </p:cNvSpPr>
            <p:nvPr/>
          </p:nvSpPr>
          <p:spPr bwMode="auto">
            <a:xfrm>
              <a:off x="10053345" y="1884940"/>
              <a:ext cx="688780" cy="206317"/>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78" tIns="38088" rIns="76178" bIns="38088" numCol="1" anchor="t" anchorCtr="0" compatLnSpc="1">
              <a:prstTxWarp prst="textNoShape">
                <a:avLst/>
              </a:prstTxWarp>
            </a:bodyPr>
            <a:lstStyle/>
            <a:p>
              <a:pPr marL="0" marR="0" lvl="0" indent="0" algn="l" defTabSz="76167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0B0F0"/>
                </a:solidFill>
                <a:effectLst/>
                <a:uLnTx/>
                <a:uFillTx/>
                <a:latin typeface="Segoe UI Light" panose="020B0502040204020203" pitchFamily="34" charset="0"/>
                <a:ea typeface="+mn-ea"/>
                <a:cs typeface="Segoe UI Light" panose="020B0502040204020203" pitchFamily="34" charset="0"/>
              </a:endParaRPr>
            </a:p>
          </p:txBody>
        </p:sp>
        <p:sp>
          <p:nvSpPr>
            <p:cNvPr id="34" name="Freeform 26"/>
            <p:cNvSpPr>
              <a:spLocks/>
            </p:cNvSpPr>
            <p:nvPr/>
          </p:nvSpPr>
          <p:spPr bwMode="auto">
            <a:xfrm>
              <a:off x="10053345" y="1884940"/>
              <a:ext cx="688780" cy="168227"/>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78" tIns="38088" rIns="76178" bIns="38088" numCol="1" anchor="t" anchorCtr="0" compatLnSpc="1">
              <a:prstTxWarp prst="textNoShape">
                <a:avLst/>
              </a:prstTxWarp>
            </a:bodyPr>
            <a:lstStyle/>
            <a:p>
              <a:pPr marL="0" marR="0" lvl="0" indent="0" algn="l" defTabSz="76167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0B0F0"/>
                </a:solidFill>
                <a:effectLst/>
                <a:uLnTx/>
                <a:uFillTx/>
                <a:latin typeface="Segoe UI Light" panose="020B0502040204020203" pitchFamily="34" charset="0"/>
                <a:ea typeface="+mn-ea"/>
                <a:cs typeface="Segoe UI Light" panose="020B0502040204020203" pitchFamily="34" charset="0"/>
              </a:endParaRPr>
            </a:p>
          </p:txBody>
        </p:sp>
      </p:grpSp>
      <p:grpSp>
        <p:nvGrpSpPr>
          <p:cNvPr id="35" name="Group 34"/>
          <p:cNvGrpSpPr/>
          <p:nvPr/>
        </p:nvGrpSpPr>
        <p:grpSpPr>
          <a:xfrm>
            <a:off x="8906338" y="1719902"/>
            <a:ext cx="699303" cy="925548"/>
            <a:chOff x="9966057" y="1843677"/>
            <a:chExt cx="863355" cy="1142676"/>
          </a:xfrm>
        </p:grpSpPr>
        <p:sp>
          <p:nvSpPr>
            <p:cNvPr id="36" name="Freeform 22"/>
            <p:cNvSpPr>
              <a:spLocks/>
            </p:cNvSpPr>
            <p:nvPr/>
          </p:nvSpPr>
          <p:spPr bwMode="auto">
            <a:xfrm>
              <a:off x="9966057" y="1999208"/>
              <a:ext cx="431678" cy="987145"/>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78" tIns="38088" rIns="76178" bIns="38088" numCol="1" anchor="t" anchorCtr="0" compatLnSpc="1">
              <a:prstTxWarp prst="textNoShape">
                <a:avLst/>
              </a:prstTxWarp>
            </a:bodyPr>
            <a:lstStyle/>
            <a:p>
              <a:pPr marL="0" marR="0" lvl="0" indent="0" algn="l" defTabSz="76167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0B0F0"/>
                </a:solidFill>
                <a:effectLst/>
                <a:uLnTx/>
                <a:uFillTx/>
                <a:latin typeface="Segoe UI Light" panose="020B0502040204020203" pitchFamily="34" charset="0"/>
                <a:ea typeface="+mn-ea"/>
                <a:cs typeface="Segoe UI Light" panose="020B0502040204020203" pitchFamily="34" charset="0"/>
              </a:endParaRPr>
            </a:p>
          </p:txBody>
        </p:sp>
        <p:sp>
          <p:nvSpPr>
            <p:cNvPr id="37" name="Freeform 23"/>
            <p:cNvSpPr>
              <a:spLocks/>
            </p:cNvSpPr>
            <p:nvPr/>
          </p:nvSpPr>
          <p:spPr bwMode="auto">
            <a:xfrm>
              <a:off x="10392973" y="1999208"/>
              <a:ext cx="436439" cy="987145"/>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78" tIns="38088" rIns="76178" bIns="38088" numCol="1" anchor="t" anchorCtr="0" compatLnSpc="1">
              <a:prstTxWarp prst="textNoShape">
                <a:avLst/>
              </a:prstTxWarp>
            </a:bodyPr>
            <a:lstStyle/>
            <a:p>
              <a:pPr marL="0" marR="0" lvl="0" indent="0" algn="l" defTabSz="76167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0B0F0"/>
                </a:solidFill>
                <a:effectLst/>
                <a:uLnTx/>
                <a:uFillTx/>
                <a:latin typeface="Segoe UI Light" panose="020B0502040204020203" pitchFamily="34" charset="0"/>
                <a:ea typeface="+mn-ea"/>
                <a:cs typeface="Segoe UI Light" panose="020B0502040204020203" pitchFamily="34" charset="0"/>
              </a:endParaRPr>
            </a:p>
          </p:txBody>
        </p:sp>
        <p:sp>
          <p:nvSpPr>
            <p:cNvPr id="38" name="Oval 24"/>
            <p:cNvSpPr>
              <a:spLocks noChangeArrowheads="1"/>
            </p:cNvSpPr>
            <p:nvPr/>
          </p:nvSpPr>
          <p:spPr bwMode="auto">
            <a:xfrm>
              <a:off x="9966057" y="1843677"/>
              <a:ext cx="863355" cy="3110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78" tIns="38088" rIns="76178" bIns="38088" numCol="1" anchor="t" anchorCtr="0" compatLnSpc="1">
              <a:prstTxWarp prst="textNoShape">
                <a:avLst/>
              </a:prstTxWarp>
            </a:bodyPr>
            <a:lstStyle/>
            <a:p>
              <a:pPr marL="0" marR="0" lvl="0" indent="0" algn="l" defTabSz="76167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0B0F0"/>
                </a:solidFill>
                <a:effectLst/>
                <a:uLnTx/>
                <a:uFillTx/>
                <a:latin typeface="Segoe UI Light" panose="020B0502040204020203" pitchFamily="34" charset="0"/>
                <a:ea typeface="+mn-ea"/>
                <a:cs typeface="Segoe UI Light" panose="020B0502040204020203" pitchFamily="34" charset="0"/>
              </a:endParaRPr>
            </a:p>
          </p:txBody>
        </p:sp>
        <p:sp>
          <p:nvSpPr>
            <p:cNvPr id="39" name="Oval 25"/>
            <p:cNvSpPr>
              <a:spLocks noChangeArrowheads="1"/>
            </p:cNvSpPr>
            <p:nvPr/>
          </p:nvSpPr>
          <p:spPr bwMode="auto">
            <a:xfrm>
              <a:off x="10053345" y="1884940"/>
              <a:ext cx="688780" cy="206317"/>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78" tIns="38088" rIns="76178" bIns="38088" numCol="1" anchor="t" anchorCtr="0" compatLnSpc="1">
              <a:prstTxWarp prst="textNoShape">
                <a:avLst/>
              </a:prstTxWarp>
            </a:bodyPr>
            <a:lstStyle/>
            <a:p>
              <a:pPr marL="0" marR="0" lvl="0" indent="0" algn="l" defTabSz="76167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0B0F0"/>
                </a:solidFill>
                <a:effectLst/>
                <a:uLnTx/>
                <a:uFillTx/>
                <a:latin typeface="Segoe UI Light" panose="020B0502040204020203" pitchFamily="34" charset="0"/>
                <a:ea typeface="+mn-ea"/>
                <a:cs typeface="Segoe UI Light" panose="020B0502040204020203" pitchFamily="34" charset="0"/>
              </a:endParaRPr>
            </a:p>
          </p:txBody>
        </p:sp>
        <p:sp>
          <p:nvSpPr>
            <p:cNvPr id="40" name="Freeform 26"/>
            <p:cNvSpPr>
              <a:spLocks/>
            </p:cNvSpPr>
            <p:nvPr/>
          </p:nvSpPr>
          <p:spPr bwMode="auto">
            <a:xfrm>
              <a:off x="10053345" y="1884940"/>
              <a:ext cx="688780" cy="168227"/>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78" tIns="38088" rIns="76178" bIns="38088" numCol="1" anchor="t" anchorCtr="0" compatLnSpc="1">
              <a:prstTxWarp prst="textNoShape">
                <a:avLst/>
              </a:prstTxWarp>
            </a:bodyPr>
            <a:lstStyle/>
            <a:p>
              <a:pPr marL="0" marR="0" lvl="0" indent="0" algn="l" defTabSz="76167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0B0F0"/>
                </a:solidFill>
                <a:effectLst/>
                <a:uLnTx/>
                <a:uFillTx/>
                <a:latin typeface="Segoe UI Light" panose="020B0502040204020203" pitchFamily="34" charset="0"/>
                <a:ea typeface="+mn-ea"/>
                <a:cs typeface="Segoe UI Light" panose="020B0502040204020203" pitchFamily="34" charset="0"/>
              </a:endParaRPr>
            </a:p>
          </p:txBody>
        </p:sp>
      </p:grpSp>
      <p:sp>
        <p:nvSpPr>
          <p:cNvPr id="41" name="Rectangle 40"/>
          <p:cNvSpPr/>
          <p:nvPr/>
        </p:nvSpPr>
        <p:spPr>
          <a:xfrm>
            <a:off x="9855127" y="1937115"/>
            <a:ext cx="3399601" cy="5894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32431"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rPr>
              <a:t>Azure SQL DB / DW</a:t>
            </a:r>
          </a:p>
          <a:p>
            <a:pPr marL="0" marR="0" lvl="0" indent="0" algn="l" defTabSz="932431"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rPr>
              <a:t>(read-only)</a:t>
            </a:r>
          </a:p>
        </p:txBody>
      </p:sp>
      <p:sp>
        <p:nvSpPr>
          <p:cNvPr id="42" name="Rectangle 41"/>
          <p:cNvSpPr/>
          <p:nvPr/>
        </p:nvSpPr>
        <p:spPr>
          <a:xfrm>
            <a:off x="9855128" y="4598445"/>
            <a:ext cx="3399594" cy="5894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32431"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rPr>
              <a:t>Azure Storage Blobs</a:t>
            </a:r>
          </a:p>
          <a:p>
            <a:pPr marL="0" marR="0" lvl="0" indent="0" algn="l" defTabSz="932431"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rPr>
              <a:t>(read/write)</a:t>
            </a:r>
          </a:p>
        </p:txBody>
      </p:sp>
      <p:sp>
        <p:nvSpPr>
          <p:cNvPr id="44" name="Rectangle 43"/>
          <p:cNvSpPr/>
          <p:nvPr/>
        </p:nvSpPr>
        <p:spPr>
          <a:xfrm>
            <a:off x="9855128" y="3250516"/>
            <a:ext cx="3090546" cy="5894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32431"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rPr>
              <a:t>SQL DB In Azure VM</a:t>
            </a:r>
          </a:p>
          <a:p>
            <a:pPr marL="0" marR="0" lvl="0" indent="0" algn="l" defTabSz="932431"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rPr>
              <a:t>(read-only)</a:t>
            </a:r>
          </a:p>
        </p:txBody>
      </p:sp>
      <p:grpSp>
        <p:nvGrpSpPr>
          <p:cNvPr id="73" name="Group 72"/>
          <p:cNvGrpSpPr/>
          <p:nvPr/>
        </p:nvGrpSpPr>
        <p:grpSpPr>
          <a:xfrm>
            <a:off x="1920604" y="5471000"/>
            <a:ext cx="1695551" cy="1328409"/>
            <a:chOff x="2148168" y="3425172"/>
            <a:chExt cx="2573338" cy="2016125"/>
          </a:xfrm>
          <a:effectLst/>
        </p:grpSpPr>
        <p:sp>
          <p:nvSpPr>
            <p:cNvPr id="74" name="Rectangle 28"/>
            <p:cNvSpPr>
              <a:spLocks noChangeArrowheads="1"/>
            </p:cNvSpPr>
            <p:nvPr/>
          </p:nvSpPr>
          <p:spPr bwMode="auto">
            <a:xfrm>
              <a:off x="2829205" y="3822047"/>
              <a:ext cx="1211263" cy="1511300"/>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75" name="Rectangle 29"/>
            <p:cNvSpPr>
              <a:spLocks noChangeArrowheads="1"/>
            </p:cNvSpPr>
            <p:nvPr/>
          </p:nvSpPr>
          <p:spPr bwMode="auto">
            <a:xfrm>
              <a:off x="2829205" y="3822047"/>
              <a:ext cx="1211263" cy="1511300"/>
            </a:xfrm>
            <a:prstGeom prst="rect">
              <a:avLst/>
            </a:prstGeom>
            <a:noFill/>
            <a:ln w="3175" cap="rnd">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76" name="Freeform 30"/>
            <p:cNvSpPr>
              <a:spLocks/>
            </p:cNvSpPr>
            <p:nvPr/>
          </p:nvSpPr>
          <p:spPr bwMode="auto">
            <a:xfrm>
              <a:off x="2148168" y="3425172"/>
              <a:ext cx="1549400" cy="241300"/>
            </a:xfrm>
            <a:custGeom>
              <a:avLst/>
              <a:gdLst>
                <a:gd name="T0" fmla="*/ 11574 w 11789"/>
                <a:gd name="T1" fmla="*/ 1586 h 1841"/>
                <a:gd name="T2" fmla="*/ 11006 w 11789"/>
                <a:gd name="T3" fmla="*/ 607 h 1841"/>
                <a:gd name="T4" fmla="*/ 9948 w 11789"/>
                <a:gd name="T5" fmla="*/ 0 h 1841"/>
                <a:gd name="T6" fmla="*/ 1214 w 11789"/>
                <a:gd name="T7" fmla="*/ 0 h 1841"/>
                <a:gd name="T8" fmla="*/ 0 w 11789"/>
                <a:gd name="T9" fmla="*/ 1214 h 1841"/>
                <a:gd name="T10" fmla="*/ 0 w 11789"/>
                <a:gd name="T11" fmla="*/ 1841 h 1841"/>
                <a:gd name="T12" fmla="*/ 11789 w 11789"/>
                <a:gd name="T13" fmla="*/ 1841 h 1841"/>
                <a:gd name="T14" fmla="*/ 11574 w 11789"/>
                <a:gd name="T15" fmla="*/ 1586 h 18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89" h="1841">
                  <a:moveTo>
                    <a:pt x="11574" y="1586"/>
                  </a:moveTo>
                  <a:lnTo>
                    <a:pt x="11006" y="607"/>
                  </a:lnTo>
                  <a:cubicBezTo>
                    <a:pt x="10790" y="235"/>
                    <a:pt x="10379" y="0"/>
                    <a:pt x="9948" y="0"/>
                  </a:cubicBezTo>
                  <a:lnTo>
                    <a:pt x="1214" y="0"/>
                  </a:lnTo>
                  <a:cubicBezTo>
                    <a:pt x="548" y="0"/>
                    <a:pt x="0" y="548"/>
                    <a:pt x="0" y="1214"/>
                  </a:cubicBezTo>
                  <a:lnTo>
                    <a:pt x="0" y="1841"/>
                  </a:lnTo>
                  <a:lnTo>
                    <a:pt x="11789" y="1841"/>
                  </a:lnTo>
                  <a:cubicBezTo>
                    <a:pt x="11691" y="1782"/>
                    <a:pt x="11633" y="1684"/>
                    <a:pt x="11574" y="1586"/>
                  </a:cubicBezTo>
                  <a:close/>
                </a:path>
              </a:pathLst>
            </a:custGeom>
            <a:solidFill>
              <a:srgbClr val="29C7F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77" name="Freeform 31"/>
            <p:cNvSpPr>
              <a:spLocks noEditPoints="1"/>
            </p:cNvSpPr>
            <p:nvPr/>
          </p:nvSpPr>
          <p:spPr bwMode="auto">
            <a:xfrm>
              <a:off x="2148168" y="3749022"/>
              <a:ext cx="2573338" cy="1692275"/>
            </a:xfrm>
            <a:custGeom>
              <a:avLst/>
              <a:gdLst>
                <a:gd name="T0" fmla="*/ 9410 w 9792"/>
                <a:gd name="T1" fmla="*/ 0 h 6452"/>
                <a:gd name="T2" fmla="*/ 0 w 9792"/>
                <a:gd name="T3" fmla="*/ 0 h 6452"/>
                <a:gd name="T4" fmla="*/ 0 w 9792"/>
                <a:gd name="T5" fmla="*/ 5845 h 6452"/>
                <a:gd name="T6" fmla="*/ 607 w 9792"/>
                <a:gd name="T7" fmla="*/ 6452 h 6452"/>
                <a:gd name="T8" fmla="*/ 9185 w 9792"/>
                <a:gd name="T9" fmla="*/ 6452 h 6452"/>
                <a:gd name="T10" fmla="*/ 9792 w 9792"/>
                <a:gd name="T11" fmla="*/ 5845 h 6452"/>
                <a:gd name="T12" fmla="*/ 9792 w 9792"/>
                <a:gd name="T13" fmla="*/ 558 h 6452"/>
                <a:gd name="T14" fmla="*/ 9410 w 9792"/>
                <a:gd name="T15" fmla="*/ 0 h 6452"/>
                <a:gd name="T16" fmla="*/ 6140 w 9792"/>
                <a:gd name="T17" fmla="*/ 2937 h 6452"/>
                <a:gd name="T18" fmla="*/ 4406 w 9792"/>
                <a:gd name="T19" fmla="*/ 5415 h 6452"/>
                <a:gd name="T20" fmla="*/ 4338 w 9792"/>
                <a:gd name="T21" fmla="*/ 5454 h 6452"/>
                <a:gd name="T22" fmla="*/ 4299 w 9792"/>
                <a:gd name="T23" fmla="*/ 5444 h 6452"/>
                <a:gd name="T24" fmla="*/ 4260 w 9792"/>
                <a:gd name="T25" fmla="*/ 5346 h 6452"/>
                <a:gd name="T26" fmla="*/ 4710 w 9792"/>
                <a:gd name="T27" fmla="*/ 3867 h 6452"/>
                <a:gd name="T28" fmla="*/ 3701 w 9792"/>
                <a:gd name="T29" fmla="*/ 3867 h 6452"/>
                <a:gd name="T30" fmla="*/ 3623 w 9792"/>
                <a:gd name="T31" fmla="*/ 3818 h 6452"/>
                <a:gd name="T32" fmla="*/ 3633 w 9792"/>
                <a:gd name="T33" fmla="*/ 3730 h 6452"/>
                <a:gd name="T34" fmla="*/ 5317 w 9792"/>
                <a:gd name="T35" fmla="*/ 1282 h 6452"/>
                <a:gd name="T36" fmla="*/ 5386 w 9792"/>
                <a:gd name="T37" fmla="*/ 1243 h 6452"/>
                <a:gd name="T38" fmla="*/ 5425 w 9792"/>
                <a:gd name="T39" fmla="*/ 1253 h 6452"/>
                <a:gd name="T40" fmla="*/ 5464 w 9792"/>
                <a:gd name="T41" fmla="*/ 1351 h 6452"/>
                <a:gd name="T42" fmla="*/ 5033 w 9792"/>
                <a:gd name="T43" fmla="*/ 2800 h 6452"/>
                <a:gd name="T44" fmla="*/ 6071 w 9792"/>
                <a:gd name="T45" fmla="*/ 2800 h 6452"/>
                <a:gd name="T46" fmla="*/ 6159 w 9792"/>
                <a:gd name="T47" fmla="*/ 2888 h 6452"/>
                <a:gd name="T48" fmla="*/ 6140 w 9792"/>
                <a:gd name="T49" fmla="*/ 2937 h 6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92" h="6452">
                  <a:moveTo>
                    <a:pt x="9410" y="0"/>
                  </a:moveTo>
                  <a:lnTo>
                    <a:pt x="0" y="0"/>
                  </a:lnTo>
                  <a:lnTo>
                    <a:pt x="0" y="5845"/>
                  </a:lnTo>
                  <a:cubicBezTo>
                    <a:pt x="0" y="6178"/>
                    <a:pt x="274" y="6452"/>
                    <a:pt x="607" y="6452"/>
                  </a:cubicBezTo>
                  <a:lnTo>
                    <a:pt x="9185" y="6452"/>
                  </a:lnTo>
                  <a:cubicBezTo>
                    <a:pt x="9518" y="6452"/>
                    <a:pt x="9792" y="6178"/>
                    <a:pt x="9792" y="5845"/>
                  </a:cubicBezTo>
                  <a:lnTo>
                    <a:pt x="9792" y="558"/>
                  </a:lnTo>
                  <a:cubicBezTo>
                    <a:pt x="9792" y="313"/>
                    <a:pt x="9635" y="97"/>
                    <a:pt x="9410" y="0"/>
                  </a:cubicBezTo>
                  <a:close/>
                  <a:moveTo>
                    <a:pt x="6140" y="2937"/>
                  </a:moveTo>
                  <a:lnTo>
                    <a:pt x="4406" y="5415"/>
                  </a:lnTo>
                  <a:cubicBezTo>
                    <a:pt x="4387" y="5434"/>
                    <a:pt x="4367" y="5454"/>
                    <a:pt x="4338" y="5454"/>
                  </a:cubicBezTo>
                  <a:cubicBezTo>
                    <a:pt x="4328" y="5454"/>
                    <a:pt x="4309" y="5454"/>
                    <a:pt x="4299" y="5444"/>
                  </a:cubicBezTo>
                  <a:cubicBezTo>
                    <a:pt x="4260" y="5424"/>
                    <a:pt x="4240" y="5385"/>
                    <a:pt x="4260" y="5346"/>
                  </a:cubicBezTo>
                  <a:lnTo>
                    <a:pt x="4710" y="3867"/>
                  </a:lnTo>
                  <a:lnTo>
                    <a:pt x="3701" y="3867"/>
                  </a:lnTo>
                  <a:cubicBezTo>
                    <a:pt x="3672" y="3867"/>
                    <a:pt x="3643" y="3848"/>
                    <a:pt x="3623" y="3818"/>
                  </a:cubicBezTo>
                  <a:cubicBezTo>
                    <a:pt x="3613" y="3789"/>
                    <a:pt x="3613" y="3760"/>
                    <a:pt x="3633" y="3730"/>
                  </a:cubicBezTo>
                  <a:lnTo>
                    <a:pt x="5317" y="1282"/>
                  </a:lnTo>
                  <a:cubicBezTo>
                    <a:pt x="5337" y="1263"/>
                    <a:pt x="5356" y="1243"/>
                    <a:pt x="5386" y="1243"/>
                  </a:cubicBezTo>
                  <a:cubicBezTo>
                    <a:pt x="5395" y="1243"/>
                    <a:pt x="5405" y="1243"/>
                    <a:pt x="5425" y="1253"/>
                  </a:cubicBezTo>
                  <a:cubicBezTo>
                    <a:pt x="5464" y="1273"/>
                    <a:pt x="5484" y="1312"/>
                    <a:pt x="5464" y="1351"/>
                  </a:cubicBezTo>
                  <a:lnTo>
                    <a:pt x="5033" y="2800"/>
                  </a:lnTo>
                  <a:lnTo>
                    <a:pt x="6071" y="2800"/>
                  </a:lnTo>
                  <a:cubicBezTo>
                    <a:pt x="6120" y="2800"/>
                    <a:pt x="6159" y="2839"/>
                    <a:pt x="6159" y="2888"/>
                  </a:cubicBezTo>
                  <a:cubicBezTo>
                    <a:pt x="6159" y="2908"/>
                    <a:pt x="6149" y="2918"/>
                    <a:pt x="6140" y="2937"/>
                  </a:cubicBezTo>
                  <a:close/>
                </a:path>
              </a:pathLst>
            </a:custGeom>
            <a:solidFill>
              <a:srgbClr val="29C7F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grpSp>
      <p:grpSp>
        <p:nvGrpSpPr>
          <p:cNvPr id="78" name="Group 77"/>
          <p:cNvGrpSpPr/>
          <p:nvPr/>
        </p:nvGrpSpPr>
        <p:grpSpPr>
          <a:xfrm>
            <a:off x="8719632" y="4488092"/>
            <a:ext cx="1072715" cy="943988"/>
            <a:chOff x="4757738" y="3144838"/>
            <a:chExt cx="515938" cy="454025"/>
          </a:xfrm>
          <a:solidFill>
            <a:srgbClr val="29C7F4"/>
          </a:solidFill>
        </p:grpSpPr>
        <p:sp>
          <p:nvSpPr>
            <p:cNvPr id="79" name="Freeform 13"/>
            <p:cNvSpPr>
              <a:spLocks noEditPoints="1"/>
            </p:cNvSpPr>
            <p:nvPr/>
          </p:nvSpPr>
          <p:spPr bwMode="auto">
            <a:xfrm>
              <a:off x="4757738" y="3144838"/>
              <a:ext cx="515938" cy="454025"/>
            </a:xfrm>
            <a:custGeom>
              <a:avLst/>
              <a:gdLst>
                <a:gd name="T0" fmla="*/ 463 w 617"/>
                <a:gd name="T1" fmla="*/ 0 h 535"/>
                <a:gd name="T2" fmla="*/ 155 w 617"/>
                <a:gd name="T3" fmla="*/ 0 h 535"/>
                <a:gd name="T4" fmla="*/ 0 w 617"/>
                <a:gd name="T5" fmla="*/ 268 h 535"/>
                <a:gd name="T6" fmla="*/ 155 w 617"/>
                <a:gd name="T7" fmla="*/ 535 h 535"/>
                <a:gd name="T8" fmla="*/ 463 w 617"/>
                <a:gd name="T9" fmla="*/ 535 h 535"/>
                <a:gd name="T10" fmla="*/ 617 w 617"/>
                <a:gd name="T11" fmla="*/ 268 h 535"/>
                <a:gd name="T12" fmla="*/ 463 w 617"/>
                <a:gd name="T13" fmla="*/ 0 h 535"/>
                <a:gd name="T14" fmla="*/ 464 w 617"/>
                <a:gd name="T15" fmla="*/ 387 h 535"/>
                <a:gd name="T16" fmla="*/ 422 w 617"/>
                <a:gd name="T17" fmla="*/ 429 h 535"/>
                <a:gd name="T18" fmla="*/ 196 w 617"/>
                <a:gd name="T19" fmla="*/ 429 h 535"/>
                <a:gd name="T20" fmla="*/ 154 w 617"/>
                <a:gd name="T21" fmla="*/ 387 h 535"/>
                <a:gd name="T22" fmla="*/ 154 w 617"/>
                <a:gd name="T23" fmla="*/ 148 h 535"/>
                <a:gd name="T24" fmla="*/ 196 w 617"/>
                <a:gd name="T25" fmla="*/ 107 h 535"/>
                <a:gd name="T26" fmla="*/ 364 w 617"/>
                <a:gd name="T27" fmla="*/ 107 h 535"/>
                <a:gd name="T28" fmla="*/ 395 w 617"/>
                <a:gd name="T29" fmla="*/ 107 h 535"/>
                <a:gd name="T30" fmla="*/ 400 w 617"/>
                <a:gd name="T31" fmla="*/ 107 h 535"/>
                <a:gd name="T32" fmla="*/ 464 w 617"/>
                <a:gd name="T33" fmla="*/ 170 h 535"/>
                <a:gd name="T34" fmla="*/ 464 w 617"/>
                <a:gd name="T35" fmla="*/ 387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5">
                  <a:moveTo>
                    <a:pt x="463" y="0"/>
                  </a:moveTo>
                  <a:lnTo>
                    <a:pt x="155" y="0"/>
                  </a:lnTo>
                  <a:lnTo>
                    <a:pt x="0" y="268"/>
                  </a:lnTo>
                  <a:lnTo>
                    <a:pt x="155" y="535"/>
                  </a:lnTo>
                  <a:lnTo>
                    <a:pt x="463" y="535"/>
                  </a:lnTo>
                  <a:lnTo>
                    <a:pt x="617" y="268"/>
                  </a:lnTo>
                  <a:lnTo>
                    <a:pt x="463" y="0"/>
                  </a:lnTo>
                  <a:close/>
                  <a:moveTo>
                    <a:pt x="464" y="387"/>
                  </a:moveTo>
                  <a:cubicBezTo>
                    <a:pt x="464" y="410"/>
                    <a:pt x="445" y="429"/>
                    <a:pt x="422" y="429"/>
                  </a:cubicBezTo>
                  <a:lnTo>
                    <a:pt x="196" y="429"/>
                  </a:lnTo>
                  <a:cubicBezTo>
                    <a:pt x="173" y="429"/>
                    <a:pt x="154" y="410"/>
                    <a:pt x="154" y="387"/>
                  </a:cubicBezTo>
                  <a:lnTo>
                    <a:pt x="154" y="148"/>
                  </a:lnTo>
                  <a:cubicBezTo>
                    <a:pt x="154" y="125"/>
                    <a:pt x="173" y="107"/>
                    <a:pt x="196" y="107"/>
                  </a:cubicBezTo>
                  <a:lnTo>
                    <a:pt x="364" y="107"/>
                  </a:lnTo>
                  <a:cubicBezTo>
                    <a:pt x="380" y="107"/>
                    <a:pt x="395" y="107"/>
                    <a:pt x="395" y="107"/>
                  </a:cubicBezTo>
                  <a:lnTo>
                    <a:pt x="400" y="107"/>
                  </a:lnTo>
                  <a:lnTo>
                    <a:pt x="464" y="170"/>
                  </a:lnTo>
                  <a:lnTo>
                    <a:pt x="464" y="3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80" name="Freeform 14"/>
            <p:cNvSpPr>
              <a:spLocks/>
            </p:cNvSpPr>
            <p:nvPr/>
          </p:nvSpPr>
          <p:spPr bwMode="auto">
            <a:xfrm>
              <a:off x="4973638" y="3397250"/>
              <a:ext cx="22225" cy="53975"/>
            </a:xfrm>
            <a:custGeom>
              <a:avLst/>
              <a:gdLst>
                <a:gd name="T0" fmla="*/ 26 w 27"/>
                <a:gd name="T1" fmla="*/ 13 h 65"/>
                <a:gd name="T2" fmla="*/ 24 w 27"/>
                <a:gd name="T3" fmla="*/ 7 h 65"/>
                <a:gd name="T4" fmla="*/ 21 w 27"/>
                <a:gd name="T5" fmla="*/ 3 h 65"/>
                <a:gd name="T6" fmla="*/ 18 w 27"/>
                <a:gd name="T7" fmla="*/ 1 h 65"/>
                <a:gd name="T8" fmla="*/ 14 w 27"/>
                <a:gd name="T9" fmla="*/ 0 h 65"/>
                <a:gd name="T10" fmla="*/ 7 w 27"/>
                <a:gd name="T11" fmla="*/ 2 h 65"/>
                <a:gd name="T12" fmla="*/ 2 w 27"/>
                <a:gd name="T13" fmla="*/ 8 h 65"/>
                <a:gd name="T14" fmla="*/ 0 w 27"/>
                <a:gd name="T15" fmla="*/ 18 h 65"/>
                <a:gd name="T16" fmla="*/ 0 w 27"/>
                <a:gd name="T17" fmla="*/ 32 h 65"/>
                <a:gd name="T18" fmla="*/ 0 w 27"/>
                <a:gd name="T19" fmla="*/ 48 h 65"/>
                <a:gd name="T20" fmla="*/ 3 w 27"/>
                <a:gd name="T21" fmla="*/ 58 h 65"/>
                <a:gd name="T22" fmla="*/ 7 w 27"/>
                <a:gd name="T23" fmla="*/ 64 h 65"/>
                <a:gd name="T24" fmla="*/ 13 w 27"/>
                <a:gd name="T25" fmla="*/ 65 h 65"/>
                <a:gd name="T26" fmla="*/ 18 w 27"/>
                <a:gd name="T27" fmla="*/ 64 h 65"/>
                <a:gd name="T28" fmla="*/ 22 w 27"/>
                <a:gd name="T29" fmla="*/ 62 h 65"/>
                <a:gd name="T30" fmla="*/ 24 w 27"/>
                <a:gd name="T31" fmla="*/ 57 h 65"/>
                <a:gd name="T32" fmla="*/ 26 w 27"/>
                <a:gd name="T33" fmla="*/ 51 h 65"/>
                <a:gd name="T34" fmla="*/ 27 w 27"/>
                <a:gd name="T35" fmla="*/ 43 h 65"/>
                <a:gd name="T36" fmla="*/ 27 w 27"/>
                <a:gd name="T37" fmla="*/ 33 h 65"/>
                <a:gd name="T38" fmla="*/ 27 w 27"/>
                <a:gd name="T39" fmla="*/ 22 h 65"/>
                <a:gd name="T40" fmla="*/ 26 w 27"/>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 h="65">
                  <a:moveTo>
                    <a:pt x="26" y="13"/>
                  </a:moveTo>
                  <a:cubicBezTo>
                    <a:pt x="25" y="11"/>
                    <a:pt x="25" y="9"/>
                    <a:pt x="24" y="7"/>
                  </a:cubicBezTo>
                  <a:cubicBezTo>
                    <a:pt x="23" y="6"/>
                    <a:pt x="22" y="4"/>
                    <a:pt x="21" y="3"/>
                  </a:cubicBezTo>
                  <a:cubicBezTo>
                    <a:pt x="20" y="2"/>
                    <a:pt x="19" y="2"/>
                    <a:pt x="18" y="1"/>
                  </a:cubicBezTo>
                  <a:cubicBezTo>
                    <a:pt x="17" y="1"/>
                    <a:pt x="15" y="0"/>
                    <a:pt x="14" y="0"/>
                  </a:cubicBezTo>
                  <a:cubicBezTo>
                    <a:pt x="11" y="0"/>
                    <a:pt x="8" y="1"/>
                    <a:pt x="7" y="2"/>
                  </a:cubicBezTo>
                  <a:cubicBezTo>
                    <a:pt x="5" y="4"/>
                    <a:pt x="3" y="6"/>
                    <a:pt x="2" y="8"/>
                  </a:cubicBezTo>
                  <a:cubicBezTo>
                    <a:pt x="1" y="11"/>
                    <a:pt x="1" y="14"/>
                    <a:pt x="0" y="18"/>
                  </a:cubicBezTo>
                  <a:cubicBezTo>
                    <a:pt x="0" y="22"/>
                    <a:pt x="0" y="27"/>
                    <a:pt x="0" y="32"/>
                  </a:cubicBezTo>
                  <a:cubicBezTo>
                    <a:pt x="0" y="39"/>
                    <a:pt x="0" y="44"/>
                    <a:pt x="0" y="48"/>
                  </a:cubicBezTo>
                  <a:cubicBezTo>
                    <a:pt x="1" y="53"/>
                    <a:pt x="2" y="56"/>
                    <a:pt x="3" y="58"/>
                  </a:cubicBezTo>
                  <a:cubicBezTo>
                    <a:pt x="4" y="61"/>
                    <a:pt x="5" y="63"/>
                    <a:pt x="7" y="64"/>
                  </a:cubicBezTo>
                  <a:cubicBezTo>
                    <a:pt x="9" y="65"/>
                    <a:pt x="11" y="65"/>
                    <a:pt x="13" y="65"/>
                  </a:cubicBezTo>
                  <a:cubicBezTo>
                    <a:pt x="15" y="65"/>
                    <a:pt x="17" y="65"/>
                    <a:pt x="18" y="64"/>
                  </a:cubicBezTo>
                  <a:cubicBezTo>
                    <a:pt x="19" y="64"/>
                    <a:pt x="21" y="63"/>
                    <a:pt x="22" y="62"/>
                  </a:cubicBezTo>
                  <a:cubicBezTo>
                    <a:pt x="23" y="61"/>
                    <a:pt x="24" y="59"/>
                    <a:pt x="24" y="57"/>
                  </a:cubicBezTo>
                  <a:cubicBezTo>
                    <a:pt x="25" y="56"/>
                    <a:pt x="26" y="54"/>
                    <a:pt x="26" y="51"/>
                  </a:cubicBezTo>
                  <a:cubicBezTo>
                    <a:pt x="27" y="49"/>
                    <a:pt x="27" y="46"/>
                    <a:pt x="27" y="43"/>
                  </a:cubicBezTo>
                  <a:cubicBezTo>
                    <a:pt x="27" y="40"/>
                    <a:pt x="27" y="37"/>
                    <a:pt x="27" y="33"/>
                  </a:cubicBezTo>
                  <a:cubicBezTo>
                    <a:pt x="27" y="29"/>
                    <a:pt x="27" y="25"/>
                    <a:pt x="27" y="22"/>
                  </a:cubicBezTo>
                  <a:cubicBezTo>
                    <a:pt x="27" y="19"/>
                    <a:pt x="26" y="16"/>
                    <a:pt x="26" y="13"/>
                  </a:cubicBezTo>
                </a:path>
              </a:pathLst>
            </a:custGeom>
            <a:solidFill>
              <a:srgbClr val="29C7F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81" name="Freeform 15"/>
            <p:cNvSpPr>
              <a:spLocks/>
            </p:cNvSpPr>
            <p:nvPr/>
          </p:nvSpPr>
          <p:spPr bwMode="auto">
            <a:xfrm>
              <a:off x="5033963" y="3290888"/>
              <a:ext cx="23813" cy="55563"/>
            </a:xfrm>
            <a:custGeom>
              <a:avLst/>
              <a:gdLst>
                <a:gd name="T0" fmla="*/ 27 w 28"/>
                <a:gd name="T1" fmla="*/ 13 h 65"/>
                <a:gd name="T2" fmla="*/ 25 w 28"/>
                <a:gd name="T3" fmla="*/ 7 h 65"/>
                <a:gd name="T4" fmla="*/ 22 w 28"/>
                <a:gd name="T5" fmla="*/ 3 h 65"/>
                <a:gd name="T6" fmla="*/ 19 w 28"/>
                <a:gd name="T7" fmla="*/ 1 h 65"/>
                <a:gd name="T8" fmla="*/ 14 w 28"/>
                <a:gd name="T9" fmla="*/ 0 h 65"/>
                <a:gd name="T10" fmla="*/ 8 w 28"/>
                <a:gd name="T11" fmla="*/ 2 h 65"/>
                <a:gd name="T12" fmla="*/ 3 w 28"/>
                <a:gd name="T13" fmla="*/ 8 h 65"/>
                <a:gd name="T14" fmla="*/ 1 w 28"/>
                <a:gd name="T15" fmla="*/ 18 h 65"/>
                <a:gd name="T16" fmla="*/ 0 w 28"/>
                <a:gd name="T17" fmla="*/ 32 h 65"/>
                <a:gd name="T18" fmla="*/ 1 w 28"/>
                <a:gd name="T19" fmla="*/ 48 h 65"/>
                <a:gd name="T20" fmla="*/ 4 w 28"/>
                <a:gd name="T21" fmla="*/ 58 h 65"/>
                <a:gd name="T22" fmla="*/ 8 w 28"/>
                <a:gd name="T23" fmla="*/ 63 h 65"/>
                <a:gd name="T24" fmla="*/ 14 w 28"/>
                <a:gd name="T25" fmla="*/ 65 h 65"/>
                <a:gd name="T26" fmla="*/ 19 w 28"/>
                <a:gd name="T27" fmla="*/ 64 h 65"/>
                <a:gd name="T28" fmla="*/ 23 w 28"/>
                <a:gd name="T29" fmla="*/ 61 h 65"/>
                <a:gd name="T30" fmla="*/ 25 w 28"/>
                <a:gd name="T31" fmla="*/ 57 h 65"/>
                <a:gd name="T32" fmla="*/ 27 w 28"/>
                <a:gd name="T33" fmla="*/ 51 h 65"/>
                <a:gd name="T34" fmla="*/ 28 w 28"/>
                <a:gd name="T35" fmla="*/ 43 h 65"/>
                <a:gd name="T36" fmla="*/ 28 w 28"/>
                <a:gd name="T37" fmla="*/ 33 h 65"/>
                <a:gd name="T38" fmla="*/ 28 w 28"/>
                <a:gd name="T39" fmla="*/ 22 h 65"/>
                <a:gd name="T40" fmla="*/ 27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7" y="13"/>
                  </a:moveTo>
                  <a:cubicBezTo>
                    <a:pt x="26" y="10"/>
                    <a:pt x="26" y="8"/>
                    <a:pt x="25" y="7"/>
                  </a:cubicBezTo>
                  <a:cubicBezTo>
                    <a:pt x="24" y="5"/>
                    <a:pt x="23" y="4"/>
                    <a:pt x="22" y="3"/>
                  </a:cubicBezTo>
                  <a:cubicBezTo>
                    <a:pt x="21" y="2"/>
                    <a:pt x="20" y="1"/>
                    <a:pt x="19" y="1"/>
                  </a:cubicBezTo>
                  <a:cubicBezTo>
                    <a:pt x="17" y="0"/>
                    <a:pt x="16" y="0"/>
                    <a:pt x="14" y="0"/>
                  </a:cubicBezTo>
                  <a:cubicBezTo>
                    <a:pt x="12" y="0"/>
                    <a:pt x="9" y="1"/>
                    <a:pt x="8" y="2"/>
                  </a:cubicBezTo>
                  <a:cubicBezTo>
                    <a:pt x="6" y="3"/>
                    <a:pt x="4" y="5"/>
                    <a:pt x="3" y="8"/>
                  </a:cubicBezTo>
                  <a:cubicBezTo>
                    <a:pt x="2" y="11"/>
                    <a:pt x="1" y="14"/>
                    <a:pt x="1" y="18"/>
                  </a:cubicBezTo>
                  <a:cubicBezTo>
                    <a:pt x="1" y="22"/>
                    <a:pt x="0" y="26"/>
                    <a:pt x="0" y="32"/>
                  </a:cubicBezTo>
                  <a:cubicBezTo>
                    <a:pt x="0" y="38"/>
                    <a:pt x="1" y="44"/>
                    <a:pt x="1" y="48"/>
                  </a:cubicBezTo>
                  <a:cubicBezTo>
                    <a:pt x="2" y="52"/>
                    <a:pt x="3" y="55"/>
                    <a:pt x="4" y="58"/>
                  </a:cubicBezTo>
                  <a:cubicBezTo>
                    <a:pt x="5" y="60"/>
                    <a:pt x="6" y="62"/>
                    <a:pt x="8" y="63"/>
                  </a:cubicBezTo>
                  <a:cubicBezTo>
                    <a:pt x="10" y="64"/>
                    <a:pt x="12" y="65"/>
                    <a:pt x="14" y="65"/>
                  </a:cubicBezTo>
                  <a:cubicBezTo>
                    <a:pt x="16" y="65"/>
                    <a:pt x="18" y="64"/>
                    <a:pt x="19" y="64"/>
                  </a:cubicBezTo>
                  <a:cubicBezTo>
                    <a:pt x="20" y="63"/>
                    <a:pt x="22" y="62"/>
                    <a:pt x="23" y="61"/>
                  </a:cubicBezTo>
                  <a:cubicBezTo>
                    <a:pt x="24" y="60"/>
                    <a:pt x="25" y="59"/>
                    <a:pt x="25" y="57"/>
                  </a:cubicBezTo>
                  <a:cubicBezTo>
                    <a:pt x="26" y="55"/>
                    <a:pt x="26" y="53"/>
                    <a:pt x="27" y="51"/>
                  </a:cubicBezTo>
                  <a:cubicBezTo>
                    <a:pt x="27" y="48"/>
                    <a:pt x="28" y="46"/>
                    <a:pt x="28" y="43"/>
                  </a:cubicBezTo>
                  <a:cubicBezTo>
                    <a:pt x="28" y="40"/>
                    <a:pt x="28" y="36"/>
                    <a:pt x="28" y="33"/>
                  </a:cubicBezTo>
                  <a:cubicBezTo>
                    <a:pt x="28" y="29"/>
                    <a:pt x="28" y="25"/>
                    <a:pt x="28" y="22"/>
                  </a:cubicBezTo>
                  <a:cubicBezTo>
                    <a:pt x="28" y="18"/>
                    <a:pt x="27" y="15"/>
                    <a:pt x="27" y="13"/>
                  </a:cubicBezTo>
                </a:path>
              </a:pathLst>
            </a:custGeom>
            <a:solidFill>
              <a:srgbClr val="29C7F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82" name="Freeform 16"/>
            <p:cNvSpPr>
              <a:spLocks noEditPoints="1"/>
            </p:cNvSpPr>
            <p:nvPr/>
          </p:nvSpPr>
          <p:spPr bwMode="auto">
            <a:xfrm>
              <a:off x="4905375" y="3254375"/>
              <a:ext cx="220663" cy="234950"/>
            </a:xfrm>
            <a:custGeom>
              <a:avLst/>
              <a:gdLst>
                <a:gd name="T0" fmla="*/ 187 w 264"/>
                <a:gd name="T1" fmla="*/ 0 h 277"/>
                <a:gd name="T2" fmla="*/ 0 w 264"/>
                <a:gd name="T3" fmla="*/ 19 h 277"/>
                <a:gd name="T4" fmla="*/ 18 w 264"/>
                <a:gd name="T5" fmla="*/ 277 h 277"/>
                <a:gd name="T6" fmla="*/ 264 w 264"/>
                <a:gd name="T7" fmla="*/ 258 h 277"/>
                <a:gd name="T8" fmla="*/ 213 w 264"/>
                <a:gd name="T9" fmla="*/ 53 h 277"/>
                <a:gd name="T10" fmla="*/ 213 w 264"/>
                <a:gd name="T11" fmla="*/ 1 h 277"/>
                <a:gd name="T12" fmla="*/ 70 w 264"/>
                <a:gd name="T13" fmla="*/ 46 h 277"/>
                <a:gd name="T14" fmla="*/ 72 w 264"/>
                <a:gd name="T15" fmla="*/ 44 h 277"/>
                <a:gd name="T16" fmla="*/ 92 w 264"/>
                <a:gd name="T17" fmla="*/ 31 h 277"/>
                <a:gd name="T18" fmla="*/ 96 w 264"/>
                <a:gd name="T19" fmla="*/ 30 h 277"/>
                <a:gd name="T20" fmla="*/ 104 w 264"/>
                <a:gd name="T21" fmla="*/ 30 h 277"/>
                <a:gd name="T22" fmla="*/ 107 w 264"/>
                <a:gd name="T23" fmla="*/ 31 h 277"/>
                <a:gd name="T24" fmla="*/ 108 w 264"/>
                <a:gd name="T25" fmla="*/ 108 h 277"/>
                <a:gd name="T26" fmla="*/ 124 w 264"/>
                <a:gd name="T27" fmla="*/ 108 h 277"/>
                <a:gd name="T28" fmla="*/ 125 w 264"/>
                <a:gd name="T29" fmla="*/ 111 h 277"/>
                <a:gd name="T30" fmla="*/ 125 w 264"/>
                <a:gd name="T31" fmla="*/ 118 h 277"/>
                <a:gd name="T32" fmla="*/ 124 w 264"/>
                <a:gd name="T33" fmla="*/ 121 h 277"/>
                <a:gd name="T34" fmla="*/ 72 w 264"/>
                <a:gd name="T35" fmla="*/ 122 h 277"/>
                <a:gd name="T36" fmla="*/ 70 w 264"/>
                <a:gd name="T37" fmla="*/ 120 h 277"/>
                <a:gd name="T38" fmla="*/ 70 w 264"/>
                <a:gd name="T39" fmla="*/ 115 h 277"/>
                <a:gd name="T40" fmla="*/ 70 w 264"/>
                <a:gd name="T41" fmla="*/ 109 h 277"/>
                <a:gd name="T42" fmla="*/ 72 w 264"/>
                <a:gd name="T43" fmla="*/ 108 h 277"/>
                <a:gd name="T44" fmla="*/ 89 w 264"/>
                <a:gd name="T45" fmla="*/ 48 h 277"/>
                <a:gd name="T46" fmla="*/ 72 w 264"/>
                <a:gd name="T47" fmla="*/ 57 h 277"/>
                <a:gd name="T48" fmla="*/ 70 w 264"/>
                <a:gd name="T49" fmla="*/ 55 h 277"/>
                <a:gd name="T50" fmla="*/ 69 w 264"/>
                <a:gd name="T51" fmla="*/ 48 h 277"/>
                <a:gd name="T52" fmla="*/ 120 w 264"/>
                <a:gd name="T53" fmla="*/ 235 h 277"/>
                <a:gd name="T54" fmla="*/ 95 w 264"/>
                <a:gd name="T55" fmla="*/ 248 h 277"/>
                <a:gd name="T56" fmla="*/ 69 w 264"/>
                <a:gd name="T57" fmla="*/ 236 h 277"/>
                <a:gd name="T58" fmla="*/ 63 w 264"/>
                <a:gd name="T59" fmla="*/ 201 h 277"/>
                <a:gd name="T60" fmla="*/ 71 w 264"/>
                <a:gd name="T61" fmla="*/ 167 h 277"/>
                <a:gd name="T62" fmla="*/ 96 w 264"/>
                <a:gd name="T63" fmla="*/ 154 h 277"/>
                <a:gd name="T64" fmla="*/ 122 w 264"/>
                <a:gd name="T65" fmla="*/ 166 h 277"/>
                <a:gd name="T66" fmla="*/ 128 w 264"/>
                <a:gd name="T67" fmla="*/ 201 h 277"/>
                <a:gd name="T68" fmla="*/ 198 w 264"/>
                <a:gd name="T69" fmla="*/ 243 h 277"/>
                <a:gd name="T70" fmla="*/ 196 w 264"/>
                <a:gd name="T71" fmla="*/ 246 h 277"/>
                <a:gd name="T72" fmla="*/ 145 w 264"/>
                <a:gd name="T73" fmla="*/ 246 h 277"/>
                <a:gd name="T74" fmla="*/ 143 w 264"/>
                <a:gd name="T75" fmla="*/ 245 h 277"/>
                <a:gd name="T76" fmla="*/ 142 w 264"/>
                <a:gd name="T77" fmla="*/ 239 h 277"/>
                <a:gd name="T78" fmla="*/ 143 w 264"/>
                <a:gd name="T79" fmla="*/ 234 h 277"/>
                <a:gd name="T80" fmla="*/ 145 w 264"/>
                <a:gd name="T81" fmla="*/ 232 h 277"/>
                <a:gd name="T82" fmla="*/ 162 w 264"/>
                <a:gd name="T83" fmla="*/ 173 h 277"/>
                <a:gd name="T84" fmla="*/ 145 w 264"/>
                <a:gd name="T85" fmla="*/ 182 h 277"/>
                <a:gd name="T86" fmla="*/ 142 w 264"/>
                <a:gd name="T87" fmla="*/ 180 h 277"/>
                <a:gd name="T88" fmla="*/ 142 w 264"/>
                <a:gd name="T89" fmla="*/ 173 h 277"/>
                <a:gd name="T90" fmla="*/ 143 w 264"/>
                <a:gd name="T91" fmla="*/ 169 h 277"/>
                <a:gd name="T92" fmla="*/ 164 w 264"/>
                <a:gd name="T93" fmla="*/ 156 h 277"/>
                <a:gd name="T94" fmla="*/ 166 w 264"/>
                <a:gd name="T95" fmla="*/ 155 h 277"/>
                <a:gd name="T96" fmla="*/ 172 w 264"/>
                <a:gd name="T97" fmla="*/ 155 h 277"/>
                <a:gd name="T98" fmla="*/ 179 w 264"/>
                <a:gd name="T99" fmla="*/ 155 h 277"/>
                <a:gd name="T100" fmla="*/ 180 w 264"/>
                <a:gd name="T101" fmla="*/ 157 h 277"/>
                <a:gd name="T102" fmla="*/ 195 w 264"/>
                <a:gd name="T103" fmla="*/ 232 h 277"/>
                <a:gd name="T104" fmla="*/ 197 w 264"/>
                <a:gd name="T105" fmla="*/ 234 h 277"/>
                <a:gd name="T106" fmla="*/ 198 w 264"/>
                <a:gd name="T107" fmla="*/ 239 h 277"/>
                <a:gd name="T108" fmla="*/ 199 w 264"/>
                <a:gd name="T109" fmla="*/ 96 h 277"/>
                <a:gd name="T110" fmla="*/ 183 w 264"/>
                <a:gd name="T111" fmla="*/ 120 h 277"/>
                <a:gd name="T112" fmla="*/ 152 w 264"/>
                <a:gd name="T113" fmla="*/ 120 h 277"/>
                <a:gd name="T114" fmla="*/ 137 w 264"/>
                <a:gd name="T115" fmla="*/ 96 h 277"/>
                <a:gd name="T116" fmla="*/ 138 w 264"/>
                <a:gd name="T117" fmla="*/ 57 h 277"/>
                <a:gd name="T118" fmla="*/ 154 w 264"/>
                <a:gd name="T119" fmla="*/ 33 h 277"/>
                <a:gd name="T120" fmla="*/ 185 w 264"/>
                <a:gd name="T121" fmla="*/ 32 h 277"/>
                <a:gd name="T122" fmla="*/ 199 w 264"/>
                <a:gd name="T123" fmla="*/ 56 h 277"/>
                <a:gd name="T124" fmla="*/ 199 w 264"/>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4" h="277">
                  <a:moveTo>
                    <a:pt x="213" y="1"/>
                  </a:moveTo>
                  <a:cubicBezTo>
                    <a:pt x="207" y="0"/>
                    <a:pt x="197" y="0"/>
                    <a:pt x="187" y="0"/>
                  </a:cubicBezTo>
                  <a:lnTo>
                    <a:pt x="18" y="0"/>
                  </a:lnTo>
                  <a:cubicBezTo>
                    <a:pt x="8" y="0"/>
                    <a:pt x="0" y="9"/>
                    <a:pt x="0" y="19"/>
                  </a:cubicBezTo>
                  <a:lnTo>
                    <a:pt x="0" y="258"/>
                  </a:lnTo>
                  <a:cubicBezTo>
                    <a:pt x="0" y="268"/>
                    <a:pt x="8" y="277"/>
                    <a:pt x="18" y="277"/>
                  </a:cubicBezTo>
                  <a:lnTo>
                    <a:pt x="245" y="277"/>
                  </a:lnTo>
                  <a:cubicBezTo>
                    <a:pt x="255" y="277"/>
                    <a:pt x="264" y="268"/>
                    <a:pt x="264" y="258"/>
                  </a:cubicBezTo>
                  <a:lnTo>
                    <a:pt x="264" y="53"/>
                  </a:lnTo>
                  <a:lnTo>
                    <a:pt x="213" y="53"/>
                  </a:lnTo>
                  <a:lnTo>
                    <a:pt x="213" y="1"/>
                  </a:lnTo>
                  <a:lnTo>
                    <a:pt x="213" y="1"/>
                  </a:lnTo>
                  <a:close/>
                  <a:moveTo>
                    <a:pt x="69" y="48"/>
                  </a:moveTo>
                  <a:cubicBezTo>
                    <a:pt x="69" y="47"/>
                    <a:pt x="70" y="47"/>
                    <a:pt x="70" y="46"/>
                  </a:cubicBezTo>
                  <a:cubicBezTo>
                    <a:pt x="70" y="46"/>
                    <a:pt x="70" y="45"/>
                    <a:pt x="71" y="45"/>
                  </a:cubicBezTo>
                  <a:cubicBezTo>
                    <a:pt x="71" y="45"/>
                    <a:pt x="71" y="44"/>
                    <a:pt x="72" y="44"/>
                  </a:cubicBezTo>
                  <a:lnTo>
                    <a:pt x="91" y="31"/>
                  </a:lnTo>
                  <a:cubicBezTo>
                    <a:pt x="92" y="31"/>
                    <a:pt x="92" y="31"/>
                    <a:pt x="92" y="31"/>
                  </a:cubicBezTo>
                  <a:cubicBezTo>
                    <a:pt x="93" y="31"/>
                    <a:pt x="93" y="31"/>
                    <a:pt x="94" y="30"/>
                  </a:cubicBezTo>
                  <a:cubicBezTo>
                    <a:pt x="94" y="30"/>
                    <a:pt x="95" y="30"/>
                    <a:pt x="96" y="30"/>
                  </a:cubicBezTo>
                  <a:cubicBezTo>
                    <a:pt x="97" y="30"/>
                    <a:pt x="98" y="30"/>
                    <a:pt x="99" y="30"/>
                  </a:cubicBezTo>
                  <a:cubicBezTo>
                    <a:pt x="101" y="30"/>
                    <a:pt x="103" y="30"/>
                    <a:pt x="104" y="30"/>
                  </a:cubicBezTo>
                  <a:cubicBezTo>
                    <a:pt x="105" y="30"/>
                    <a:pt x="106" y="31"/>
                    <a:pt x="106" y="31"/>
                  </a:cubicBezTo>
                  <a:cubicBezTo>
                    <a:pt x="107" y="31"/>
                    <a:pt x="107" y="31"/>
                    <a:pt x="107" y="31"/>
                  </a:cubicBezTo>
                  <a:cubicBezTo>
                    <a:pt x="108" y="32"/>
                    <a:pt x="108" y="32"/>
                    <a:pt x="108" y="32"/>
                  </a:cubicBezTo>
                  <a:lnTo>
                    <a:pt x="108" y="108"/>
                  </a:lnTo>
                  <a:lnTo>
                    <a:pt x="122" y="108"/>
                  </a:lnTo>
                  <a:cubicBezTo>
                    <a:pt x="123" y="108"/>
                    <a:pt x="123" y="108"/>
                    <a:pt x="124" y="108"/>
                  </a:cubicBezTo>
                  <a:cubicBezTo>
                    <a:pt x="124" y="108"/>
                    <a:pt x="124" y="109"/>
                    <a:pt x="124" y="109"/>
                  </a:cubicBezTo>
                  <a:cubicBezTo>
                    <a:pt x="125" y="110"/>
                    <a:pt x="125" y="110"/>
                    <a:pt x="125" y="111"/>
                  </a:cubicBezTo>
                  <a:cubicBezTo>
                    <a:pt x="125" y="112"/>
                    <a:pt x="125" y="113"/>
                    <a:pt x="125" y="115"/>
                  </a:cubicBezTo>
                  <a:cubicBezTo>
                    <a:pt x="125" y="116"/>
                    <a:pt x="125" y="117"/>
                    <a:pt x="125" y="118"/>
                  </a:cubicBezTo>
                  <a:cubicBezTo>
                    <a:pt x="125" y="119"/>
                    <a:pt x="125" y="120"/>
                    <a:pt x="124" y="120"/>
                  </a:cubicBezTo>
                  <a:cubicBezTo>
                    <a:pt x="124" y="121"/>
                    <a:pt x="124" y="121"/>
                    <a:pt x="124" y="121"/>
                  </a:cubicBezTo>
                  <a:cubicBezTo>
                    <a:pt x="123" y="122"/>
                    <a:pt x="123" y="122"/>
                    <a:pt x="122" y="122"/>
                  </a:cubicBezTo>
                  <a:lnTo>
                    <a:pt x="72" y="122"/>
                  </a:lnTo>
                  <a:cubicBezTo>
                    <a:pt x="72" y="122"/>
                    <a:pt x="72" y="122"/>
                    <a:pt x="71" y="121"/>
                  </a:cubicBezTo>
                  <a:cubicBezTo>
                    <a:pt x="71" y="121"/>
                    <a:pt x="71" y="121"/>
                    <a:pt x="70" y="120"/>
                  </a:cubicBezTo>
                  <a:cubicBezTo>
                    <a:pt x="70" y="120"/>
                    <a:pt x="70" y="119"/>
                    <a:pt x="70" y="118"/>
                  </a:cubicBezTo>
                  <a:cubicBezTo>
                    <a:pt x="70" y="117"/>
                    <a:pt x="70" y="116"/>
                    <a:pt x="70" y="115"/>
                  </a:cubicBezTo>
                  <a:cubicBezTo>
                    <a:pt x="70" y="113"/>
                    <a:pt x="70" y="112"/>
                    <a:pt x="70" y="111"/>
                  </a:cubicBezTo>
                  <a:cubicBezTo>
                    <a:pt x="70" y="110"/>
                    <a:pt x="70" y="110"/>
                    <a:pt x="70" y="109"/>
                  </a:cubicBezTo>
                  <a:cubicBezTo>
                    <a:pt x="71" y="109"/>
                    <a:pt x="71" y="108"/>
                    <a:pt x="71" y="108"/>
                  </a:cubicBezTo>
                  <a:cubicBezTo>
                    <a:pt x="72" y="108"/>
                    <a:pt x="72" y="108"/>
                    <a:pt x="72" y="108"/>
                  </a:cubicBezTo>
                  <a:lnTo>
                    <a:pt x="89" y="108"/>
                  </a:lnTo>
                  <a:lnTo>
                    <a:pt x="89" y="48"/>
                  </a:lnTo>
                  <a:lnTo>
                    <a:pt x="75" y="56"/>
                  </a:lnTo>
                  <a:cubicBezTo>
                    <a:pt x="74" y="57"/>
                    <a:pt x="73" y="57"/>
                    <a:pt x="72" y="57"/>
                  </a:cubicBezTo>
                  <a:cubicBezTo>
                    <a:pt x="71" y="58"/>
                    <a:pt x="71" y="57"/>
                    <a:pt x="70" y="57"/>
                  </a:cubicBezTo>
                  <a:cubicBezTo>
                    <a:pt x="70" y="57"/>
                    <a:pt x="70" y="56"/>
                    <a:pt x="70" y="55"/>
                  </a:cubicBezTo>
                  <a:cubicBezTo>
                    <a:pt x="69" y="54"/>
                    <a:pt x="69" y="53"/>
                    <a:pt x="69" y="51"/>
                  </a:cubicBezTo>
                  <a:cubicBezTo>
                    <a:pt x="69" y="50"/>
                    <a:pt x="69" y="49"/>
                    <a:pt x="69" y="48"/>
                  </a:cubicBezTo>
                  <a:close/>
                  <a:moveTo>
                    <a:pt x="126" y="220"/>
                  </a:moveTo>
                  <a:cubicBezTo>
                    <a:pt x="125" y="226"/>
                    <a:pt x="123" y="231"/>
                    <a:pt x="120" y="235"/>
                  </a:cubicBezTo>
                  <a:cubicBezTo>
                    <a:pt x="118" y="239"/>
                    <a:pt x="114" y="242"/>
                    <a:pt x="110" y="245"/>
                  </a:cubicBezTo>
                  <a:cubicBezTo>
                    <a:pt x="106" y="247"/>
                    <a:pt x="101" y="248"/>
                    <a:pt x="95" y="248"/>
                  </a:cubicBezTo>
                  <a:cubicBezTo>
                    <a:pt x="88" y="248"/>
                    <a:pt x="83" y="247"/>
                    <a:pt x="79" y="245"/>
                  </a:cubicBezTo>
                  <a:cubicBezTo>
                    <a:pt x="75" y="243"/>
                    <a:pt x="72" y="240"/>
                    <a:pt x="69" y="236"/>
                  </a:cubicBezTo>
                  <a:cubicBezTo>
                    <a:pt x="67" y="232"/>
                    <a:pt x="65" y="227"/>
                    <a:pt x="64" y="221"/>
                  </a:cubicBezTo>
                  <a:cubicBezTo>
                    <a:pt x="63" y="215"/>
                    <a:pt x="63" y="209"/>
                    <a:pt x="63" y="201"/>
                  </a:cubicBezTo>
                  <a:cubicBezTo>
                    <a:pt x="63" y="194"/>
                    <a:pt x="64" y="187"/>
                    <a:pt x="65" y="182"/>
                  </a:cubicBezTo>
                  <a:cubicBezTo>
                    <a:pt x="66" y="176"/>
                    <a:pt x="68" y="171"/>
                    <a:pt x="71" y="167"/>
                  </a:cubicBezTo>
                  <a:cubicBezTo>
                    <a:pt x="73" y="163"/>
                    <a:pt x="77" y="159"/>
                    <a:pt x="81" y="157"/>
                  </a:cubicBezTo>
                  <a:cubicBezTo>
                    <a:pt x="85" y="155"/>
                    <a:pt x="90" y="154"/>
                    <a:pt x="96" y="154"/>
                  </a:cubicBezTo>
                  <a:cubicBezTo>
                    <a:pt x="103" y="154"/>
                    <a:pt x="108" y="155"/>
                    <a:pt x="112" y="157"/>
                  </a:cubicBezTo>
                  <a:cubicBezTo>
                    <a:pt x="116" y="159"/>
                    <a:pt x="119" y="162"/>
                    <a:pt x="122" y="166"/>
                  </a:cubicBezTo>
                  <a:cubicBezTo>
                    <a:pt x="124" y="170"/>
                    <a:pt x="126" y="175"/>
                    <a:pt x="126" y="181"/>
                  </a:cubicBezTo>
                  <a:cubicBezTo>
                    <a:pt x="127" y="187"/>
                    <a:pt x="128" y="193"/>
                    <a:pt x="128" y="201"/>
                  </a:cubicBezTo>
                  <a:cubicBezTo>
                    <a:pt x="128" y="208"/>
                    <a:pt x="127" y="214"/>
                    <a:pt x="126" y="220"/>
                  </a:cubicBezTo>
                  <a:close/>
                  <a:moveTo>
                    <a:pt x="198" y="243"/>
                  </a:moveTo>
                  <a:cubicBezTo>
                    <a:pt x="198" y="244"/>
                    <a:pt x="198" y="244"/>
                    <a:pt x="197" y="245"/>
                  </a:cubicBezTo>
                  <a:cubicBezTo>
                    <a:pt x="197" y="245"/>
                    <a:pt x="197" y="246"/>
                    <a:pt x="196" y="246"/>
                  </a:cubicBezTo>
                  <a:cubicBezTo>
                    <a:pt x="196" y="246"/>
                    <a:pt x="196" y="246"/>
                    <a:pt x="195" y="246"/>
                  </a:cubicBezTo>
                  <a:lnTo>
                    <a:pt x="145" y="246"/>
                  </a:lnTo>
                  <a:cubicBezTo>
                    <a:pt x="145" y="246"/>
                    <a:pt x="144" y="246"/>
                    <a:pt x="144" y="246"/>
                  </a:cubicBezTo>
                  <a:cubicBezTo>
                    <a:pt x="144" y="246"/>
                    <a:pt x="143" y="245"/>
                    <a:pt x="143" y="245"/>
                  </a:cubicBezTo>
                  <a:cubicBezTo>
                    <a:pt x="143" y="244"/>
                    <a:pt x="143" y="244"/>
                    <a:pt x="143" y="243"/>
                  </a:cubicBezTo>
                  <a:cubicBezTo>
                    <a:pt x="142" y="242"/>
                    <a:pt x="142" y="241"/>
                    <a:pt x="142" y="239"/>
                  </a:cubicBezTo>
                  <a:cubicBezTo>
                    <a:pt x="142" y="238"/>
                    <a:pt x="142" y="237"/>
                    <a:pt x="143" y="236"/>
                  </a:cubicBezTo>
                  <a:cubicBezTo>
                    <a:pt x="143" y="235"/>
                    <a:pt x="143" y="234"/>
                    <a:pt x="143" y="234"/>
                  </a:cubicBezTo>
                  <a:cubicBezTo>
                    <a:pt x="143" y="233"/>
                    <a:pt x="144" y="233"/>
                    <a:pt x="144" y="232"/>
                  </a:cubicBezTo>
                  <a:cubicBezTo>
                    <a:pt x="144" y="232"/>
                    <a:pt x="145" y="232"/>
                    <a:pt x="145" y="232"/>
                  </a:cubicBezTo>
                  <a:lnTo>
                    <a:pt x="162" y="232"/>
                  </a:lnTo>
                  <a:lnTo>
                    <a:pt x="162" y="173"/>
                  </a:lnTo>
                  <a:lnTo>
                    <a:pt x="147" y="181"/>
                  </a:lnTo>
                  <a:cubicBezTo>
                    <a:pt x="146" y="182"/>
                    <a:pt x="146" y="182"/>
                    <a:pt x="145" y="182"/>
                  </a:cubicBezTo>
                  <a:cubicBezTo>
                    <a:pt x="144" y="182"/>
                    <a:pt x="144" y="182"/>
                    <a:pt x="143" y="182"/>
                  </a:cubicBezTo>
                  <a:cubicBezTo>
                    <a:pt x="143" y="181"/>
                    <a:pt x="143" y="180"/>
                    <a:pt x="142" y="180"/>
                  </a:cubicBezTo>
                  <a:cubicBezTo>
                    <a:pt x="142" y="179"/>
                    <a:pt x="142" y="177"/>
                    <a:pt x="142" y="175"/>
                  </a:cubicBezTo>
                  <a:cubicBezTo>
                    <a:pt x="142" y="174"/>
                    <a:pt x="142" y="173"/>
                    <a:pt x="142" y="173"/>
                  </a:cubicBezTo>
                  <a:cubicBezTo>
                    <a:pt x="142" y="172"/>
                    <a:pt x="142" y="171"/>
                    <a:pt x="143" y="171"/>
                  </a:cubicBezTo>
                  <a:cubicBezTo>
                    <a:pt x="143" y="170"/>
                    <a:pt x="143" y="170"/>
                    <a:pt x="143" y="169"/>
                  </a:cubicBezTo>
                  <a:cubicBezTo>
                    <a:pt x="144" y="169"/>
                    <a:pt x="144" y="169"/>
                    <a:pt x="145" y="168"/>
                  </a:cubicBezTo>
                  <a:lnTo>
                    <a:pt x="164" y="156"/>
                  </a:lnTo>
                  <a:cubicBezTo>
                    <a:pt x="164" y="156"/>
                    <a:pt x="165" y="155"/>
                    <a:pt x="165" y="155"/>
                  </a:cubicBezTo>
                  <a:cubicBezTo>
                    <a:pt x="165" y="155"/>
                    <a:pt x="166" y="155"/>
                    <a:pt x="166" y="155"/>
                  </a:cubicBezTo>
                  <a:cubicBezTo>
                    <a:pt x="167" y="155"/>
                    <a:pt x="168" y="155"/>
                    <a:pt x="169" y="155"/>
                  </a:cubicBezTo>
                  <a:cubicBezTo>
                    <a:pt x="170" y="155"/>
                    <a:pt x="171" y="155"/>
                    <a:pt x="172" y="155"/>
                  </a:cubicBezTo>
                  <a:cubicBezTo>
                    <a:pt x="174" y="155"/>
                    <a:pt x="175" y="155"/>
                    <a:pt x="177" y="155"/>
                  </a:cubicBezTo>
                  <a:cubicBezTo>
                    <a:pt x="178" y="155"/>
                    <a:pt x="179" y="155"/>
                    <a:pt x="179" y="155"/>
                  </a:cubicBezTo>
                  <a:cubicBezTo>
                    <a:pt x="180" y="155"/>
                    <a:pt x="180" y="156"/>
                    <a:pt x="180" y="156"/>
                  </a:cubicBezTo>
                  <a:cubicBezTo>
                    <a:pt x="180" y="156"/>
                    <a:pt x="180" y="157"/>
                    <a:pt x="180" y="157"/>
                  </a:cubicBezTo>
                  <a:lnTo>
                    <a:pt x="180" y="232"/>
                  </a:lnTo>
                  <a:lnTo>
                    <a:pt x="195" y="232"/>
                  </a:lnTo>
                  <a:cubicBezTo>
                    <a:pt x="196" y="232"/>
                    <a:pt x="196" y="232"/>
                    <a:pt x="196" y="232"/>
                  </a:cubicBezTo>
                  <a:cubicBezTo>
                    <a:pt x="197" y="233"/>
                    <a:pt x="197" y="233"/>
                    <a:pt x="197" y="234"/>
                  </a:cubicBezTo>
                  <a:cubicBezTo>
                    <a:pt x="198" y="234"/>
                    <a:pt x="198" y="235"/>
                    <a:pt x="198" y="236"/>
                  </a:cubicBezTo>
                  <a:cubicBezTo>
                    <a:pt x="198" y="237"/>
                    <a:pt x="198" y="238"/>
                    <a:pt x="198" y="239"/>
                  </a:cubicBezTo>
                  <a:cubicBezTo>
                    <a:pt x="198" y="241"/>
                    <a:pt x="198" y="242"/>
                    <a:pt x="198" y="243"/>
                  </a:cubicBezTo>
                  <a:close/>
                  <a:moveTo>
                    <a:pt x="199" y="96"/>
                  </a:moveTo>
                  <a:cubicBezTo>
                    <a:pt x="198" y="101"/>
                    <a:pt x="196" y="106"/>
                    <a:pt x="193" y="111"/>
                  </a:cubicBezTo>
                  <a:cubicBezTo>
                    <a:pt x="191" y="115"/>
                    <a:pt x="187" y="118"/>
                    <a:pt x="183" y="120"/>
                  </a:cubicBezTo>
                  <a:cubicBezTo>
                    <a:pt x="179" y="122"/>
                    <a:pt x="174" y="123"/>
                    <a:pt x="167" y="123"/>
                  </a:cubicBezTo>
                  <a:cubicBezTo>
                    <a:pt x="161" y="123"/>
                    <a:pt x="156" y="122"/>
                    <a:pt x="152" y="120"/>
                  </a:cubicBezTo>
                  <a:cubicBezTo>
                    <a:pt x="148" y="118"/>
                    <a:pt x="145" y="115"/>
                    <a:pt x="142" y="111"/>
                  </a:cubicBezTo>
                  <a:cubicBezTo>
                    <a:pt x="140" y="107"/>
                    <a:pt x="138" y="102"/>
                    <a:pt x="137" y="96"/>
                  </a:cubicBezTo>
                  <a:cubicBezTo>
                    <a:pt x="136" y="90"/>
                    <a:pt x="136" y="84"/>
                    <a:pt x="136" y="77"/>
                  </a:cubicBezTo>
                  <a:cubicBezTo>
                    <a:pt x="136" y="69"/>
                    <a:pt x="136" y="63"/>
                    <a:pt x="138" y="57"/>
                  </a:cubicBezTo>
                  <a:cubicBezTo>
                    <a:pt x="139" y="51"/>
                    <a:pt x="141" y="46"/>
                    <a:pt x="143" y="42"/>
                  </a:cubicBezTo>
                  <a:cubicBezTo>
                    <a:pt x="146" y="38"/>
                    <a:pt x="149" y="35"/>
                    <a:pt x="154" y="33"/>
                  </a:cubicBezTo>
                  <a:cubicBezTo>
                    <a:pt x="158" y="30"/>
                    <a:pt x="163" y="29"/>
                    <a:pt x="169" y="29"/>
                  </a:cubicBezTo>
                  <a:cubicBezTo>
                    <a:pt x="175" y="29"/>
                    <a:pt x="181" y="30"/>
                    <a:pt x="185" y="32"/>
                  </a:cubicBezTo>
                  <a:cubicBezTo>
                    <a:pt x="189" y="35"/>
                    <a:pt x="192" y="38"/>
                    <a:pt x="194" y="42"/>
                  </a:cubicBezTo>
                  <a:cubicBezTo>
                    <a:pt x="197" y="46"/>
                    <a:pt x="198" y="51"/>
                    <a:pt x="199" y="56"/>
                  </a:cubicBezTo>
                  <a:cubicBezTo>
                    <a:pt x="200" y="62"/>
                    <a:pt x="201" y="69"/>
                    <a:pt x="201" y="76"/>
                  </a:cubicBezTo>
                  <a:cubicBezTo>
                    <a:pt x="201" y="83"/>
                    <a:pt x="200" y="90"/>
                    <a:pt x="199" y="96"/>
                  </a:cubicBezTo>
                  <a:close/>
                </a:path>
              </a:pathLst>
            </a:custGeom>
            <a:solidFill>
              <a:srgbClr val="29C7F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grpSp>
      <p:grpSp>
        <p:nvGrpSpPr>
          <p:cNvPr id="15" name="Group 14"/>
          <p:cNvGrpSpPr/>
          <p:nvPr/>
        </p:nvGrpSpPr>
        <p:grpSpPr>
          <a:xfrm>
            <a:off x="5595047" y="2380038"/>
            <a:ext cx="2878428" cy="2375326"/>
            <a:chOff x="6671121" y="2380038"/>
            <a:chExt cx="1802354" cy="2375326"/>
          </a:xfrm>
        </p:grpSpPr>
        <p:cxnSp>
          <p:nvCxnSpPr>
            <p:cNvPr id="96" name="Straight Connector 95"/>
            <p:cNvCxnSpPr>
              <a:cxnSpLocks/>
            </p:cNvCxnSpPr>
            <p:nvPr/>
          </p:nvCxnSpPr>
          <p:spPr>
            <a:xfrm flipH="1">
              <a:off x="6671121" y="4729636"/>
              <a:ext cx="1779004" cy="25728"/>
            </a:xfrm>
            <a:prstGeom prst="line">
              <a:avLst/>
            </a:prstGeom>
            <a:ln w="38100">
              <a:solidFill>
                <a:schemeClr val="tx1"/>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a:cxnSpLocks/>
            </p:cNvCxnSpPr>
            <p:nvPr/>
          </p:nvCxnSpPr>
          <p:spPr>
            <a:xfrm flipH="1">
              <a:off x="6671121" y="2380038"/>
              <a:ext cx="1799024" cy="0"/>
            </a:xfrm>
            <a:prstGeom prst="line">
              <a:avLst/>
            </a:prstGeom>
            <a:ln w="38100">
              <a:solidFill>
                <a:schemeClr val="tx1"/>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4C2B5C0-7355-4F4D-AE83-4EDE38DF6C5D}"/>
                </a:ext>
              </a:extLst>
            </p:cNvPr>
            <p:cNvCxnSpPr>
              <a:cxnSpLocks/>
            </p:cNvCxnSpPr>
            <p:nvPr/>
          </p:nvCxnSpPr>
          <p:spPr>
            <a:xfrm flipH="1">
              <a:off x="6671121" y="3545220"/>
              <a:ext cx="1802354" cy="0"/>
            </a:xfrm>
            <a:prstGeom prst="line">
              <a:avLst/>
            </a:prstGeom>
            <a:ln w="38100">
              <a:solidFill>
                <a:schemeClr val="tx1"/>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61" name="Group 60">
            <a:extLst>
              <a:ext uri="{FF2B5EF4-FFF2-40B4-BE49-F238E27FC236}">
                <a16:creationId xmlns:a16="http://schemas.microsoft.com/office/drawing/2014/main" id="{6B3E4977-C0EE-46E0-AC7A-F9F43EEC4C5E}"/>
              </a:ext>
            </a:extLst>
          </p:cNvPr>
          <p:cNvGrpSpPr/>
          <p:nvPr/>
        </p:nvGrpSpPr>
        <p:grpSpPr>
          <a:xfrm>
            <a:off x="365357" y="296897"/>
            <a:ext cx="618653" cy="821080"/>
            <a:chOff x="2294644" y="680860"/>
            <a:chExt cx="3596824" cy="4773730"/>
          </a:xfrm>
        </p:grpSpPr>
        <p:sp>
          <p:nvSpPr>
            <p:cNvPr id="62" name="Freeform 83">
              <a:extLst>
                <a:ext uri="{FF2B5EF4-FFF2-40B4-BE49-F238E27FC236}">
                  <a16:creationId xmlns:a16="http://schemas.microsoft.com/office/drawing/2014/main" id="{A4FB4779-98EC-4A8E-A203-3F1EC0CEDE74}"/>
                </a:ext>
              </a:extLst>
            </p:cNvPr>
            <p:cNvSpPr/>
            <p:nvPr/>
          </p:nvSpPr>
          <p:spPr>
            <a:xfrm>
              <a:off x="2294644" y="1330208"/>
              <a:ext cx="3596824" cy="4115394"/>
            </a:xfrm>
            <a:custGeom>
              <a:avLst/>
              <a:gdLst>
                <a:gd name="connsiteX0" fmla="*/ 0 w 3596824"/>
                <a:gd name="connsiteY0" fmla="*/ 0 h 4115394"/>
                <a:gd name="connsiteX1" fmla="*/ 3596823 w 3596824"/>
                <a:gd name="connsiteY1" fmla="*/ 0 h 4115394"/>
                <a:gd name="connsiteX2" fmla="*/ 3596823 w 3596824"/>
                <a:gd name="connsiteY2" fmla="*/ 3465793 h 4115394"/>
                <a:gd name="connsiteX3" fmla="*/ 3596824 w 3596824"/>
                <a:gd name="connsiteY3" fmla="*/ 3465800 h 4115394"/>
                <a:gd name="connsiteX4" fmla="*/ 3596823 w 3596824"/>
                <a:gd name="connsiteY4" fmla="*/ 3465808 h 4115394"/>
                <a:gd name="connsiteX5" fmla="*/ 3596823 w 3596824"/>
                <a:gd name="connsiteY5" fmla="*/ 3473042 h 4115394"/>
                <a:gd name="connsiteX6" fmla="*/ 3595812 w 3596824"/>
                <a:gd name="connsiteY6" fmla="*/ 3473042 h 4115394"/>
                <a:gd name="connsiteX7" fmla="*/ 3587539 w 3596824"/>
                <a:gd name="connsiteY7" fmla="*/ 3532217 h 4115394"/>
                <a:gd name="connsiteX8" fmla="*/ 1798412 w 3596824"/>
                <a:gd name="connsiteY8" fmla="*/ 4115394 h 4115394"/>
                <a:gd name="connsiteX9" fmla="*/ 9285 w 3596824"/>
                <a:gd name="connsiteY9" fmla="*/ 3532217 h 4115394"/>
                <a:gd name="connsiteX10" fmla="*/ 1013 w 3596824"/>
                <a:gd name="connsiteY10" fmla="*/ 3473042 h 4115394"/>
                <a:gd name="connsiteX11" fmla="*/ 0 w 3596824"/>
                <a:gd name="connsiteY11" fmla="*/ 3473042 h 4115394"/>
                <a:gd name="connsiteX12" fmla="*/ 0 w 3596824"/>
                <a:gd name="connsiteY12" fmla="*/ 3465800 h 4115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6824" h="4115394">
                  <a:moveTo>
                    <a:pt x="0" y="0"/>
                  </a:moveTo>
                  <a:lnTo>
                    <a:pt x="3596823" y="0"/>
                  </a:lnTo>
                  <a:lnTo>
                    <a:pt x="3596823" y="3465793"/>
                  </a:lnTo>
                  <a:lnTo>
                    <a:pt x="3596824" y="3465800"/>
                  </a:lnTo>
                  <a:lnTo>
                    <a:pt x="3596823" y="3465808"/>
                  </a:lnTo>
                  <a:lnTo>
                    <a:pt x="3596823" y="3473042"/>
                  </a:lnTo>
                  <a:lnTo>
                    <a:pt x="3595812" y="3473042"/>
                  </a:lnTo>
                  <a:lnTo>
                    <a:pt x="3587539" y="3532217"/>
                  </a:lnTo>
                  <a:cubicBezTo>
                    <a:pt x="3495443" y="3859779"/>
                    <a:pt x="2729571" y="4115394"/>
                    <a:pt x="1798412" y="4115394"/>
                  </a:cubicBezTo>
                  <a:cubicBezTo>
                    <a:pt x="867253" y="4115394"/>
                    <a:pt x="101382" y="3859779"/>
                    <a:pt x="9285" y="3532217"/>
                  </a:cubicBezTo>
                  <a:lnTo>
                    <a:pt x="1013" y="3473042"/>
                  </a:lnTo>
                  <a:lnTo>
                    <a:pt x="0" y="3473042"/>
                  </a:lnTo>
                  <a:lnTo>
                    <a:pt x="0" y="3465800"/>
                  </a:lnTo>
                  <a:close/>
                </a:path>
              </a:pathLst>
            </a:custGeom>
            <a:solidFill>
              <a:srgbClr val="A59B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3" name="Freeform 84">
              <a:extLst>
                <a:ext uri="{FF2B5EF4-FFF2-40B4-BE49-F238E27FC236}">
                  <a16:creationId xmlns:a16="http://schemas.microsoft.com/office/drawing/2014/main" id="{606794EC-A6C2-4F3C-A1D1-D1F83807DC9B}"/>
                </a:ext>
              </a:extLst>
            </p:cNvPr>
            <p:cNvSpPr/>
            <p:nvPr/>
          </p:nvSpPr>
          <p:spPr>
            <a:xfrm>
              <a:off x="2294644" y="1319318"/>
              <a:ext cx="1798413" cy="4115394"/>
            </a:xfrm>
            <a:custGeom>
              <a:avLst/>
              <a:gdLst>
                <a:gd name="connsiteX0" fmla="*/ 0 w 1798413"/>
                <a:gd name="connsiteY0" fmla="*/ 0 h 4115394"/>
                <a:gd name="connsiteX1" fmla="*/ 1798413 w 1798413"/>
                <a:gd name="connsiteY1" fmla="*/ 0 h 4115394"/>
                <a:gd name="connsiteX2" fmla="*/ 1798413 w 1798413"/>
                <a:gd name="connsiteY2" fmla="*/ 4115394 h 4115394"/>
                <a:gd name="connsiteX3" fmla="*/ 1798412 w 1798413"/>
                <a:gd name="connsiteY3" fmla="*/ 4115394 h 4115394"/>
                <a:gd name="connsiteX4" fmla="*/ 9285 w 1798413"/>
                <a:gd name="connsiteY4" fmla="*/ 3532217 h 4115394"/>
                <a:gd name="connsiteX5" fmla="*/ 1013 w 1798413"/>
                <a:gd name="connsiteY5" fmla="*/ 3473042 h 4115394"/>
                <a:gd name="connsiteX6" fmla="*/ 0 w 1798413"/>
                <a:gd name="connsiteY6" fmla="*/ 3473042 h 4115394"/>
                <a:gd name="connsiteX7" fmla="*/ 0 w 1798413"/>
                <a:gd name="connsiteY7" fmla="*/ 3465800 h 4115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8413" h="4115394">
                  <a:moveTo>
                    <a:pt x="0" y="0"/>
                  </a:moveTo>
                  <a:lnTo>
                    <a:pt x="1798413" y="0"/>
                  </a:lnTo>
                  <a:lnTo>
                    <a:pt x="1798413" y="4115394"/>
                  </a:lnTo>
                  <a:lnTo>
                    <a:pt x="1798412" y="4115394"/>
                  </a:lnTo>
                  <a:cubicBezTo>
                    <a:pt x="867253" y="4115394"/>
                    <a:pt x="101382" y="3859779"/>
                    <a:pt x="9285" y="3532217"/>
                  </a:cubicBezTo>
                  <a:lnTo>
                    <a:pt x="1013" y="3473042"/>
                  </a:lnTo>
                  <a:lnTo>
                    <a:pt x="0" y="3473042"/>
                  </a:lnTo>
                  <a:lnTo>
                    <a:pt x="0" y="3465800"/>
                  </a:lnTo>
                  <a:close/>
                </a:path>
              </a:pathLst>
            </a:custGeom>
            <a:solidFill>
              <a:srgbClr val="4741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4" name="Oval 63">
              <a:extLst>
                <a:ext uri="{FF2B5EF4-FFF2-40B4-BE49-F238E27FC236}">
                  <a16:creationId xmlns:a16="http://schemas.microsoft.com/office/drawing/2014/main" id="{1417B448-571C-4F04-A753-0B1DFC0091BB}"/>
                </a:ext>
              </a:extLst>
            </p:cNvPr>
            <p:cNvSpPr/>
            <p:nvPr/>
          </p:nvSpPr>
          <p:spPr>
            <a:xfrm>
              <a:off x="2294645" y="680860"/>
              <a:ext cx="3596823" cy="1299187"/>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3" name="Oval 82">
              <a:extLst>
                <a:ext uri="{FF2B5EF4-FFF2-40B4-BE49-F238E27FC236}">
                  <a16:creationId xmlns:a16="http://schemas.microsoft.com/office/drawing/2014/main" id="{C338B558-8040-45BB-A5AF-0A92D5FD1357}"/>
                </a:ext>
              </a:extLst>
            </p:cNvPr>
            <p:cNvSpPr/>
            <p:nvPr/>
          </p:nvSpPr>
          <p:spPr>
            <a:xfrm>
              <a:off x="2666927" y="898175"/>
              <a:ext cx="2852258" cy="864066"/>
            </a:xfrm>
            <a:prstGeom prst="ellipse">
              <a:avLst/>
            </a:prstGeom>
            <a:solidFill>
              <a:srgbClr val="B5CD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4" name="Freeform 87">
              <a:extLst>
                <a:ext uri="{FF2B5EF4-FFF2-40B4-BE49-F238E27FC236}">
                  <a16:creationId xmlns:a16="http://schemas.microsoft.com/office/drawing/2014/main" id="{7810C32A-85BF-4F4C-97FD-C7F4E6DDF643}"/>
                </a:ext>
              </a:extLst>
            </p:cNvPr>
            <p:cNvSpPr/>
            <p:nvPr/>
          </p:nvSpPr>
          <p:spPr>
            <a:xfrm>
              <a:off x="2920902" y="1388931"/>
              <a:ext cx="2344306" cy="373310"/>
            </a:xfrm>
            <a:custGeom>
              <a:avLst/>
              <a:gdLst>
                <a:gd name="connsiteX0" fmla="*/ 1172153 w 2344306"/>
                <a:gd name="connsiteY0" fmla="*/ 0 h 373310"/>
                <a:gd name="connsiteX1" fmla="*/ 2180579 w 2344306"/>
                <a:gd name="connsiteY1" fmla="*/ 126540 h 373310"/>
                <a:gd name="connsiteX2" fmla="*/ 2344306 w 2344306"/>
                <a:gd name="connsiteY2" fmla="*/ 186655 h 373310"/>
                <a:gd name="connsiteX3" fmla="*/ 2180579 w 2344306"/>
                <a:gd name="connsiteY3" fmla="*/ 246770 h 373310"/>
                <a:gd name="connsiteX4" fmla="*/ 1172153 w 2344306"/>
                <a:gd name="connsiteY4" fmla="*/ 373310 h 373310"/>
                <a:gd name="connsiteX5" fmla="*/ 163728 w 2344306"/>
                <a:gd name="connsiteY5" fmla="*/ 246770 h 373310"/>
                <a:gd name="connsiteX6" fmla="*/ 0 w 2344306"/>
                <a:gd name="connsiteY6" fmla="*/ 186655 h 373310"/>
                <a:gd name="connsiteX7" fmla="*/ 163728 w 2344306"/>
                <a:gd name="connsiteY7" fmla="*/ 126540 h 373310"/>
                <a:gd name="connsiteX8" fmla="*/ 1172153 w 2344306"/>
                <a:gd name="connsiteY8" fmla="*/ 0 h 373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4306" h="373310">
                  <a:moveTo>
                    <a:pt x="1172153" y="0"/>
                  </a:moveTo>
                  <a:cubicBezTo>
                    <a:pt x="1565968" y="0"/>
                    <a:pt x="1922500" y="48357"/>
                    <a:pt x="2180579" y="126540"/>
                  </a:cubicBezTo>
                  <a:lnTo>
                    <a:pt x="2344306" y="186655"/>
                  </a:lnTo>
                  <a:lnTo>
                    <a:pt x="2180579" y="246770"/>
                  </a:lnTo>
                  <a:cubicBezTo>
                    <a:pt x="1922500" y="324953"/>
                    <a:pt x="1565968" y="373310"/>
                    <a:pt x="1172153" y="373310"/>
                  </a:cubicBezTo>
                  <a:cubicBezTo>
                    <a:pt x="778339" y="373310"/>
                    <a:pt x="421806" y="324953"/>
                    <a:pt x="163728" y="246770"/>
                  </a:cubicBezTo>
                  <a:lnTo>
                    <a:pt x="0" y="186655"/>
                  </a:lnTo>
                  <a:lnTo>
                    <a:pt x="163728" y="126540"/>
                  </a:lnTo>
                  <a:cubicBezTo>
                    <a:pt x="421806" y="48357"/>
                    <a:pt x="778339" y="0"/>
                    <a:pt x="1172153" y="0"/>
                  </a:cubicBezTo>
                  <a:close/>
                </a:path>
              </a:pathLst>
            </a:custGeom>
            <a:solidFill>
              <a:srgbClr val="7FB2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5" name="Freeform 88">
              <a:extLst>
                <a:ext uri="{FF2B5EF4-FFF2-40B4-BE49-F238E27FC236}">
                  <a16:creationId xmlns:a16="http://schemas.microsoft.com/office/drawing/2014/main" id="{68A77B41-21E2-49E4-8E0D-937302DAFDA7}"/>
                </a:ext>
              </a:extLst>
            </p:cNvPr>
            <p:cNvSpPr/>
            <p:nvPr/>
          </p:nvSpPr>
          <p:spPr>
            <a:xfrm>
              <a:off x="2294644" y="3274582"/>
              <a:ext cx="3596824" cy="2180008"/>
            </a:xfrm>
            <a:custGeom>
              <a:avLst/>
              <a:gdLst>
                <a:gd name="connsiteX0" fmla="*/ 1167538 w 3596824"/>
                <a:gd name="connsiteY0" fmla="*/ 0 h 2180008"/>
                <a:gd name="connsiteX1" fmla="*/ 1213645 w 3596824"/>
                <a:gd name="connsiteY1" fmla="*/ 78247 h 2180008"/>
                <a:gd name="connsiteX2" fmla="*/ 1798412 w 3596824"/>
                <a:gd name="connsiteY2" fmla="*/ 364647 h 2180008"/>
                <a:gd name="connsiteX3" fmla="*/ 2383179 w 3596824"/>
                <a:gd name="connsiteY3" fmla="*/ 78247 h 2180008"/>
                <a:gd name="connsiteX4" fmla="*/ 2429285 w 3596824"/>
                <a:gd name="connsiteY4" fmla="*/ 1 h 2180008"/>
                <a:gd name="connsiteX5" fmla="*/ 2475392 w 3596824"/>
                <a:gd name="connsiteY5" fmla="*/ 78247 h 2180008"/>
                <a:gd name="connsiteX6" fmla="*/ 3060159 w 3596824"/>
                <a:gd name="connsiteY6" fmla="*/ 364647 h 2180008"/>
                <a:gd name="connsiteX7" fmla="*/ 3558814 w 3596824"/>
                <a:gd name="connsiteY7" fmla="*/ 174385 h 2180008"/>
                <a:gd name="connsiteX8" fmla="*/ 3596823 w 3596824"/>
                <a:gd name="connsiteY8" fmla="*/ 131951 h 2180008"/>
                <a:gd name="connsiteX9" fmla="*/ 3596823 w 3596824"/>
                <a:gd name="connsiteY9" fmla="*/ 1530407 h 2180008"/>
                <a:gd name="connsiteX10" fmla="*/ 3596824 w 3596824"/>
                <a:gd name="connsiteY10" fmla="*/ 1530414 h 2180008"/>
                <a:gd name="connsiteX11" fmla="*/ 3596823 w 3596824"/>
                <a:gd name="connsiteY11" fmla="*/ 1530422 h 2180008"/>
                <a:gd name="connsiteX12" fmla="*/ 3596823 w 3596824"/>
                <a:gd name="connsiteY12" fmla="*/ 1537656 h 2180008"/>
                <a:gd name="connsiteX13" fmla="*/ 3595812 w 3596824"/>
                <a:gd name="connsiteY13" fmla="*/ 1537656 h 2180008"/>
                <a:gd name="connsiteX14" fmla="*/ 3587539 w 3596824"/>
                <a:gd name="connsiteY14" fmla="*/ 1596831 h 2180008"/>
                <a:gd name="connsiteX15" fmla="*/ 1798412 w 3596824"/>
                <a:gd name="connsiteY15" fmla="*/ 2180008 h 2180008"/>
                <a:gd name="connsiteX16" fmla="*/ 9285 w 3596824"/>
                <a:gd name="connsiteY16" fmla="*/ 1596831 h 2180008"/>
                <a:gd name="connsiteX17" fmla="*/ 1013 w 3596824"/>
                <a:gd name="connsiteY17" fmla="*/ 1537656 h 2180008"/>
                <a:gd name="connsiteX18" fmla="*/ 0 w 3596824"/>
                <a:gd name="connsiteY18" fmla="*/ 1537656 h 2180008"/>
                <a:gd name="connsiteX19" fmla="*/ 0 w 3596824"/>
                <a:gd name="connsiteY19" fmla="*/ 1530414 h 2180008"/>
                <a:gd name="connsiteX20" fmla="*/ 0 w 3596824"/>
                <a:gd name="connsiteY20" fmla="*/ 131951 h 2180008"/>
                <a:gd name="connsiteX21" fmla="*/ 38009 w 3596824"/>
                <a:gd name="connsiteY21" fmla="*/ 174385 h 2180008"/>
                <a:gd name="connsiteX22" fmla="*/ 536664 w 3596824"/>
                <a:gd name="connsiteY22" fmla="*/ 364647 h 2180008"/>
                <a:gd name="connsiteX23" fmla="*/ 1121431 w 3596824"/>
                <a:gd name="connsiteY23" fmla="*/ 78247 h 2180008"/>
                <a:gd name="connsiteX24" fmla="*/ 1167538 w 3596824"/>
                <a:gd name="connsiteY24" fmla="*/ 0 h 2180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96824" h="2180008">
                  <a:moveTo>
                    <a:pt x="1167538" y="0"/>
                  </a:moveTo>
                  <a:lnTo>
                    <a:pt x="1213645" y="78247"/>
                  </a:lnTo>
                  <a:cubicBezTo>
                    <a:pt x="1340376" y="251040"/>
                    <a:pt x="1554991" y="364647"/>
                    <a:pt x="1798412" y="364647"/>
                  </a:cubicBezTo>
                  <a:cubicBezTo>
                    <a:pt x="2041833" y="364647"/>
                    <a:pt x="2256449" y="251040"/>
                    <a:pt x="2383179" y="78247"/>
                  </a:cubicBezTo>
                  <a:lnTo>
                    <a:pt x="2429285" y="1"/>
                  </a:lnTo>
                  <a:lnTo>
                    <a:pt x="2475392" y="78247"/>
                  </a:lnTo>
                  <a:cubicBezTo>
                    <a:pt x="2602122" y="251040"/>
                    <a:pt x="2816738" y="364647"/>
                    <a:pt x="3060159" y="364647"/>
                  </a:cubicBezTo>
                  <a:cubicBezTo>
                    <a:pt x="3254896" y="364647"/>
                    <a:pt x="3431197" y="291939"/>
                    <a:pt x="3558814" y="174385"/>
                  </a:cubicBezTo>
                  <a:lnTo>
                    <a:pt x="3596823" y="131951"/>
                  </a:lnTo>
                  <a:lnTo>
                    <a:pt x="3596823" y="1530407"/>
                  </a:lnTo>
                  <a:lnTo>
                    <a:pt x="3596824" y="1530414"/>
                  </a:lnTo>
                  <a:lnTo>
                    <a:pt x="3596823" y="1530422"/>
                  </a:lnTo>
                  <a:lnTo>
                    <a:pt x="3596823" y="1537656"/>
                  </a:lnTo>
                  <a:lnTo>
                    <a:pt x="3595812" y="1537656"/>
                  </a:lnTo>
                  <a:lnTo>
                    <a:pt x="3587539" y="1596831"/>
                  </a:lnTo>
                  <a:cubicBezTo>
                    <a:pt x="3495443" y="1924393"/>
                    <a:pt x="2729571" y="2180008"/>
                    <a:pt x="1798412" y="2180008"/>
                  </a:cubicBezTo>
                  <a:cubicBezTo>
                    <a:pt x="867253" y="2180008"/>
                    <a:pt x="101382" y="1924393"/>
                    <a:pt x="9285" y="1596831"/>
                  </a:cubicBezTo>
                  <a:lnTo>
                    <a:pt x="1013" y="1537656"/>
                  </a:lnTo>
                  <a:lnTo>
                    <a:pt x="0" y="1537656"/>
                  </a:lnTo>
                  <a:lnTo>
                    <a:pt x="0" y="1530414"/>
                  </a:lnTo>
                  <a:lnTo>
                    <a:pt x="0" y="131951"/>
                  </a:lnTo>
                  <a:lnTo>
                    <a:pt x="38009" y="174385"/>
                  </a:lnTo>
                  <a:cubicBezTo>
                    <a:pt x="165626" y="291939"/>
                    <a:pt x="341927" y="364647"/>
                    <a:pt x="536664" y="364647"/>
                  </a:cubicBezTo>
                  <a:cubicBezTo>
                    <a:pt x="780086" y="364647"/>
                    <a:pt x="994701" y="251040"/>
                    <a:pt x="1121431" y="78247"/>
                  </a:cubicBezTo>
                  <a:lnTo>
                    <a:pt x="1167538" y="0"/>
                  </a:lnTo>
                  <a:close/>
                </a:path>
              </a:pathLst>
            </a:custGeom>
            <a:solidFill>
              <a:srgbClr val="73AD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6" name="Freeform 89">
              <a:extLst>
                <a:ext uri="{FF2B5EF4-FFF2-40B4-BE49-F238E27FC236}">
                  <a16:creationId xmlns:a16="http://schemas.microsoft.com/office/drawing/2014/main" id="{43D85788-182F-4977-BDB5-F28FEAE5A78A}"/>
                </a:ext>
              </a:extLst>
            </p:cNvPr>
            <p:cNvSpPr/>
            <p:nvPr/>
          </p:nvSpPr>
          <p:spPr>
            <a:xfrm>
              <a:off x="2294645" y="3274582"/>
              <a:ext cx="1798413" cy="2171020"/>
            </a:xfrm>
            <a:custGeom>
              <a:avLst/>
              <a:gdLst>
                <a:gd name="connsiteX0" fmla="*/ 1167537 w 1798413"/>
                <a:gd name="connsiteY0" fmla="*/ 0 h 2171020"/>
                <a:gd name="connsiteX1" fmla="*/ 1213644 w 1798413"/>
                <a:gd name="connsiteY1" fmla="*/ 78247 h 2171020"/>
                <a:gd name="connsiteX2" fmla="*/ 1798411 w 1798413"/>
                <a:gd name="connsiteY2" fmla="*/ 364647 h 2171020"/>
                <a:gd name="connsiteX3" fmla="*/ 1798413 w 1798413"/>
                <a:gd name="connsiteY3" fmla="*/ 364647 h 2171020"/>
                <a:gd name="connsiteX4" fmla="*/ 1798413 w 1798413"/>
                <a:gd name="connsiteY4" fmla="*/ 2171020 h 2171020"/>
                <a:gd name="connsiteX5" fmla="*/ 1798412 w 1798413"/>
                <a:gd name="connsiteY5" fmla="*/ 2171020 h 2171020"/>
                <a:gd name="connsiteX6" fmla="*/ 9285 w 1798413"/>
                <a:gd name="connsiteY6" fmla="*/ 1587843 h 2171020"/>
                <a:gd name="connsiteX7" fmla="*/ 1013 w 1798413"/>
                <a:gd name="connsiteY7" fmla="*/ 1528668 h 2171020"/>
                <a:gd name="connsiteX8" fmla="*/ 0 w 1798413"/>
                <a:gd name="connsiteY8" fmla="*/ 1528668 h 2171020"/>
                <a:gd name="connsiteX9" fmla="*/ 0 w 1798413"/>
                <a:gd name="connsiteY9" fmla="*/ 1521426 h 2171020"/>
                <a:gd name="connsiteX10" fmla="*/ 0 w 1798413"/>
                <a:gd name="connsiteY10" fmla="*/ 131952 h 2171020"/>
                <a:gd name="connsiteX11" fmla="*/ 38008 w 1798413"/>
                <a:gd name="connsiteY11" fmla="*/ 174385 h 2171020"/>
                <a:gd name="connsiteX12" fmla="*/ 536663 w 1798413"/>
                <a:gd name="connsiteY12" fmla="*/ 364647 h 2171020"/>
                <a:gd name="connsiteX13" fmla="*/ 1121430 w 1798413"/>
                <a:gd name="connsiteY13" fmla="*/ 78247 h 2171020"/>
                <a:gd name="connsiteX14" fmla="*/ 1167537 w 1798413"/>
                <a:gd name="connsiteY14" fmla="*/ 0 h 2171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98413" h="2171020">
                  <a:moveTo>
                    <a:pt x="1167537" y="0"/>
                  </a:moveTo>
                  <a:lnTo>
                    <a:pt x="1213644" y="78247"/>
                  </a:lnTo>
                  <a:cubicBezTo>
                    <a:pt x="1340375" y="251040"/>
                    <a:pt x="1554990" y="364647"/>
                    <a:pt x="1798411" y="364647"/>
                  </a:cubicBezTo>
                  <a:lnTo>
                    <a:pt x="1798413" y="364647"/>
                  </a:lnTo>
                  <a:lnTo>
                    <a:pt x="1798413" y="2171020"/>
                  </a:lnTo>
                  <a:lnTo>
                    <a:pt x="1798412" y="2171020"/>
                  </a:lnTo>
                  <a:cubicBezTo>
                    <a:pt x="867253" y="2171020"/>
                    <a:pt x="101382" y="1915405"/>
                    <a:pt x="9285" y="1587843"/>
                  </a:cubicBezTo>
                  <a:lnTo>
                    <a:pt x="1013" y="1528668"/>
                  </a:lnTo>
                  <a:lnTo>
                    <a:pt x="0" y="1528668"/>
                  </a:lnTo>
                  <a:lnTo>
                    <a:pt x="0" y="1521426"/>
                  </a:lnTo>
                  <a:lnTo>
                    <a:pt x="0" y="131952"/>
                  </a:lnTo>
                  <a:lnTo>
                    <a:pt x="38008" y="174385"/>
                  </a:lnTo>
                  <a:cubicBezTo>
                    <a:pt x="165625" y="291939"/>
                    <a:pt x="341926" y="364647"/>
                    <a:pt x="536663" y="364647"/>
                  </a:cubicBezTo>
                  <a:cubicBezTo>
                    <a:pt x="780085" y="364647"/>
                    <a:pt x="994700" y="251040"/>
                    <a:pt x="1121430" y="78247"/>
                  </a:cubicBezTo>
                  <a:lnTo>
                    <a:pt x="1167537" y="0"/>
                  </a:lnTo>
                  <a:close/>
                </a:path>
              </a:pathLst>
            </a:custGeom>
            <a:solidFill>
              <a:srgbClr val="5A91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88" name="Title 1">
            <a:extLst>
              <a:ext uri="{FF2B5EF4-FFF2-40B4-BE49-F238E27FC236}">
                <a16:creationId xmlns:a16="http://schemas.microsoft.com/office/drawing/2014/main" id="{126646BA-FC05-418D-ADBB-F73169092349}"/>
              </a:ext>
            </a:extLst>
          </p:cNvPr>
          <p:cNvSpPr txBox="1">
            <a:spLocks/>
          </p:cNvSpPr>
          <p:nvPr/>
        </p:nvSpPr>
        <p:spPr>
          <a:xfrm>
            <a:off x="1185405" y="404206"/>
            <a:ext cx="2154632" cy="589335"/>
          </a:xfrm>
          <a:prstGeom prst="rect">
            <a:avLst/>
          </a:prstGeom>
        </p:spPr>
        <p:txBody>
          <a:bodyPr vert="horz" lIns="91440" tIns="45720" rIns="91440" bIns="45720" rtlCol="0" anchor="ctr">
            <a:normAutofit/>
          </a:bodyPr>
          <a:lstStyle>
            <a:lvl1pPr algn="l" defTabSz="932578" rtl="0" eaLnBrk="1" latinLnBrk="0" hangingPunct="1">
              <a:lnSpc>
                <a:spcPct val="90000"/>
              </a:lnSpc>
              <a:spcBef>
                <a:spcPct val="0"/>
              </a:spcBef>
              <a:buNone/>
              <a:defRPr sz="4487" kern="1200">
                <a:solidFill>
                  <a:schemeClr val="tx1"/>
                </a:solidFill>
                <a:latin typeface="+mj-lt"/>
                <a:ea typeface="+mj-ea"/>
                <a:cs typeface="+mj-cs"/>
              </a:defRPr>
            </a:lvl1pPr>
          </a:lstStyle>
          <a:p>
            <a:pPr marL="0" marR="0" lvl="0" indent="0" algn="l" defTabSz="932578"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Segoe UI Light"/>
                <a:ea typeface="+mj-ea"/>
                <a:cs typeface="+mj-cs"/>
              </a:rPr>
              <a:t>Data Lake</a:t>
            </a:r>
          </a:p>
        </p:txBody>
      </p:sp>
      <p:sp>
        <p:nvSpPr>
          <p:cNvPr id="16" name="Arrow: Left-Right 15">
            <a:extLst>
              <a:ext uri="{FF2B5EF4-FFF2-40B4-BE49-F238E27FC236}">
                <a16:creationId xmlns:a16="http://schemas.microsoft.com/office/drawing/2014/main" id="{B79C9683-0AD3-448C-8F96-0BA19D30D878}"/>
              </a:ext>
            </a:extLst>
          </p:cNvPr>
          <p:cNvSpPr/>
          <p:nvPr/>
        </p:nvSpPr>
        <p:spPr>
          <a:xfrm rot="5400000">
            <a:off x="2014200" y="4099822"/>
            <a:ext cx="1452493" cy="780768"/>
          </a:xfrm>
          <a:prstGeom prst="leftRightArrow">
            <a:avLst>
              <a:gd name="adj1" fmla="val 50000"/>
              <a:gd name="adj2" fmla="val 27520"/>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53" name="Group 52"/>
          <p:cNvGrpSpPr/>
          <p:nvPr/>
        </p:nvGrpSpPr>
        <p:grpSpPr>
          <a:xfrm>
            <a:off x="1050521" y="1698889"/>
            <a:ext cx="3380462" cy="1877372"/>
            <a:chOff x="8356190" y="2399994"/>
            <a:chExt cx="4445505" cy="2468853"/>
          </a:xfrm>
        </p:grpSpPr>
        <p:grpSp>
          <p:nvGrpSpPr>
            <p:cNvPr id="54" name="Group 53"/>
            <p:cNvGrpSpPr/>
            <p:nvPr/>
          </p:nvGrpSpPr>
          <p:grpSpPr>
            <a:xfrm>
              <a:off x="8356190" y="3497262"/>
              <a:ext cx="2329429" cy="1371585"/>
              <a:chOff x="8356190" y="3497262"/>
              <a:chExt cx="2329429" cy="1371585"/>
            </a:xfrm>
          </p:grpSpPr>
          <p:sp>
            <p:nvSpPr>
              <p:cNvPr id="112" name="Oval 111"/>
              <p:cNvSpPr/>
              <p:nvPr/>
            </p:nvSpPr>
            <p:spPr>
              <a:xfrm>
                <a:off x="8356190" y="3497262"/>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3" name="Oval 112"/>
              <p:cNvSpPr/>
              <p:nvPr/>
            </p:nvSpPr>
            <p:spPr>
              <a:xfrm>
                <a:off x="8869968" y="3771579"/>
                <a:ext cx="274317" cy="274317"/>
              </a:xfrm>
              <a:prstGeom prst="ellipse">
                <a:avLst/>
              </a:prstGeom>
              <a:solidFill>
                <a:srgbClr val="FCBABA"/>
              </a:solidFill>
              <a:ln w="28575">
                <a:solidFill>
                  <a:srgbClr val="FF6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14" name="Oval 113"/>
              <p:cNvSpPr/>
              <p:nvPr/>
            </p:nvSpPr>
            <p:spPr>
              <a:xfrm>
                <a:off x="9383746" y="4045896"/>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5" name="Oval 114"/>
              <p:cNvSpPr/>
              <p:nvPr/>
            </p:nvSpPr>
            <p:spPr>
              <a:xfrm>
                <a:off x="9897524" y="4320213"/>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6" name="Oval 115"/>
              <p:cNvSpPr/>
              <p:nvPr/>
            </p:nvSpPr>
            <p:spPr>
              <a:xfrm>
                <a:off x="10411302" y="4594530"/>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58" name="Group 57"/>
            <p:cNvGrpSpPr/>
            <p:nvPr/>
          </p:nvGrpSpPr>
          <p:grpSpPr>
            <a:xfrm>
              <a:off x="8885209" y="3222945"/>
              <a:ext cx="2329429" cy="1371585"/>
              <a:chOff x="8356190" y="3497262"/>
              <a:chExt cx="2329429" cy="1371585"/>
            </a:xfrm>
          </p:grpSpPr>
          <p:sp>
            <p:nvSpPr>
              <p:cNvPr id="107" name="Oval 106"/>
              <p:cNvSpPr/>
              <p:nvPr/>
            </p:nvSpPr>
            <p:spPr>
              <a:xfrm>
                <a:off x="8356190" y="3497262"/>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8" name="Oval 107"/>
              <p:cNvSpPr/>
              <p:nvPr/>
            </p:nvSpPr>
            <p:spPr>
              <a:xfrm>
                <a:off x="8869968" y="3771579"/>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9" name="Oval 108"/>
              <p:cNvSpPr/>
              <p:nvPr/>
            </p:nvSpPr>
            <p:spPr>
              <a:xfrm>
                <a:off x="9383746" y="4045896"/>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0" name="Oval 109"/>
              <p:cNvSpPr/>
              <p:nvPr/>
            </p:nvSpPr>
            <p:spPr>
              <a:xfrm>
                <a:off x="9897524" y="4320213"/>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1" name="Oval 110"/>
              <p:cNvSpPr/>
              <p:nvPr/>
            </p:nvSpPr>
            <p:spPr>
              <a:xfrm>
                <a:off x="10411302" y="4594530"/>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59" name="Group 58"/>
            <p:cNvGrpSpPr/>
            <p:nvPr/>
          </p:nvGrpSpPr>
          <p:grpSpPr>
            <a:xfrm>
              <a:off x="9414228" y="2948628"/>
              <a:ext cx="2329429" cy="1371585"/>
              <a:chOff x="8356190" y="3497262"/>
              <a:chExt cx="2329429" cy="1371585"/>
            </a:xfrm>
          </p:grpSpPr>
          <p:sp>
            <p:nvSpPr>
              <p:cNvPr id="102" name="Oval 101"/>
              <p:cNvSpPr/>
              <p:nvPr/>
            </p:nvSpPr>
            <p:spPr>
              <a:xfrm>
                <a:off x="8356190" y="3497262"/>
                <a:ext cx="274317" cy="274317"/>
              </a:xfrm>
              <a:prstGeom prst="ellipse">
                <a:avLst/>
              </a:prstGeom>
              <a:solidFill>
                <a:srgbClr val="FCBABA"/>
              </a:solidFill>
              <a:ln w="28575">
                <a:solidFill>
                  <a:srgbClr val="FF6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3" name="Oval 102"/>
              <p:cNvSpPr/>
              <p:nvPr/>
            </p:nvSpPr>
            <p:spPr>
              <a:xfrm>
                <a:off x="8869968" y="3771579"/>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4" name="Oval 103"/>
              <p:cNvSpPr/>
              <p:nvPr/>
            </p:nvSpPr>
            <p:spPr>
              <a:xfrm>
                <a:off x="9383746" y="4045896"/>
                <a:ext cx="274317" cy="274317"/>
              </a:xfrm>
              <a:prstGeom prst="ellipse">
                <a:avLst/>
              </a:prstGeom>
              <a:solidFill>
                <a:srgbClr val="FCBABA"/>
              </a:solidFill>
              <a:ln w="28575">
                <a:solidFill>
                  <a:srgbClr val="FF6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5" name="Oval 104"/>
              <p:cNvSpPr/>
              <p:nvPr/>
            </p:nvSpPr>
            <p:spPr>
              <a:xfrm>
                <a:off x="9897524" y="4320213"/>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6" name="Oval 105"/>
              <p:cNvSpPr/>
              <p:nvPr/>
            </p:nvSpPr>
            <p:spPr>
              <a:xfrm>
                <a:off x="10411302" y="4594530"/>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60" name="Group 59"/>
            <p:cNvGrpSpPr/>
            <p:nvPr/>
          </p:nvGrpSpPr>
          <p:grpSpPr>
            <a:xfrm>
              <a:off x="9943247" y="2674311"/>
              <a:ext cx="2329429" cy="1371585"/>
              <a:chOff x="8356190" y="3497262"/>
              <a:chExt cx="2329429" cy="1371585"/>
            </a:xfrm>
          </p:grpSpPr>
          <p:sp>
            <p:nvSpPr>
              <p:cNvPr id="95" name="Oval 94"/>
              <p:cNvSpPr/>
              <p:nvPr/>
            </p:nvSpPr>
            <p:spPr>
              <a:xfrm>
                <a:off x="8356190" y="3497262"/>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8" name="Oval 97"/>
              <p:cNvSpPr/>
              <p:nvPr/>
            </p:nvSpPr>
            <p:spPr>
              <a:xfrm>
                <a:off x="8869968" y="3771579"/>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9" name="Oval 98"/>
              <p:cNvSpPr/>
              <p:nvPr/>
            </p:nvSpPr>
            <p:spPr>
              <a:xfrm>
                <a:off x="9383746" y="4045896"/>
                <a:ext cx="274317" cy="274317"/>
              </a:xfrm>
              <a:prstGeom prst="ellipse">
                <a:avLst/>
              </a:prstGeom>
              <a:solidFill>
                <a:srgbClr val="FCBABA"/>
              </a:solidFill>
              <a:ln w="28575">
                <a:solidFill>
                  <a:srgbClr val="FF6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0" name="Oval 99"/>
              <p:cNvSpPr/>
              <p:nvPr/>
            </p:nvSpPr>
            <p:spPr>
              <a:xfrm>
                <a:off x="9897524" y="4320213"/>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1" name="Oval 100"/>
              <p:cNvSpPr/>
              <p:nvPr/>
            </p:nvSpPr>
            <p:spPr>
              <a:xfrm>
                <a:off x="10411302" y="4594530"/>
                <a:ext cx="274317" cy="274317"/>
              </a:xfrm>
              <a:prstGeom prst="ellipse">
                <a:avLst/>
              </a:prstGeom>
              <a:solidFill>
                <a:srgbClr val="FCBABA"/>
              </a:solidFill>
              <a:ln w="28575">
                <a:solidFill>
                  <a:srgbClr val="FF6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87" name="Group 86"/>
            <p:cNvGrpSpPr/>
            <p:nvPr/>
          </p:nvGrpSpPr>
          <p:grpSpPr>
            <a:xfrm>
              <a:off x="10472266" y="2399994"/>
              <a:ext cx="2329429" cy="1371585"/>
              <a:chOff x="8356190" y="3497262"/>
              <a:chExt cx="2329429" cy="1371585"/>
            </a:xfrm>
          </p:grpSpPr>
          <p:sp>
            <p:nvSpPr>
              <p:cNvPr id="90" name="Oval 89"/>
              <p:cNvSpPr/>
              <p:nvPr/>
            </p:nvSpPr>
            <p:spPr>
              <a:xfrm>
                <a:off x="8356190" y="3497262"/>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1" name="Oval 90"/>
              <p:cNvSpPr/>
              <p:nvPr/>
            </p:nvSpPr>
            <p:spPr>
              <a:xfrm>
                <a:off x="8869968" y="3771579"/>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2" name="Oval 91"/>
              <p:cNvSpPr/>
              <p:nvPr/>
            </p:nvSpPr>
            <p:spPr>
              <a:xfrm>
                <a:off x="9383746" y="4045896"/>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3" name="Oval 92"/>
              <p:cNvSpPr/>
              <p:nvPr/>
            </p:nvSpPr>
            <p:spPr>
              <a:xfrm>
                <a:off x="9897524" y="4320213"/>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4" name="Oval 93"/>
              <p:cNvSpPr/>
              <p:nvPr/>
            </p:nvSpPr>
            <p:spPr>
              <a:xfrm>
                <a:off x="10411302" y="4594530"/>
                <a:ext cx="274317" cy="274317"/>
              </a:xfrm>
              <a:prstGeom prst="ellipse">
                <a:avLst/>
              </a:prstGeom>
              <a:solidFill>
                <a:srgbClr val="29C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sp>
        <p:nvSpPr>
          <p:cNvPr id="117" name="Rectangle 116"/>
          <p:cNvSpPr/>
          <p:nvPr/>
        </p:nvSpPr>
        <p:spPr>
          <a:xfrm>
            <a:off x="603073" y="4227112"/>
            <a:ext cx="1862879" cy="5894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32431"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rPr>
              <a:t>High performance I/O between compute and storage</a:t>
            </a:r>
          </a:p>
        </p:txBody>
      </p:sp>
      <p:sp>
        <p:nvSpPr>
          <p:cNvPr id="118" name="Rectangle 117"/>
          <p:cNvSpPr/>
          <p:nvPr/>
        </p:nvSpPr>
        <p:spPr>
          <a:xfrm>
            <a:off x="274609" y="1391655"/>
            <a:ext cx="1862879" cy="5894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32431"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rPr>
              <a:t>U-SQL script running across many nodes</a:t>
            </a:r>
          </a:p>
        </p:txBody>
      </p:sp>
      <p:sp>
        <p:nvSpPr>
          <p:cNvPr id="119" name="Rectangle 118"/>
          <p:cNvSpPr/>
          <p:nvPr/>
        </p:nvSpPr>
        <p:spPr>
          <a:xfrm>
            <a:off x="5521446" y="5437793"/>
            <a:ext cx="1862879" cy="5894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32431"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Segoe UI"/>
                <a:ea typeface="+mn-ea"/>
                <a:cs typeface="Segoe UI Light" panose="020B0502040204020203" pitchFamily="34" charset="0"/>
              </a:rPr>
              <a:t>U-SQL federated query across multiple data sources simultaneously</a:t>
            </a:r>
          </a:p>
        </p:txBody>
      </p:sp>
    </p:spTree>
    <p:extLst>
      <p:ext uri="{BB962C8B-B14F-4D97-AF65-F5344CB8AC3E}">
        <p14:creationId xmlns:p14="http://schemas.microsoft.com/office/powerpoint/2010/main" val="254451234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US" dirty="0"/>
              <a:t>Embedded Artificial Intelligence</a:t>
            </a:r>
          </a:p>
        </p:txBody>
      </p:sp>
      <p:sp>
        <p:nvSpPr>
          <p:cNvPr id="6" name="Freeform 116">
            <a:extLst>
              <a:ext uri="{FF2B5EF4-FFF2-40B4-BE49-F238E27FC236}">
                <a16:creationId xmlns:a16="http://schemas.microsoft.com/office/drawing/2014/main" id="{7BB334E5-BE7C-4746-96FA-19E201A9383C}"/>
              </a:ext>
            </a:extLst>
          </p:cNvPr>
          <p:cNvSpPr>
            <a:spLocks noChangeAspect="1" noEditPoints="1"/>
          </p:cNvSpPr>
          <p:nvPr/>
        </p:nvSpPr>
        <p:spPr bwMode="black">
          <a:xfrm>
            <a:off x="3292189" y="2240946"/>
            <a:ext cx="1377550" cy="1099712"/>
          </a:xfrm>
          <a:custGeom>
            <a:avLst/>
            <a:gdLst>
              <a:gd name="T0" fmla="*/ 50 w 72"/>
              <a:gd name="T1" fmla="*/ 35 h 57"/>
              <a:gd name="T2" fmla="*/ 36 w 72"/>
              <a:gd name="T3" fmla="*/ 21 h 57"/>
              <a:gd name="T4" fmla="*/ 22 w 72"/>
              <a:gd name="T5" fmla="*/ 35 h 57"/>
              <a:gd name="T6" fmla="*/ 36 w 72"/>
              <a:gd name="T7" fmla="*/ 49 h 57"/>
              <a:gd name="T8" fmla="*/ 50 w 72"/>
              <a:gd name="T9" fmla="*/ 35 h 57"/>
              <a:gd name="T10" fmla="*/ 15 w 72"/>
              <a:gd name="T11" fmla="*/ 20 h 57"/>
              <a:gd name="T12" fmla="*/ 12 w 72"/>
              <a:gd name="T13" fmla="*/ 17 h 57"/>
              <a:gd name="T14" fmla="*/ 8 w 72"/>
              <a:gd name="T15" fmla="*/ 20 h 57"/>
              <a:gd name="T16" fmla="*/ 12 w 72"/>
              <a:gd name="T17" fmla="*/ 23 h 57"/>
              <a:gd name="T18" fmla="*/ 15 w 72"/>
              <a:gd name="T19" fmla="*/ 20 h 57"/>
              <a:gd name="T20" fmla="*/ 72 w 72"/>
              <a:gd name="T21" fmla="*/ 18 h 57"/>
              <a:gd name="T22" fmla="*/ 72 w 72"/>
              <a:gd name="T23" fmla="*/ 49 h 57"/>
              <a:gd name="T24" fmla="*/ 63 w 72"/>
              <a:gd name="T25" fmla="*/ 57 h 57"/>
              <a:gd name="T26" fmla="*/ 8 w 72"/>
              <a:gd name="T27" fmla="*/ 57 h 57"/>
              <a:gd name="T28" fmla="*/ 0 w 72"/>
              <a:gd name="T29" fmla="*/ 49 h 57"/>
              <a:gd name="T30" fmla="*/ 0 w 72"/>
              <a:gd name="T31" fmla="*/ 18 h 57"/>
              <a:gd name="T32" fmla="*/ 8 w 72"/>
              <a:gd name="T33" fmla="*/ 9 h 57"/>
              <a:gd name="T34" fmla="*/ 21 w 72"/>
              <a:gd name="T35" fmla="*/ 9 h 57"/>
              <a:gd name="T36" fmla="*/ 23 w 72"/>
              <a:gd name="T37" fmla="*/ 5 h 57"/>
              <a:gd name="T38" fmla="*/ 30 w 72"/>
              <a:gd name="T39" fmla="*/ 0 h 57"/>
              <a:gd name="T40" fmla="*/ 42 w 72"/>
              <a:gd name="T41" fmla="*/ 0 h 57"/>
              <a:gd name="T42" fmla="*/ 49 w 72"/>
              <a:gd name="T43" fmla="*/ 5 h 57"/>
              <a:gd name="T44" fmla="*/ 50 w 72"/>
              <a:gd name="T45" fmla="*/ 9 h 57"/>
              <a:gd name="T46" fmla="*/ 63 w 72"/>
              <a:gd name="T47" fmla="*/ 9 h 57"/>
              <a:gd name="T48" fmla="*/ 72 w 72"/>
              <a:gd name="T49" fmla="*/ 18 h 57"/>
              <a:gd name="T50" fmla="*/ 45 w 72"/>
              <a:gd name="T51" fmla="*/ 35 h 57"/>
              <a:gd name="T52" fmla="*/ 36 w 72"/>
              <a:gd name="T53" fmla="*/ 44 h 57"/>
              <a:gd name="T54" fmla="*/ 27 w 72"/>
              <a:gd name="T55" fmla="*/ 35 h 57"/>
              <a:gd name="T56" fmla="*/ 36 w 72"/>
              <a:gd name="T57" fmla="*/ 26 h 57"/>
              <a:gd name="T58" fmla="*/ 45 w 72"/>
              <a:gd name="T59" fmla="*/ 3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2" h="57">
                <a:moveTo>
                  <a:pt x="50" y="35"/>
                </a:moveTo>
                <a:cubicBezTo>
                  <a:pt x="50" y="27"/>
                  <a:pt x="43" y="21"/>
                  <a:pt x="36" y="21"/>
                </a:cubicBezTo>
                <a:cubicBezTo>
                  <a:pt x="28" y="21"/>
                  <a:pt x="22" y="27"/>
                  <a:pt x="22" y="35"/>
                </a:cubicBezTo>
                <a:cubicBezTo>
                  <a:pt x="22" y="43"/>
                  <a:pt x="28" y="49"/>
                  <a:pt x="36" y="49"/>
                </a:cubicBezTo>
                <a:cubicBezTo>
                  <a:pt x="43" y="49"/>
                  <a:pt x="50" y="43"/>
                  <a:pt x="50" y="35"/>
                </a:cubicBezTo>
                <a:moveTo>
                  <a:pt x="15" y="20"/>
                </a:moveTo>
                <a:cubicBezTo>
                  <a:pt x="15" y="18"/>
                  <a:pt x="13" y="17"/>
                  <a:pt x="12" y="17"/>
                </a:cubicBezTo>
                <a:cubicBezTo>
                  <a:pt x="10" y="17"/>
                  <a:pt x="8" y="18"/>
                  <a:pt x="8" y="20"/>
                </a:cubicBezTo>
                <a:cubicBezTo>
                  <a:pt x="8" y="22"/>
                  <a:pt x="10" y="23"/>
                  <a:pt x="12" y="23"/>
                </a:cubicBezTo>
                <a:cubicBezTo>
                  <a:pt x="13" y="23"/>
                  <a:pt x="15" y="22"/>
                  <a:pt x="15" y="20"/>
                </a:cubicBezTo>
                <a:moveTo>
                  <a:pt x="72" y="18"/>
                </a:moveTo>
                <a:cubicBezTo>
                  <a:pt x="72" y="49"/>
                  <a:pt x="72" y="49"/>
                  <a:pt x="72" y="49"/>
                </a:cubicBezTo>
                <a:cubicBezTo>
                  <a:pt x="72" y="53"/>
                  <a:pt x="68" y="57"/>
                  <a:pt x="63" y="57"/>
                </a:cubicBezTo>
                <a:cubicBezTo>
                  <a:pt x="8" y="57"/>
                  <a:pt x="8" y="57"/>
                  <a:pt x="8" y="57"/>
                </a:cubicBezTo>
                <a:cubicBezTo>
                  <a:pt x="4" y="57"/>
                  <a:pt x="0" y="53"/>
                  <a:pt x="0" y="49"/>
                </a:cubicBezTo>
                <a:cubicBezTo>
                  <a:pt x="0" y="18"/>
                  <a:pt x="0" y="18"/>
                  <a:pt x="0" y="18"/>
                </a:cubicBezTo>
                <a:cubicBezTo>
                  <a:pt x="0" y="13"/>
                  <a:pt x="4" y="9"/>
                  <a:pt x="8" y="9"/>
                </a:cubicBezTo>
                <a:cubicBezTo>
                  <a:pt x="21" y="9"/>
                  <a:pt x="21" y="9"/>
                  <a:pt x="21" y="9"/>
                </a:cubicBezTo>
                <a:cubicBezTo>
                  <a:pt x="23" y="5"/>
                  <a:pt x="23" y="5"/>
                  <a:pt x="23" y="5"/>
                </a:cubicBezTo>
                <a:cubicBezTo>
                  <a:pt x="24" y="2"/>
                  <a:pt x="27" y="0"/>
                  <a:pt x="30" y="0"/>
                </a:cubicBezTo>
                <a:cubicBezTo>
                  <a:pt x="42" y="0"/>
                  <a:pt x="42" y="0"/>
                  <a:pt x="42" y="0"/>
                </a:cubicBezTo>
                <a:cubicBezTo>
                  <a:pt x="45" y="0"/>
                  <a:pt x="48" y="2"/>
                  <a:pt x="49" y="5"/>
                </a:cubicBezTo>
                <a:cubicBezTo>
                  <a:pt x="50" y="9"/>
                  <a:pt x="50" y="9"/>
                  <a:pt x="50" y="9"/>
                </a:cubicBezTo>
                <a:cubicBezTo>
                  <a:pt x="63" y="9"/>
                  <a:pt x="63" y="9"/>
                  <a:pt x="63" y="9"/>
                </a:cubicBezTo>
                <a:cubicBezTo>
                  <a:pt x="68" y="9"/>
                  <a:pt x="72" y="13"/>
                  <a:pt x="72" y="18"/>
                </a:cubicBezTo>
                <a:moveTo>
                  <a:pt x="45" y="35"/>
                </a:moveTo>
                <a:cubicBezTo>
                  <a:pt x="45" y="40"/>
                  <a:pt x="41" y="44"/>
                  <a:pt x="36" y="44"/>
                </a:cubicBezTo>
                <a:cubicBezTo>
                  <a:pt x="31" y="44"/>
                  <a:pt x="27" y="40"/>
                  <a:pt x="27" y="35"/>
                </a:cubicBezTo>
                <a:cubicBezTo>
                  <a:pt x="27" y="30"/>
                  <a:pt x="31" y="26"/>
                  <a:pt x="36" y="26"/>
                </a:cubicBezTo>
                <a:cubicBezTo>
                  <a:pt x="41" y="26"/>
                  <a:pt x="45" y="30"/>
                  <a:pt x="45" y="35"/>
                </a:cubicBezTo>
              </a:path>
            </a:pathLst>
          </a:custGeom>
          <a:solidFill>
            <a:schemeClr val="tx1">
              <a:lumMod val="65000"/>
              <a:lumOff val="35000"/>
            </a:schemeClr>
          </a:solidFill>
          <a:ln>
            <a:noFill/>
          </a:ln>
          <a:extLst/>
        </p:spPr>
        <p:txBody>
          <a:bodyPr vert="horz" wrap="square" lIns="91444" tIns="45723" rIns="91444" bIns="4572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117" b="0" i="0" u="none" strike="noStrike" kern="1200" cap="none" spc="0" normalizeH="0" baseline="0" noProof="0" dirty="0">
              <a:ln>
                <a:noFill/>
              </a:ln>
              <a:solidFill>
                <a:srgbClr val="000000"/>
              </a:solidFill>
              <a:effectLst/>
              <a:uLnTx/>
              <a:uFillTx/>
              <a:latin typeface="Segoe UI"/>
              <a:ea typeface="+mn-ea"/>
              <a:cs typeface="+mn-cs"/>
            </a:endParaRPr>
          </a:p>
        </p:txBody>
      </p:sp>
      <p:sp>
        <p:nvSpPr>
          <p:cNvPr id="7" name="Content Placeholder 2">
            <a:extLst>
              <a:ext uri="{FF2B5EF4-FFF2-40B4-BE49-F238E27FC236}">
                <a16:creationId xmlns:a16="http://schemas.microsoft.com/office/drawing/2014/main" id="{0EF4BBA7-9F36-45FC-AB19-954F906A2BCC}"/>
              </a:ext>
            </a:extLst>
          </p:cNvPr>
          <p:cNvSpPr txBox="1">
            <a:spLocks/>
          </p:cNvSpPr>
          <p:nvPr/>
        </p:nvSpPr>
        <p:spPr>
          <a:xfrm>
            <a:off x="3292189" y="3565856"/>
            <a:ext cx="2560292" cy="2583137"/>
          </a:xfrm>
          <a:prstGeom prst="rect">
            <a:avLst/>
          </a:prstGeom>
        </p:spPr>
        <p:txBody>
          <a:bodyPr>
            <a:noAutofit/>
          </a:bodyPr>
          <a:lstStyle>
            <a:lvl1pPr marL="233145" indent="-233145" algn="l" defTabSz="932578"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34" indent="-233145" algn="l" defTabSz="932578"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23" indent="-233145" algn="l" defTabSz="932578"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12"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01"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590"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879"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169"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458"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0" marR="0" lvl="0" indent="0" algn="l" defTabSz="932578" rtl="0" eaLnBrk="1" fontAlgn="auto" latinLnBrk="0" hangingPunct="1">
              <a:lnSpc>
                <a:spcPct val="90000"/>
              </a:lnSpc>
              <a:spcBef>
                <a:spcPts val="102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Light" panose="020B0502040204020203" pitchFamily="34" charset="0"/>
              </a:rPr>
              <a:t>Images</a:t>
            </a:r>
          </a:p>
          <a:p>
            <a:pPr marL="0" marR="0" lvl="0" indent="0" algn="l" defTabSz="932578" rtl="0" eaLnBrk="1" fontAlgn="auto" latinLnBrk="0" hangingPunct="1">
              <a:lnSpc>
                <a:spcPct val="90000"/>
              </a:lnSpc>
              <a:spcBef>
                <a:spcPts val="102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Detect faces</a:t>
            </a:r>
          </a:p>
          <a:p>
            <a:pPr marL="0" marR="0" lvl="0" indent="0" algn="l" defTabSz="932578" rtl="0" eaLnBrk="1" fontAlgn="auto" latinLnBrk="0" hangingPunct="1">
              <a:lnSpc>
                <a:spcPct val="90000"/>
              </a:lnSpc>
              <a:spcBef>
                <a:spcPts val="102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Detect emotion</a:t>
            </a:r>
          </a:p>
          <a:p>
            <a:pPr marL="0" marR="0" lvl="0" indent="0" algn="l" defTabSz="932578" rtl="0" eaLnBrk="1" fontAlgn="auto" latinLnBrk="0" hangingPunct="1">
              <a:lnSpc>
                <a:spcPct val="90000"/>
              </a:lnSpc>
              <a:spcBef>
                <a:spcPts val="102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Detect objects</a:t>
            </a:r>
          </a:p>
          <a:p>
            <a:pPr marL="0" marR="0" lvl="0" indent="0" algn="l" defTabSz="932578" rtl="0" eaLnBrk="1" fontAlgn="auto" latinLnBrk="0" hangingPunct="1">
              <a:lnSpc>
                <a:spcPct val="90000"/>
              </a:lnSpc>
              <a:spcBef>
                <a:spcPts val="102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OCR</a:t>
            </a:r>
          </a:p>
        </p:txBody>
      </p:sp>
      <p:grpSp>
        <p:nvGrpSpPr>
          <p:cNvPr id="9" name="Group 8">
            <a:extLst>
              <a:ext uri="{FF2B5EF4-FFF2-40B4-BE49-F238E27FC236}">
                <a16:creationId xmlns:a16="http://schemas.microsoft.com/office/drawing/2014/main" id="{738E3F10-3EFC-42A6-872E-3DA442BF6EC1}"/>
              </a:ext>
            </a:extLst>
          </p:cNvPr>
          <p:cNvGrpSpPr>
            <a:grpSpLocks noChangeAspect="1"/>
          </p:cNvGrpSpPr>
          <p:nvPr/>
        </p:nvGrpSpPr>
        <p:grpSpPr>
          <a:xfrm>
            <a:off x="7041188" y="2207610"/>
            <a:ext cx="1097268" cy="1133048"/>
            <a:chOff x="4805363" y="2667001"/>
            <a:chExt cx="292100" cy="301625"/>
          </a:xfrm>
          <a:solidFill>
            <a:schemeClr val="bg1"/>
          </a:solidFill>
        </p:grpSpPr>
        <p:sp>
          <p:nvSpPr>
            <p:cNvPr id="10" name="Rectangle 5">
              <a:extLst>
                <a:ext uri="{FF2B5EF4-FFF2-40B4-BE49-F238E27FC236}">
                  <a16:creationId xmlns:a16="http://schemas.microsoft.com/office/drawing/2014/main" id="{6AE11E74-87CB-4F9D-B3BE-6A997EE79B92}"/>
                </a:ext>
              </a:extLst>
            </p:cNvPr>
            <p:cNvSpPr>
              <a:spLocks noChangeArrowheads="1"/>
            </p:cNvSpPr>
            <p:nvPr/>
          </p:nvSpPr>
          <p:spPr bwMode="auto">
            <a:xfrm>
              <a:off x="4883150" y="2763838"/>
              <a:ext cx="134938" cy="25400"/>
            </a:xfrm>
            <a:prstGeom prst="rect">
              <a:avLst/>
            </a:prstGeom>
            <a:solidFill>
              <a:schemeClr val="tx1">
                <a:lumMod val="65000"/>
                <a:lumOff val="35000"/>
              </a:schemeClr>
            </a:solidFill>
            <a:ln>
              <a:noFill/>
            </a:ln>
          </p:spPr>
          <p:txBody>
            <a:bodyPr vert="horz" wrap="square" lIns="91444" tIns="45723" rIns="91444" bIns="4572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11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 name="Rectangle 6">
              <a:extLst>
                <a:ext uri="{FF2B5EF4-FFF2-40B4-BE49-F238E27FC236}">
                  <a16:creationId xmlns:a16="http://schemas.microsoft.com/office/drawing/2014/main" id="{DA675180-4503-40E5-9354-60E7517A451E}"/>
                </a:ext>
              </a:extLst>
            </p:cNvPr>
            <p:cNvSpPr>
              <a:spLocks noChangeArrowheads="1"/>
            </p:cNvSpPr>
            <p:nvPr/>
          </p:nvSpPr>
          <p:spPr bwMode="auto">
            <a:xfrm>
              <a:off x="4883150" y="2811463"/>
              <a:ext cx="134938" cy="25400"/>
            </a:xfrm>
            <a:prstGeom prst="rect">
              <a:avLst/>
            </a:prstGeom>
            <a:solidFill>
              <a:schemeClr val="tx1">
                <a:lumMod val="65000"/>
                <a:lumOff val="35000"/>
              </a:schemeClr>
            </a:solidFill>
            <a:ln>
              <a:noFill/>
            </a:ln>
          </p:spPr>
          <p:txBody>
            <a:bodyPr vert="horz" wrap="square" lIns="91444" tIns="45723" rIns="91444" bIns="4572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117" b="0" i="0" u="none" strike="noStrike" kern="1200" cap="none" spc="0" normalizeH="0" baseline="0" noProof="0">
                <a:ln>
                  <a:noFill/>
                </a:ln>
                <a:solidFill>
                  <a:srgbClr val="000000"/>
                </a:solidFill>
                <a:effectLst/>
                <a:uLnTx/>
                <a:uFillTx/>
                <a:latin typeface="Segoe UI"/>
                <a:ea typeface="+mn-ea"/>
                <a:cs typeface="+mn-cs"/>
              </a:endParaRPr>
            </a:p>
          </p:txBody>
        </p:sp>
        <p:sp>
          <p:nvSpPr>
            <p:cNvPr id="12" name="Rectangle 7">
              <a:extLst>
                <a:ext uri="{FF2B5EF4-FFF2-40B4-BE49-F238E27FC236}">
                  <a16:creationId xmlns:a16="http://schemas.microsoft.com/office/drawing/2014/main" id="{2865F758-4925-4D10-A744-B3B04BBBD353}"/>
                </a:ext>
              </a:extLst>
            </p:cNvPr>
            <p:cNvSpPr>
              <a:spLocks noChangeArrowheads="1"/>
            </p:cNvSpPr>
            <p:nvPr/>
          </p:nvSpPr>
          <p:spPr bwMode="auto">
            <a:xfrm>
              <a:off x="4883150" y="2859088"/>
              <a:ext cx="134938" cy="25400"/>
            </a:xfrm>
            <a:prstGeom prst="rect">
              <a:avLst/>
            </a:prstGeom>
            <a:solidFill>
              <a:schemeClr val="tx1">
                <a:lumMod val="65000"/>
                <a:lumOff val="35000"/>
              </a:schemeClr>
            </a:solidFill>
            <a:ln>
              <a:noFill/>
            </a:ln>
          </p:spPr>
          <p:txBody>
            <a:bodyPr vert="horz" wrap="square" lIns="91444" tIns="45723" rIns="91444" bIns="4572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117"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8">
              <a:extLst>
                <a:ext uri="{FF2B5EF4-FFF2-40B4-BE49-F238E27FC236}">
                  <a16:creationId xmlns:a16="http://schemas.microsoft.com/office/drawing/2014/main" id="{5D77C3E9-C86A-4E7E-A2DD-7447DFC133E6}"/>
                </a:ext>
              </a:extLst>
            </p:cNvPr>
            <p:cNvSpPr>
              <a:spLocks noEditPoints="1"/>
            </p:cNvSpPr>
            <p:nvPr/>
          </p:nvSpPr>
          <p:spPr bwMode="auto">
            <a:xfrm>
              <a:off x="4805363" y="2667001"/>
              <a:ext cx="292100" cy="301625"/>
            </a:xfrm>
            <a:custGeom>
              <a:avLst/>
              <a:gdLst>
                <a:gd name="T0" fmla="*/ 430 w 543"/>
                <a:gd name="T1" fmla="*/ 0 h 563"/>
                <a:gd name="T2" fmla="*/ 75 w 543"/>
                <a:gd name="T3" fmla="*/ 0 h 563"/>
                <a:gd name="T4" fmla="*/ 0 w 543"/>
                <a:gd name="T5" fmla="*/ 75 h 563"/>
                <a:gd name="T6" fmla="*/ 0 w 543"/>
                <a:gd name="T7" fmla="*/ 488 h 563"/>
                <a:gd name="T8" fmla="*/ 75 w 543"/>
                <a:gd name="T9" fmla="*/ 563 h 563"/>
                <a:gd name="T10" fmla="*/ 468 w 543"/>
                <a:gd name="T11" fmla="*/ 563 h 563"/>
                <a:gd name="T12" fmla="*/ 543 w 543"/>
                <a:gd name="T13" fmla="*/ 488 h 563"/>
                <a:gd name="T14" fmla="*/ 543 w 543"/>
                <a:gd name="T15" fmla="*/ 112 h 563"/>
                <a:gd name="T16" fmla="*/ 430 w 543"/>
                <a:gd name="T17" fmla="*/ 0 h 563"/>
                <a:gd name="T18" fmla="*/ 468 w 543"/>
                <a:gd name="T19" fmla="*/ 518 h 563"/>
                <a:gd name="T20" fmla="*/ 75 w 543"/>
                <a:gd name="T21" fmla="*/ 518 h 563"/>
                <a:gd name="T22" fmla="*/ 46 w 543"/>
                <a:gd name="T23" fmla="*/ 488 h 563"/>
                <a:gd name="T24" fmla="*/ 46 w 543"/>
                <a:gd name="T25" fmla="*/ 75 h 563"/>
                <a:gd name="T26" fmla="*/ 75 w 543"/>
                <a:gd name="T27" fmla="*/ 46 h 563"/>
                <a:gd name="T28" fmla="*/ 406 w 543"/>
                <a:gd name="T29" fmla="*/ 46 h 563"/>
                <a:gd name="T30" fmla="*/ 406 w 543"/>
                <a:gd name="T31" fmla="*/ 139 h 563"/>
                <a:gd name="T32" fmla="*/ 497 w 543"/>
                <a:gd name="T33" fmla="*/ 139 h 563"/>
                <a:gd name="T34" fmla="*/ 497 w 543"/>
                <a:gd name="T35" fmla="*/ 488 h 563"/>
                <a:gd name="T36" fmla="*/ 468 w 543"/>
                <a:gd name="T37" fmla="*/ 518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3" h="563">
                  <a:moveTo>
                    <a:pt x="430" y="0"/>
                  </a:moveTo>
                  <a:lnTo>
                    <a:pt x="75" y="0"/>
                  </a:lnTo>
                  <a:cubicBezTo>
                    <a:pt x="34" y="0"/>
                    <a:pt x="0" y="34"/>
                    <a:pt x="0" y="75"/>
                  </a:cubicBezTo>
                  <a:lnTo>
                    <a:pt x="0" y="488"/>
                  </a:lnTo>
                  <a:cubicBezTo>
                    <a:pt x="0" y="530"/>
                    <a:pt x="34" y="563"/>
                    <a:pt x="75" y="563"/>
                  </a:cubicBezTo>
                  <a:lnTo>
                    <a:pt x="468" y="563"/>
                  </a:lnTo>
                  <a:cubicBezTo>
                    <a:pt x="509" y="563"/>
                    <a:pt x="543" y="530"/>
                    <a:pt x="543" y="488"/>
                  </a:cubicBezTo>
                  <a:lnTo>
                    <a:pt x="543" y="112"/>
                  </a:lnTo>
                  <a:lnTo>
                    <a:pt x="430" y="0"/>
                  </a:lnTo>
                  <a:close/>
                  <a:moveTo>
                    <a:pt x="468" y="518"/>
                  </a:moveTo>
                  <a:lnTo>
                    <a:pt x="75" y="518"/>
                  </a:lnTo>
                  <a:cubicBezTo>
                    <a:pt x="59" y="518"/>
                    <a:pt x="46" y="505"/>
                    <a:pt x="46" y="488"/>
                  </a:cubicBezTo>
                  <a:lnTo>
                    <a:pt x="46" y="75"/>
                  </a:lnTo>
                  <a:cubicBezTo>
                    <a:pt x="46" y="59"/>
                    <a:pt x="59" y="46"/>
                    <a:pt x="75" y="46"/>
                  </a:cubicBezTo>
                  <a:lnTo>
                    <a:pt x="406" y="46"/>
                  </a:lnTo>
                  <a:lnTo>
                    <a:pt x="406" y="139"/>
                  </a:lnTo>
                  <a:lnTo>
                    <a:pt x="497" y="139"/>
                  </a:lnTo>
                  <a:lnTo>
                    <a:pt x="497" y="488"/>
                  </a:lnTo>
                  <a:cubicBezTo>
                    <a:pt x="497" y="505"/>
                    <a:pt x="484" y="518"/>
                    <a:pt x="468" y="518"/>
                  </a:cubicBezTo>
                  <a:close/>
                </a:path>
              </a:pathLst>
            </a:custGeom>
            <a:solidFill>
              <a:schemeClr val="tx1">
                <a:lumMod val="65000"/>
                <a:lumOff val="35000"/>
              </a:schemeClr>
            </a:solidFill>
            <a:ln>
              <a:noFill/>
            </a:ln>
          </p:spPr>
          <p:txBody>
            <a:bodyPr vert="horz" wrap="square" lIns="91444" tIns="45723" rIns="91444" bIns="4572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117" b="0" i="0" u="none" strike="noStrike" kern="1200" cap="none" spc="0" normalizeH="0" baseline="0" noProof="0">
                <a:ln>
                  <a:noFill/>
                </a:ln>
                <a:solidFill>
                  <a:srgbClr val="000000"/>
                </a:solidFill>
                <a:effectLst/>
                <a:uLnTx/>
                <a:uFillTx/>
                <a:latin typeface="Segoe UI"/>
                <a:ea typeface="+mn-ea"/>
                <a:cs typeface="+mn-cs"/>
              </a:endParaRPr>
            </a:p>
          </p:txBody>
        </p:sp>
      </p:grpSp>
      <p:sp>
        <p:nvSpPr>
          <p:cNvPr id="14" name="Content Placeholder 2">
            <a:extLst>
              <a:ext uri="{FF2B5EF4-FFF2-40B4-BE49-F238E27FC236}">
                <a16:creationId xmlns:a16="http://schemas.microsoft.com/office/drawing/2014/main" id="{1C1E0704-7E58-45B9-86FE-DF323063A94C}"/>
              </a:ext>
            </a:extLst>
          </p:cNvPr>
          <p:cNvSpPr txBox="1">
            <a:spLocks/>
          </p:cNvSpPr>
          <p:nvPr/>
        </p:nvSpPr>
        <p:spPr>
          <a:xfrm>
            <a:off x="7041189" y="3565856"/>
            <a:ext cx="3291804" cy="2583137"/>
          </a:xfrm>
          <a:prstGeom prst="rect">
            <a:avLst/>
          </a:prstGeom>
        </p:spPr>
        <p:txBody>
          <a:bodyPr>
            <a:noAutofit/>
          </a:bodyPr>
          <a:lstStyle>
            <a:lvl1pPr marL="233145" indent="-233145" algn="l" defTabSz="932578"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34" indent="-233145" algn="l" defTabSz="932578"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23" indent="-233145" algn="l" defTabSz="932578"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12"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01"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590"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879"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169"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458"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0" marR="0" lvl="0" indent="0" algn="l" defTabSz="932578" rtl="0" eaLnBrk="1" fontAlgn="auto" latinLnBrk="0" hangingPunct="1">
              <a:lnSpc>
                <a:spcPct val="90000"/>
              </a:lnSpc>
              <a:spcBef>
                <a:spcPts val="102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Light" panose="020B0502040204020203" pitchFamily="34" charset="0"/>
              </a:rPr>
              <a:t>Text</a:t>
            </a:r>
          </a:p>
          <a:p>
            <a:pPr marL="0" marR="0" lvl="0" indent="0" algn="l" defTabSz="932578" rtl="0" eaLnBrk="1" fontAlgn="auto" latinLnBrk="0" hangingPunct="1">
              <a:lnSpc>
                <a:spcPct val="90000"/>
              </a:lnSpc>
              <a:spcBef>
                <a:spcPts val="102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Key Phrase Extraction</a:t>
            </a:r>
          </a:p>
          <a:p>
            <a:pPr marL="0" marR="0" lvl="0" indent="0" algn="l" defTabSz="932578" rtl="0" eaLnBrk="1" fontAlgn="auto" latinLnBrk="0" hangingPunct="1">
              <a:lnSpc>
                <a:spcPct val="90000"/>
              </a:lnSpc>
              <a:spcBef>
                <a:spcPts val="102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Sentiment Analysis</a:t>
            </a:r>
          </a:p>
        </p:txBody>
      </p:sp>
      <p:sp>
        <p:nvSpPr>
          <p:cNvPr id="15" name="Rectangle 14">
            <a:extLst>
              <a:ext uri="{FF2B5EF4-FFF2-40B4-BE49-F238E27FC236}">
                <a16:creationId xmlns:a16="http://schemas.microsoft.com/office/drawing/2014/main" id="{BCA5436C-DABE-4661-AE65-65CE433CF9C1}"/>
              </a:ext>
            </a:extLst>
          </p:cNvPr>
          <p:cNvSpPr/>
          <p:nvPr/>
        </p:nvSpPr>
        <p:spPr>
          <a:xfrm>
            <a:off x="1667338" y="1246314"/>
            <a:ext cx="9101798" cy="707886"/>
          </a:xfrm>
          <a:prstGeom prst="rect">
            <a:avLst/>
          </a:prstGeom>
        </p:spPr>
        <p:txBody>
          <a:bodyPr>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Azure Data Lake hosts Microsoft’s expert-trained Deep Neural Networks (DNNs) - the same ones used by Cognitive Services</a:t>
            </a:r>
          </a:p>
        </p:txBody>
      </p:sp>
    </p:spTree>
    <p:extLst>
      <p:ext uri="{BB962C8B-B14F-4D97-AF65-F5344CB8AC3E}">
        <p14:creationId xmlns:p14="http://schemas.microsoft.com/office/powerpoint/2010/main" val="287648136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3" name="Rectangle 2"/>
          <p:cNvSpPr/>
          <p:nvPr/>
        </p:nvSpPr>
        <p:spPr>
          <a:xfrm>
            <a:off x="91824" y="114020"/>
            <a:ext cx="8000310" cy="6749398"/>
          </a:xfrm>
          <a:prstGeom prst="rect">
            <a:avLst/>
          </a:prstGeom>
        </p:spPr>
        <p:txBody>
          <a:bodyPr wrap="square">
            <a:noAutofit/>
          </a:bodyPr>
          <a:lstStyle/>
          <a:p>
            <a:pPr lvl="0" defTabSz="914400">
              <a:defRPr/>
            </a:pPr>
            <a:r>
              <a:rPr lang="en-US" kern="0" dirty="0">
                <a:solidFill>
                  <a:prstClr val="black"/>
                </a:solidFill>
                <a:latin typeface="Consolas" panose="020B0609020204030204" pitchFamily="49" charset="0"/>
                <a:cs typeface="Consolas" panose="020B0609020204030204" pitchFamily="49" charset="0"/>
              </a:rPr>
              <a:t>REFERENCE ASSEMBLY </a:t>
            </a:r>
            <a:r>
              <a:rPr lang="en-US" kern="0" dirty="0" err="1">
                <a:solidFill>
                  <a:prstClr val="black"/>
                </a:solidFill>
                <a:latin typeface="Consolas" panose="020B0609020204030204" pitchFamily="49" charset="0"/>
                <a:cs typeface="Consolas" panose="020B0609020204030204" pitchFamily="49" charset="0"/>
              </a:rPr>
              <a:t>ImageCommon</a:t>
            </a:r>
            <a:r>
              <a:rPr lang="en-US" kern="0" dirty="0">
                <a:solidFill>
                  <a:prstClr val="black"/>
                </a:solidFill>
                <a:latin typeface="Consolas" panose="020B0609020204030204" pitchFamily="49" charset="0"/>
                <a:cs typeface="Consolas" panose="020B0609020204030204" pitchFamily="49" charset="0"/>
              </a:rPr>
              <a:t>;</a:t>
            </a:r>
          </a:p>
          <a:p>
            <a:pPr lvl="0" defTabSz="914400">
              <a:defRPr/>
            </a:pPr>
            <a:r>
              <a:rPr lang="en-US" kern="0" dirty="0">
                <a:solidFill>
                  <a:prstClr val="black"/>
                </a:solidFill>
                <a:latin typeface="Consolas" panose="020B0609020204030204" pitchFamily="49" charset="0"/>
                <a:cs typeface="Consolas" panose="020B0609020204030204" pitchFamily="49" charset="0"/>
              </a:rPr>
              <a:t>REFERENCE ASSEMBLY </a:t>
            </a:r>
            <a:r>
              <a:rPr lang="en-US" kern="0" dirty="0" err="1">
                <a:solidFill>
                  <a:prstClr val="black"/>
                </a:solidFill>
                <a:latin typeface="Consolas" panose="020B0609020204030204" pitchFamily="49" charset="0"/>
                <a:cs typeface="Consolas" panose="020B0609020204030204" pitchFamily="49" charset="0"/>
              </a:rPr>
              <a:t>FaceSdk</a:t>
            </a:r>
            <a:r>
              <a:rPr lang="en-US" kern="0" dirty="0">
                <a:solidFill>
                  <a:prstClr val="black"/>
                </a:solidFill>
                <a:latin typeface="Consolas" panose="020B0609020204030204" pitchFamily="49" charset="0"/>
                <a:cs typeface="Consolas" panose="020B0609020204030204" pitchFamily="49" charset="0"/>
              </a:rPr>
              <a:t>;</a:t>
            </a:r>
          </a:p>
          <a:p>
            <a:pPr lvl="0" defTabSz="914400">
              <a:defRPr/>
            </a:pPr>
            <a:r>
              <a:rPr lang="en-US" kern="0" dirty="0">
                <a:solidFill>
                  <a:prstClr val="black"/>
                </a:solidFill>
                <a:latin typeface="Consolas" panose="020B0609020204030204" pitchFamily="49" charset="0"/>
                <a:cs typeface="Consolas" panose="020B0609020204030204" pitchFamily="49" charset="0"/>
              </a:rPr>
              <a:t>REFERENCE ASSEMBLY </a:t>
            </a:r>
            <a:r>
              <a:rPr lang="en-US" kern="0" dirty="0" err="1">
                <a:solidFill>
                  <a:prstClr val="black"/>
                </a:solidFill>
                <a:latin typeface="Consolas" panose="020B0609020204030204" pitchFamily="49" charset="0"/>
                <a:cs typeface="Consolas" panose="020B0609020204030204" pitchFamily="49" charset="0"/>
              </a:rPr>
              <a:t>ImageEmotion</a:t>
            </a:r>
            <a:r>
              <a:rPr lang="en-US" kern="0" dirty="0">
                <a:solidFill>
                  <a:prstClr val="black"/>
                </a:solidFill>
                <a:latin typeface="Consolas" panose="020B0609020204030204" pitchFamily="49" charset="0"/>
                <a:cs typeface="Consolas" panose="020B0609020204030204" pitchFamily="49" charset="0"/>
              </a:rPr>
              <a:t>;</a:t>
            </a:r>
          </a:p>
          <a:p>
            <a:pPr lvl="0" defTabSz="914400">
              <a:defRPr/>
            </a:pPr>
            <a:r>
              <a:rPr lang="en-US" kern="0" dirty="0">
                <a:solidFill>
                  <a:prstClr val="black"/>
                </a:solidFill>
                <a:latin typeface="Consolas" panose="020B0609020204030204" pitchFamily="49" charset="0"/>
                <a:cs typeface="Consolas" panose="020B0609020204030204" pitchFamily="49" charset="0"/>
              </a:rPr>
              <a:t>REFERENCE ASSEMBLY </a:t>
            </a:r>
            <a:r>
              <a:rPr lang="en-US" kern="0" dirty="0" err="1">
                <a:solidFill>
                  <a:prstClr val="black"/>
                </a:solidFill>
                <a:latin typeface="Consolas" panose="020B0609020204030204" pitchFamily="49" charset="0"/>
                <a:cs typeface="Consolas" panose="020B0609020204030204" pitchFamily="49" charset="0"/>
              </a:rPr>
              <a:t>ImageTagging</a:t>
            </a:r>
            <a:r>
              <a:rPr lang="en-US" kern="0" dirty="0">
                <a:solidFill>
                  <a:prstClr val="black"/>
                </a:solidFill>
                <a:latin typeface="Consolas" panose="020B0609020204030204" pitchFamily="49" charset="0"/>
                <a:cs typeface="Consolas" panose="020B0609020204030204" pitchFamily="49" charset="0"/>
              </a:rPr>
              <a:t>;</a:t>
            </a:r>
          </a:p>
          <a:p>
            <a:pPr lvl="0" defTabSz="914400">
              <a:defRPr/>
            </a:pPr>
            <a:r>
              <a:rPr lang="en-US" kern="0" dirty="0">
                <a:solidFill>
                  <a:prstClr val="black"/>
                </a:solidFill>
                <a:latin typeface="Consolas" panose="020B0609020204030204" pitchFamily="49" charset="0"/>
                <a:cs typeface="Consolas" panose="020B0609020204030204" pitchFamily="49" charset="0"/>
              </a:rPr>
              <a:t>REFERENCE ASSEMBLY </a:t>
            </a:r>
            <a:r>
              <a:rPr lang="en-US" kern="0" dirty="0" err="1">
                <a:solidFill>
                  <a:prstClr val="black"/>
                </a:solidFill>
                <a:latin typeface="Consolas" panose="020B0609020204030204" pitchFamily="49" charset="0"/>
                <a:cs typeface="Consolas" panose="020B0609020204030204" pitchFamily="49" charset="0"/>
              </a:rPr>
              <a:t>ImageOcr</a:t>
            </a:r>
            <a:r>
              <a:rPr lang="en-US" kern="0" dirty="0">
                <a:solidFill>
                  <a:prstClr val="black"/>
                </a:solidFill>
                <a:latin typeface="Consolas" panose="020B0609020204030204" pitchFamily="49" charset="0"/>
                <a:cs typeface="Consolas" panose="020B0609020204030204" pitchFamily="49" charset="0"/>
              </a:rPr>
              <a:t>;</a:t>
            </a:r>
          </a:p>
          <a:p>
            <a:pPr lvl="0" defTabSz="914400">
              <a:defRPr/>
            </a:pPr>
            <a:endParaRPr lang="en-US" kern="0" dirty="0">
              <a:solidFill>
                <a:prstClr val="black"/>
              </a:solidFill>
              <a:latin typeface="Consolas" panose="020B0609020204030204" pitchFamily="49" charset="0"/>
              <a:cs typeface="Consolas" panose="020B0609020204030204" pitchFamily="49" charset="0"/>
            </a:endParaRPr>
          </a:p>
          <a:p>
            <a:pPr lvl="0" defTabSz="914400">
              <a:defRPr/>
            </a:pPr>
            <a:r>
              <a:rPr lang="en-US" kern="0" dirty="0">
                <a:solidFill>
                  <a:prstClr val="black"/>
                </a:solidFill>
                <a:latin typeface="Consolas" panose="020B0609020204030204" pitchFamily="49" charset="0"/>
                <a:cs typeface="Consolas" panose="020B0609020204030204" pitchFamily="49" charset="0"/>
              </a:rPr>
              <a:t>@</a:t>
            </a:r>
            <a:r>
              <a:rPr lang="en-US" kern="0" dirty="0" err="1">
                <a:solidFill>
                  <a:prstClr val="black"/>
                </a:solidFill>
                <a:latin typeface="Consolas" panose="020B0609020204030204" pitchFamily="49" charset="0"/>
                <a:cs typeface="Consolas" panose="020B0609020204030204" pitchFamily="49" charset="0"/>
              </a:rPr>
              <a:t>imgs</a:t>
            </a:r>
            <a:r>
              <a:rPr lang="en-US" kern="0" dirty="0">
                <a:solidFill>
                  <a:prstClr val="black"/>
                </a:solidFill>
                <a:latin typeface="Consolas" panose="020B0609020204030204" pitchFamily="49" charset="0"/>
                <a:cs typeface="Consolas" panose="020B0609020204030204" pitchFamily="49" charset="0"/>
              </a:rPr>
              <a:t> =</a:t>
            </a:r>
          </a:p>
          <a:p>
            <a:pPr lvl="0" defTabSz="914400">
              <a:defRPr/>
            </a:pPr>
            <a:r>
              <a:rPr lang="en-US" kern="0" dirty="0">
                <a:solidFill>
                  <a:prstClr val="black"/>
                </a:solidFill>
                <a:latin typeface="Consolas" panose="020B0609020204030204" pitchFamily="49" charset="0"/>
                <a:cs typeface="Consolas" panose="020B0609020204030204" pitchFamily="49" charset="0"/>
              </a:rPr>
              <a:t>    EXTRACT </a:t>
            </a:r>
          </a:p>
          <a:p>
            <a:pPr lvl="0" defTabSz="914400">
              <a:defRPr/>
            </a:pPr>
            <a:r>
              <a:rPr lang="en-US" kern="0" dirty="0">
                <a:solidFill>
                  <a:prstClr val="black"/>
                </a:solidFill>
                <a:latin typeface="Consolas" panose="020B0609020204030204" pitchFamily="49" charset="0"/>
                <a:cs typeface="Consolas" panose="020B0609020204030204" pitchFamily="49" charset="0"/>
              </a:rPr>
              <a:t>        </a:t>
            </a:r>
            <a:r>
              <a:rPr lang="en-US" kern="0" dirty="0" err="1">
                <a:solidFill>
                  <a:prstClr val="black"/>
                </a:solidFill>
                <a:latin typeface="Consolas" panose="020B0609020204030204" pitchFamily="49" charset="0"/>
                <a:cs typeface="Consolas" panose="020B0609020204030204" pitchFamily="49" charset="0"/>
              </a:rPr>
              <a:t>FileName</a:t>
            </a:r>
            <a:r>
              <a:rPr lang="en-US" kern="0" dirty="0">
                <a:solidFill>
                  <a:prstClr val="black"/>
                </a:solidFill>
                <a:latin typeface="Consolas" panose="020B0609020204030204" pitchFamily="49" charset="0"/>
                <a:cs typeface="Consolas" panose="020B0609020204030204" pitchFamily="49" charset="0"/>
              </a:rPr>
              <a:t> string, </a:t>
            </a:r>
          </a:p>
          <a:p>
            <a:pPr lvl="0" defTabSz="914400">
              <a:defRPr/>
            </a:pPr>
            <a:r>
              <a:rPr lang="en-US" kern="0" dirty="0">
                <a:solidFill>
                  <a:prstClr val="black"/>
                </a:solidFill>
                <a:latin typeface="Consolas" panose="020B0609020204030204" pitchFamily="49" charset="0"/>
                <a:cs typeface="Consolas" panose="020B0609020204030204" pitchFamily="49" charset="0"/>
              </a:rPr>
              <a:t>        </a:t>
            </a:r>
            <a:r>
              <a:rPr lang="en-US" kern="0" dirty="0" err="1">
                <a:solidFill>
                  <a:prstClr val="black"/>
                </a:solidFill>
                <a:latin typeface="Consolas" panose="020B0609020204030204" pitchFamily="49" charset="0"/>
                <a:cs typeface="Consolas" panose="020B0609020204030204" pitchFamily="49" charset="0"/>
              </a:rPr>
              <a:t>ImgData</a:t>
            </a:r>
            <a:r>
              <a:rPr lang="en-US" kern="0" dirty="0">
                <a:solidFill>
                  <a:prstClr val="black"/>
                </a:solidFill>
                <a:latin typeface="Consolas" panose="020B0609020204030204" pitchFamily="49" charset="0"/>
                <a:cs typeface="Consolas" panose="020B0609020204030204" pitchFamily="49" charset="0"/>
              </a:rPr>
              <a:t> byte[]</a:t>
            </a:r>
          </a:p>
          <a:p>
            <a:pPr lvl="0" defTabSz="914400">
              <a:defRPr/>
            </a:pPr>
            <a:r>
              <a:rPr lang="en-US" kern="0" dirty="0">
                <a:solidFill>
                  <a:prstClr val="black"/>
                </a:solidFill>
                <a:latin typeface="Consolas" panose="020B0609020204030204" pitchFamily="49" charset="0"/>
                <a:cs typeface="Consolas" panose="020B0609020204030204" pitchFamily="49" charset="0"/>
              </a:rPr>
              <a:t>    FROM @"/</a:t>
            </a:r>
            <a:r>
              <a:rPr lang="en-US" kern="0" dirty="0" err="1">
                <a:solidFill>
                  <a:prstClr val="black"/>
                </a:solidFill>
                <a:latin typeface="Consolas" panose="020B0609020204030204" pitchFamily="49" charset="0"/>
                <a:cs typeface="Consolas" panose="020B0609020204030204" pitchFamily="49" charset="0"/>
              </a:rPr>
              <a:t>usqlext</a:t>
            </a:r>
            <a:r>
              <a:rPr lang="en-US" kern="0" dirty="0">
                <a:solidFill>
                  <a:prstClr val="black"/>
                </a:solidFill>
                <a:latin typeface="Consolas" panose="020B0609020204030204" pitchFamily="49" charset="0"/>
                <a:cs typeface="Consolas" panose="020B0609020204030204" pitchFamily="49" charset="0"/>
              </a:rPr>
              <a:t>/samples/cognition/{</a:t>
            </a:r>
            <a:r>
              <a:rPr lang="en-US" kern="0" dirty="0" err="1">
                <a:solidFill>
                  <a:prstClr val="black"/>
                </a:solidFill>
                <a:latin typeface="Consolas" panose="020B0609020204030204" pitchFamily="49" charset="0"/>
                <a:cs typeface="Consolas" panose="020B0609020204030204" pitchFamily="49" charset="0"/>
              </a:rPr>
              <a:t>FileName</a:t>
            </a:r>
            <a:r>
              <a:rPr lang="en-US" kern="0" dirty="0">
                <a:solidFill>
                  <a:prstClr val="black"/>
                </a:solidFill>
                <a:latin typeface="Consolas" panose="020B0609020204030204" pitchFamily="49" charset="0"/>
                <a:cs typeface="Consolas" panose="020B0609020204030204" pitchFamily="49" charset="0"/>
              </a:rPr>
              <a:t>}.jpg"</a:t>
            </a:r>
          </a:p>
          <a:p>
            <a:pPr lvl="0" defTabSz="914400">
              <a:defRPr/>
            </a:pPr>
            <a:r>
              <a:rPr lang="en-US" kern="0" dirty="0">
                <a:solidFill>
                  <a:prstClr val="black"/>
                </a:solidFill>
                <a:latin typeface="Consolas" panose="020B0609020204030204" pitchFamily="49" charset="0"/>
                <a:cs typeface="Consolas" panose="020B0609020204030204" pitchFamily="49" charset="0"/>
              </a:rPr>
              <a:t>    USING new </a:t>
            </a:r>
            <a:r>
              <a:rPr lang="en-US" kern="0" dirty="0" err="1">
                <a:solidFill>
                  <a:prstClr val="black"/>
                </a:solidFill>
                <a:latin typeface="Consolas" panose="020B0609020204030204" pitchFamily="49" charset="0"/>
                <a:cs typeface="Consolas" panose="020B0609020204030204" pitchFamily="49" charset="0"/>
              </a:rPr>
              <a:t>Cognition.Vision.ImageExtractor</a:t>
            </a:r>
            <a:r>
              <a:rPr lang="en-US" kern="0" dirty="0">
                <a:solidFill>
                  <a:prstClr val="black"/>
                </a:solidFill>
                <a:latin typeface="Consolas" panose="020B0609020204030204" pitchFamily="49" charset="0"/>
                <a:cs typeface="Consolas" panose="020B0609020204030204" pitchFamily="49" charset="0"/>
              </a:rPr>
              <a:t>();</a:t>
            </a:r>
          </a:p>
          <a:p>
            <a:pPr lvl="0" defTabSz="914400">
              <a:defRPr/>
            </a:pPr>
            <a:endParaRPr lang="en-US" kern="0" dirty="0">
              <a:solidFill>
                <a:prstClr val="black"/>
              </a:solidFill>
              <a:latin typeface="Consolas" panose="020B0609020204030204" pitchFamily="49" charset="0"/>
              <a:cs typeface="Consolas" panose="020B0609020204030204" pitchFamily="49" charset="0"/>
            </a:endParaRPr>
          </a:p>
          <a:p>
            <a:pPr lvl="0" defTabSz="914400">
              <a:defRPr/>
            </a:pPr>
            <a:r>
              <a:rPr lang="en-US" kern="0" dirty="0">
                <a:solidFill>
                  <a:prstClr val="black"/>
                </a:solidFill>
                <a:latin typeface="Consolas" panose="020B0609020204030204" pitchFamily="49" charset="0"/>
                <a:cs typeface="Consolas" panose="020B0609020204030204" pitchFamily="49" charset="0"/>
              </a:rPr>
              <a:t>@tags =</a:t>
            </a:r>
          </a:p>
          <a:p>
            <a:pPr lvl="0" defTabSz="914400">
              <a:defRPr/>
            </a:pPr>
            <a:r>
              <a:rPr lang="en-US" kern="0" dirty="0">
                <a:solidFill>
                  <a:prstClr val="black"/>
                </a:solidFill>
                <a:latin typeface="Consolas" panose="020B0609020204030204" pitchFamily="49" charset="0"/>
                <a:cs typeface="Consolas" panose="020B0609020204030204" pitchFamily="49" charset="0"/>
              </a:rPr>
              <a:t>    PROCESS @</a:t>
            </a:r>
            <a:r>
              <a:rPr lang="en-US" kern="0" dirty="0" err="1">
                <a:solidFill>
                  <a:prstClr val="black"/>
                </a:solidFill>
                <a:latin typeface="Consolas" panose="020B0609020204030204" pitchFamily="49" charset="0"/>
                <a:cs typeface="Consolas" panose="020B0609020204030204" pitchFamily="49" charset="0"/>
              </a:rPr>
              <a:t>imgs</a:t>
            </a:r>
            <a:r>
              <a:rPr lang="en-US" kern="0" dirty="0">
                <a:solidFill>
                  <a:prstClr val="black"/>
                </a:solidFill>
                <a:latin typeface="Consolas" panose="020B0609020204030204" pitchFamily="49" charset="0"/>
                <a:cs typeface="Consolas" panose="020B0609020204030204" pitchFamily="49" charset="0"/>
              </a:rPr>
              <a:t> </a:t>
            </a:r>
          </a:p>
          <a:p>
            <a:pPr lvl="0" defTabSz="914400">
              <a:defRPr/>
            </a:pPr>
            <a:r>
              <a:rPr lang="en-US" kern="0" dirty="0">
                <a:solidFill>
                  <a:prstClr val="black"/>
                </a:solidFill>
                <a:latin typeface="Consolas" panose="020B0609020204030204" pitchFamily="49" charset="0"/>
                <a:cs typeface="Consolas" panose="020B0609020204030204" pitchFamily="49" charset="0"/>
              </a:rPr>
              <a:t>    PRODUCE </a:t>
            </a:r>
            <a:r>
              <a:rPr lang="en-US" kern="0" dirty="0" err="1">
                <a:solidFill>
                  <a:prstClr val="black"/>
                </a:solidFill>
                <a:latin typeface="Consolas" panose="020B0609020204030204" pitchFamily="49" charset="0"/>
                <a:cs typeface="Consolas" panose="020B0609020204030204" pitchFamily="49" charset="0"/>
              </a:rPr>
              <a:t>FileName</a:t>
            </a:r>
            <a:r>
              <a:rPr lang="en-US" kern="0" dirty="0">
                <a:solidFill>
                  <a:prstClr val="black"/>
                </a:solidFill>
                <a:latin typeface="Consolas" panose="020B0609020204030204" pitchFamily="49" charset="0"/>
                <a:cs typeface="Consolas" panose="020B0609020204030204" pitchFamily="49" charset="0"/>
              </a:rPr>
              <a:t>,</a:t>
            </a:r>
          </a:p>
          <a:p>
            <a:pPr lvl="0" defTabSz="914400">
              <a:defRPr/>
            </a:pPr>
            <a:r>
              <a:rPr lang="en-US" kern="0" dirty="0">
                <a:solidFill>
                  <a:prstClr val="black"/>
                </a:solidFill>
                <a:latin typeface="Consolas" panose="020B0609020204030204" pitchFamily="49" charset="0"/>
                <a:cs typeface="Consolas" panose="020B0609020204030204" pitchFamily="49" charset="0"/>
              </a:rPr>
              <a:t>            </a:t>
            </a:r>
            <a:r>
              <a:rPr lang="en-US" kern="0" dirty="0" err="1">
                <a:solidFill>
                  <a:prstClr val="black"/>
                </a:solidFill>
                <a:latin typeface="Consolas" panose="020B0609020204030204" pitchFamily="49" charset="0"/>
                <a:cs typeface="Consolas" panose="020B0609020204030204" pitchFamily="49" charset="0"/>
              </a:rPr>
              <a:t>NumObjects</a:t>
            </a:r>
            <a:r>
              <a:rPr lang="en-US" kern="0" dirty="0">
                <a:solidFill>
                  <a:prstClr val="black"/>
                </a:solidFill>
                <a:latin typeface="Consolas" panose="020B0609020204030204" pitchFamily="49" charset="0"/>
                <a:cs typeface="Consolas" panose="020B0609020204030204" pitchFamily="49" charset="0"/>
              </a:rPr>
              <a:t> </a:t>
            </a:r>
            <a:r>
              <a:rPr lang="en-US" kern="0" dirty="0" err="1">
                <a:solidFill>
                  <a:prstClr val="black"/>
                </a:solidFill>
                <a:latin typeface="Consolas" panose="020B0609020204030204" pitchFamily="49" charset="0"/>
                <a:cs typeface="Consolas" panose="020B0609020204030204" pitchFamily="49" charset="0"/>
              </a:rPr>
              <a:t>int</a:t>
            </a:r>
            <a:r>
              <a:rPr lang="en-US" kern="0" dirty="0">
                <a:solidFill>
                  <a:prstClr val="black"/>
                </a:solidFill>
                <a:latin typeface="Consolas" panose="020B0609020204030204" pitchFamily="49" charset="0"/>
                <a:cs typeface="Consolas" panose="020B0609020204030204" pitchFamily="49" charset="0"/>
              </a:rPr>
              <a:t>,</a:t>
            </a:r>
          </a:p>
          <a:p>
            <a:pPr lvl="0" defTabSz="914400">
              <a:defRPr/>
            </a:pPr>
            <a:r>
              <a:rPr lang="en-US" kern="0" dirty="0">
                <a:solidFill>
                  <a:prstClr val="black"/>
                </a:solidFill>
                <a:latin typeface="Consolas" panose="020B0609020204030204" pitchFamily="49" charset="0"/>
                <a:cs typeface="Consolas" panose="020B0609020204030204" pitchFamily="49" charset="0"/>
              </a:rPr>
              <a:t>            Tags SQL.MAP&lt;string, float?&gt;</a:t>
            </a:r>
          </a:p>
          <a:p>
            <a:pPr lvl="0" defTabSz="914400">
              <a:defRPr/>
            </a:pPr>
            <a:r>
              <a:rPr lang="en-US" kern="0" dirty="0">
                <a:solidFill>
                  <a:prstClr val="black"/>
                </a:solidFill>
                <a:latin typeface="Consolas" panose="020B0609020204030204" pitchFamily="49" charset="0"/>
                <a:cs typeface="Consolas" panose="020B0609020204030204" pitchFamily="49" charset="0"/>
              </a:rPr>
              <a:t>    READONLY </a:t>
            </a:r>
            <a:r>
              <a:rPr lang="en-US" kern="0" dirty="0" err="1">
                <a:solidFill>
                  <a:prstClr val="black"/>
                </a:solidFill>
                <a:latin typeface="Consolas" panose="020B0609020204030204" pitchFamily="49" charset="0"/>
                <a:cs typeface="Consolas" panose="020B0609020204030204" pitchFamily="49" charset="0"/>
              </a:rPr>
              <a:t>FileName</a:t>
            </a:r>
            <a:endParaRPr lang="en-US" kern="0" dirty="0">
              <a:solidFill>
                <a:prstClr val="black"/>
              </a:solidFill>
              <a:latin typeface="Consolas" panose="020B0609020204030204" pitchFamily="49" charset="0"/>
              <a:cs typeface="Consolas" panose="020B0609020204030204" pitchFamily="49" charset="0"/>
            </a:endParaRPr>
          </a:p>
          <a:p>
            <a:pPr lvl="0" defTabSz="914400">
              <a:defRPr/>
            </a:pPr>
            <a:r>
              <a:rPr lang="en-US" kern="0" dirty="0">
                <a:solidFill>
                  <a:prstClr val="black"/>
                </a:solidFill>
                <a:latin typeface="Consolas" panose="020B0609020204030204" pitchFamily="49" charset="0"/>
                <a:cs typeface="Consolas" panose="020B0609020204030204" pitchFamily="49" charset="0"/>
              </a:rPr>
              <a:t>    USING new </a:t>
            </a:r>
            <a:r>
              <a:rPr lang="en-US" kern="0" dirty="0" err="1">
                <a:solidFill>
                  <a:prstClr val="black"/>
                </a:solidFill>
                <a:latin typeface="Consolas" panose="020B0609020204030204" pitchFamily="49" charset="0"/>
                <a:cs typeface="Consolas" panose="020B0609020204030204" pitchFamily="49" charset="0"/>
              </a:rPr>
              <a:t>Cognition.Vision.ImageTagger</a:t>
            </a:r>
            <a:r>
              <a:rPr lang="en-US" kern="0" dirty="0">
                <a:solidFill>
                  <a:prstClr val="black"/>
                </a:solidFill>
                <a:latin typeface="Consolas" panose="020B0609020204030204" pitchFamily="49" charset="0"/>
                <a:cs typeface="Consolas" panose="020B0609020204030204" pitchFamily="49" charset="0"/>
              </a:rPr>
              <a:t>();</a:t>
            </a:r>
          </a:p>
          <a:p>
            <a:pPr lvl="0" defTabSz="914400">
              <a:defRPr/>
            </a:pPr>
            <a:endParaRPr lang="en-US" kern="0" dirty="0">
              <a:solidFill>
                <a:prstClr val="black"/>
              </a:solidFill>
              <a:latin typeface="Consolas" panose="020B0609020204030204" pitchFamily="49" charset="0"/>
              <a:cs typeface="Consolas" panose="020B0609020204030204" pitchFamily="49" charset="0"/>
            </a:endParaRPr>
          </a:p>
          <a:p>
            <a:pPr lvl="0" defTabSz="914400">
              <a:defRPr/>
            </a:pPr>
            <a:r>
              <a:rPr lang="en-US" kern="0" dirty="0">
                <a:solidFill>
                  <a:prstClr val="black"/>
                </a:solidFill>
                <a:latin typeface="Consolas" panose="020B0609020204030204" pitchFamily="49" charset="0"/>
                <a:cs typeface="Consolas" panose="020B0609020204030204" pitchFamily="49" charset="0"/>
              </a:rPr>
              <a:t>OUTPUT @tags</a:t>
            </a:r>
          </a:p>
          <a:p>
            <a:pPr lvl="0" defTabSz="914400">
              <a:defRPr/>
            </a:pPr>
            <a:r>
              <a:rPr lang="en-US" kern="0" dirty="0">
                <a:solidFill>
                  <a:prstClr val="black"/>
                </a:solidFill>
                <a:latin typeface="Consolas" panose="020B0609020204030204" pitchFamily="49" charset="0"/>
                <a:cs typeface="Consolas" panose="020B0609020204030204" pitchFamily="49" charset="0"/>
              </a:rPr>
              <a:t>    TO "/tags.csv"</a:t>
            </a:r>
          </a:p>
          <a:p>
            <a:pPr lvl="0" defTabSz="914400">
              <a:defRPr/>
            </a:pPr>
            <a:r>
              <a:rPr lang="en-US" kern="0" dirty="0">
                <a:solidFill>
                  <a:prstClr val="black"/>
                </a:solidFill>
                <a:latin typeface="Consolas" panose="020B0609020204030204" pitchFamily="49" charset="0"/>
                <a:cs typeface="Consolas" panose="020B0609020204030204" pitchFamily="49" charset="0"/>
              </a:rPr>
              <a:t>    USING </a:t>
            </a:r>
            <a:r>
              <a:rPr lang="en-US" kern="0" dirty="0" err="1">
                <a:solidFill>
                  <a:prstClr val="black"/>
                </a:solidFill>
                <a:latin typeface="Consolas" panose="020B0609020204030204" pitchFamily="49" charset="0"/>
                <a:cs typeface="Consolas" panose="020B0609020204030204" pitchFamily="49" charset="0"/>
              </a:rPr>
              <a:t>Outputers.Csv</a:t>
            </a:r>
            <a:r>
              <a:rPr lang="en-US" kern="0" dirty="0">
                <a:solidFill>
                  <a:prstClr val="black"/>
                </a:solidFill>
                <a:latin typeface="Consolas" panose="020B0609020204030204" pitchFamily="49" charset="0"/>
                <a:cs typeface="Consolas" panose="020B0609020204030204" pitchFamily="49" charset="0"/>
              </a:rPr>
              <a:t>();</a:t>
            </a:r>
            <a:endParaRPr kumimoji="0" lang="en-US" b="0" i="0" u="none" strike="noStrike" kern="0" cap="none" spc="0" normalizeH="0" baseline="0" noProof="0" dirty="0">
              <a:ln>
                <a:noFill/>
              </a:ln>
              <a:solidFill>
                <a:prstClr val="black"/>
              </a:solidFill>
              <a:effectLst/>
              <a:uLnTx/>
              <a:uFillTx/>
              <a:latin typeface="Consolas" panose="020B0609020204030204" pitchFamily="49" charset="0"/>
              <a:ea typeface="+mn-ea"/>
              <a:cs typeface="Consolas" panose="020B0609020204030204" pitchFamily="49" charset="0"/>
            </a:endParaRPr>
          </a:p>
        </p:txBody>
      </p:sp>
      <p:sp>
        <p:nvSpPr>
          <p:cNvPr id="10" name="Rectangle 9"/>
          <p:cNvSpPr/>
          <p:nvPr/>
        </p:nvSpPr>
        <p:spPr>
          <a:xfrm>
            <a:off x="8505094" y="0"/>
            <a:ext cx="3931381" cy="699452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Light"/>
                <a:ea typeface="+mn-ea"/>
                <a:cs typeface="+mn-cs"/>
              </a:rPr>
              <a:t>Hello World for Cognitive in U-SQ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Light"/>
              <a:ea typeface="+mn-ea"/>
              <a:cs typeface="+mn-cs"/>
            </a:endParaRPr>
          </a:p>
        </p:txBody>
      </p:sp>
      <p:sp>
        <p:nvSpPr>
          <p:cNvPr id="2" name="Speech Bubble: Rectangle 1">
            <a:extLst>
              <a:ext uri="{FF2B5EF4-FFF2-40B4-BE49-F238E27FC236}">
                <a16:creationId xmlns:a16="http://schemas.microsoft.com/office/drawing/2014/main" id="{A2707968-5497-4B6D-B170-2ABAC8630251}"/>
              </a:ext>
            </a:extLst>
          </p:cNvPr>
          <p:cNvSpPr/>
          <p:nvPr/>
        </p:nvSpPr>
        <p:spPr>
          <a:xfrm>
            <a:off x="7406944" y="1668482"/>
            <a:ext cx="3566121" cy="914390"/>
          </a:xfrm>
          <a:prstGeom prst="wedgeRectCallout">
            <a:avLst>
              <a:gd name="adj1" fmla="val -104186"/>
              <a:gd name="adj2" fmla="val 76005"/>
            </a:avLst>
          </a:prstGeom>
          <a:solidFill>
            <a:srgbClr val="FE5E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Load image files into rows that contain a byte array of the image</a:t>
            </a:r>
          </a:p>
        </p:txBody>
      </p:sp>
      <p:sp>
        <p:nvSpPr>
          <p:cNvPr id="5" name="Speech Bubble: Rectangle 4">
            <a:extLst>
              <a:ext uri="{FF2B5EF4-FFF2-40B4-BE49-F238E27FC236}">
                <a16:creationId xmlns:a16="http://schemas.microsoft.com/office/drawing/2014/main" id="{D23680D6-F878-4418-B701-605F80914885}"/>
              </a:ext>
            </a:extLst>
          </p:cNvPr>
          <p:cNvSpPr/>
          <p:nvPr/>
        </p:nvSpPr>
        <p:spPr>
          <a:xfrm>
            <a:off x="7424931" y="3215026"/>
            <a:ext cx="3566121" cy="1562382"/>
          </a:xfrm>
          <a:prstGeom prst="wedgeRectCallout">
            <a:avLst>
              <a:gd name="adj1" fmla="val -106503"/>
              <a:gd name="adj2" fmla="val 59122"/>
            </a:avLst>
          </a:prstGeom>
          <a:solidFill>
            <a:srgbClr val="FE5E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Use PROCESS to identify the objects in the image. Each row will contain the filename and all the objects tagged </a:t>
            </a:r>
            <a:r>
              <a:rPr kumimoji="0" lang="en-US" sz="1800" b="0" i="0" u="none" strike="noStrike" kern="1200" cap="none" spc="0" normalizeH="0" baseline="0" noProof="0" dirty="0" err="1">
                <a:ln>
                  <a:noFill/>
                </a:ln>
                <a:solidFill>
                  <a:prstClr val="white"/>
                </a:solidFill>
                <a:effectLst/>
                <a:uLnTx/>
                <a:uFillTx/>
                <a:latin typeface="Segoe UI"/>
                <a:ea typeface="+mn-ea"/>
                <a:cs typeface="+mn-cs"/>
              </a:rPr>
              <a:t>int</a:t>
            </a:r>
            <a:r>
              <a:rPr kumimoji="0" lang="en-US" sz="1800" b="0" i="0" u="none" strike="noStrike" kern="1200" cap="none" spc="0" normalizeH="0" baseline="0" noProof="0" dirty="0">
                <a:ln>
                  <a:noFill/>
                </a:ln>
                <a:solidFill>
                  <a:prstClr val="white"/>
                </a:solidFill>
                <a:effectLst/>
                <a:uLnTx/>
                <a:uFillTx/>
                <a:latin typeface="Segoe UI"/>
                <a:ea typeface="+mn-ea"/>
                <a:cs typeface="+mn-cs"/>
              </a:rPr>
              <a:t> the image</a:t>
            </a:r>
          </a:p>
        </p:txBody>
      </p:sp>
      <p:sp>
        <p:nvSpPr>
          <p:cNvPr id="6" name="Speech Bubble: Rectangle 5">
            <a:extLst>
              <a:ext uri="{FF2B5EF4-FFF2-40B4-BE49-F238E27FC236}">
                <a16:creationId xmlns:a16="http://schemas.microsoft.com/office/drawing/2014/main" id="{5CB71359-85E4-45E9-935B-D245EF1D8E06}"/>
              </a:ext>
            </a:extLst>
          </p:cNvPr>
          <p:cNvSpPr/>
          <p:nvPr/>
        </p:nvSpPr>
        <p:spPr>
          <a:xfrm>
            <a:off x="7462718" y="5797897"/>
            <a:ext cx="3566121" cy="869259"/>
          </a:xfrm>
          <a:prstGeom prst="wedgeRectCallout">
            <a:avLst>
              <a:gd name="adj1" fmla="val -164596"/>
              <a:gd name="adj2" fmla="val 22620"/>
            </a:avLst>
          </a:prstGeom>
          <a:solidFill>
            <a:srgbClr val="FE5E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Write out the data to a file.</a:t>
            </a:r>
          </a:p>
        </p:txBody>
      </p:sp>
      <p:sp>
        <p:nvSpPr>
          <p:cNvPr id="7" name="Speech Bubble: Rectangle 6">
            <a:extLst>
              <a:ext uri="{FF2B5EF4-FFF2-40B4-BE49-F238E27FC236}">
                <a16:creationId xmlns:a16="http://schemas.microsoft.com/office/drawing/2014/main" id="{95295DD7-EEC1-4FD2-B6D4-52EAB99BDDBE}"/>
              </a:ext>
            </a:extLst>
          </p:cNvPr>
          <p:cNvSpPr/>
          <p:nvPr/>
        </p:nvSpPr>
        <p:spPr>
          <a:xfrm>
            <a:off x="5761043" y="364212"/>
            <a:ext cx="2331092" cy="914390"/>
          </a:xfrm>
          <a:prstGeom prst="wedgeRectCallout">
            <a:avLst>
              <a:gd name="adj1" fmla="val -131007"/>
              <a:gd name="adj2" fmla="val -10403"/>
            </a:avLst>
          </a:prstGeom>
          <a:solidFill>
            <a:srgbClr val="FE5E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Pull in the needed assemblies</a:t>
            </a:r>
          </a:p>
        </p:txBody>
      </p:sp>
    </p:spTree>
    <p:extLst>
      <p:ext uri="{BB962C8B-B14F-4D97-AF65-F5344CB8AC3E}">
        <p14:creationId xmlns:p14="http://schemas.microsoft.com/office/powerpoint/2010/main" val="367505377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94319" y="194292"/>
            <a:ext cx="6755430" cy="1449874"/>
          </a:xfrm>
        </p:spPr>
        <p:txBody>
          <a:bodyPr>
            <a:normAutofit/>
          </a:bodyPr>
          <a:lstStyle/>
          <a:p>
            <a:r>
              <a:rPr lang="en-US" dirty="0"/>
              <a:t>Massively Parallel Programs with Python &amp; R</a:t>
            </a:r>
          </a:p>
        </p:txBody>
      </p:sp>
      <p:sp>
        <p:nvSpPr>
          <p:cNvPr id="4" name="Text Placeholder 3"/>
          <p:cNvSpPr>
            <a:spLocks noGrp="1"/>
          </p:cNvSpPr>
          <p:nvPr>
            <p:ph type="body" sz="quarter" idx="4294967295"/>
          </p:nvPr>
        </p:nvSpPr>
        <p:spPr>
          <a:xfrm>
            <a:off x="194319" y="3927009"/>
            <a:ext cx="5436435" cy="2558311"/>
          </a:xfrm>
        </p:spPr>
        <p:txBody>
          <a:bodyPr>
            <a:noAutofit/>
          </a:bodyPr>
          <a:lstStyle/>
          <a:p>
            <a:pPr marL="0" indent="0">
              <a:spcBef>
                <a:spcPts val="0"/>
              </a:spcBef>
              <a:buNone/>
            </a:pPr>
            <a:r>
              <a:rPr lang="en-US" sz="2000" dirty="0">
                <a:latin typeface="+mj-lt"/>
              </a:rPr>
              <a:t>The U-SQL batch execution engine makes it easy to reuse Python and R code on thousands of execution nodes.</a:t>
            </a:r>
          </a:p>
          <a:p>
            <a:pPr marL="0" indent="0">
              <a:spcBef>
                <a:spcPts val="0"/>
              </a:spcBef>
              <a:buNone/>
            </a:pPr>
            <a:endParaRPr lang="en-US" sz="2000" dirty="0">
              <a:latin typeface="+mj-lt"/>
            </a:endParaRPr>
          </a:p>
        </p:txBody>
      </p:sp>
      <p:sp>
        <p:nvSpPr>
          <p:cNvPr id="5" name="Rectangle 4"/>
          <p:cNvSpPr/>
          <p:nvPr/>
        </p:nvSpPr>
        <p:spPr>
          <a:xfrm>
            <a:off x="8020792" y="401658"/>
            <a:ext cx="2244412" cy="9002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Segoe UI"/>
                <a:ea typeface="+mn-ea"/>
                <a:cs typeface="+mn-cs"/>
              </a:rPr>
              <a:t>Input Data</a:t>
            </a:r>
          </a:p>
        </p:txBody>
      </p:sp>
      <p:sp>
        <p:nvSpPr>
          <p:cNvPr id="6" name="Rectangle 5"/>
          <p:cNvSpPr/>
          <p:nvPr/>
        </p:nvSpPr>
        <p:spPr>
          <a:xfrm>
            <a:off x="8020792" y="1774872"/>
            <a:ext cx="2244412" cy="808000"/>
          </a:xfrm>
          <a:prstGeom prst="rect">
            <a:avLst/>
          </a:prstGeom>
          <a:solidFill>
            <a:srgbClr val="F034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Segoe UI"/>
                <a:ea typeface="+mn-ea"/>
                <a:cs typeface="+mn-cs"/>
              </a:rPr>
              <a:t>Partition data by Key</a:t>
            </a:r>
          </a:p>
        </p:txBody>
      </p:sp>
      <p:sp>
        <p:nvSpPr>
          <p:cNvPr id="7" name="Rectangle 6"/>
          <p:cNvSpPr/>
          <p:nvPr/>
        </p:nvSpPr>
        <p:spPr>
          <a:xfrm>
            <a:off x="6398542" y="3121622"/>
            <a:ext cx="1606510" cy="80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Segoe UI"/>
                <a:ea typeface="+mn-ea"/>
                <a:cs typeface="+mn-cs"/>
              </a:rPr>
              <a:t>Partition</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Segoe UI"/>
                <a:ea typeface="+mn-ea"/>
                <a:cs typeface="+mn-cs"/>
              </a:rPr>
              <a:t>K0</a:t>
            </a:r>
          </a:p>
        </p:txBody>
      </p:sp>
      <p:sp>
        <p:nvSpPr>
          <p:cNvPr id="8" name="Rectangle 7"/>
          <p:cNvSpPr/>
          <p:nvPr/>
        </p:nvSpPr>
        <p:spPr>
          <a:xfrm>
            <a:off x="8339744" y="3119009"/>
            <a:ext cx="1606510" cy="80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Segoe UI"/>
                <a:ea typeface="+mn-ea"/>
                <a:cs typeface="+mn-cs"/>
              </a:rPr>
              <a:t>Partition</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Segoe UI"/>
                <a:ea typeface="+mn-ea"/>
                <a:cs typeface="+mn-cs"/>
              </a:rPr>
              <a:t>K1</a:t>
            </a:r>
          </a:p>
        </p:txBody>
      </p:sp>
      <p:sp>
        <p:nvSpPr>
          <p:cNvPr id="9" name="Rectangle 8"/>
          <p:cNvSpPr/>
          <p:nvPr/>
        </p:nvSpPr>
        <p:spPr>
          <a:xfrm>
            <a:off x="10280944" y="3119009"/>
            <a:ext cx="1606510" cy="80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Segoe UI"/>
                <a:ea typeface="+mn-ea"/>
                <a:cs typeface="+mn-cs"/>
              </a:rPr>
              <a:t>Partition</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Segoe UI"/>
                <a:ea typeface="+mn-ea"/>
                <a:cs typeface="+mn-cs"/>
              </a:rPr>
              <a:t>K2</a:t>
            </a:r>
          </a:p>
        </p:txBody>
      </p:sp>
      <p:cxnSp>
        <p:nvCxnSpPr>
          <p:cNvPr id="10" name="Straight Arrow Connector 9"/>
          <p:cNvCxnSpPr>
            <a:stCxn id="5" idx="2"/>
            <a:endCxn id="6" idx="0"/>
          </p:cNvCxnSpPr>
          <p:nvPr/>
        </p:nvCxnSpPr>
        <p:spPr>
          <a:xfrm>
            <a:off x="9142998" y="1301858"/>
            <a:ext cx="0" cy="473014"/>
          </a:xfrm>
          <a:prstGeom prst="straightConnector1">
            <a:avLst/>
          </a:prstGeom>
          <a:solidFill>
            <a:schemeClr val="tx1">
              <a:lumMod val="75000"/>
              <a:lumOff val="25000"/>
            </a:schemeClr>
          </a:solidFill>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a:stCxn id="6" idx="2"/>
            <a:endCxn id="7" idx="0"/>
          </p:cNvCxnSpPr>
          <p:nvPr/>
        </p:nvCxnSpPr>
        <p:spPr>
          <a:xfrm flipH="1">
            <a:off x="7201797" y="2582872"/>
            <a:ext cx="1941201" cy="538750"/>
          </a:xfrm>
          <a:prstGeom prst="straightConnector1">
            <a:avLst/>
          </a:prstGeom>
          <a:solidFill>
            <a:schemeClr val="tx1">
              <a:lumMod val="75000"/>
              <a:lumOff val="25000"/>
            </a:schemeClr>
          </a:solidFill>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a:stCxn id="6" idx="2"/>
            <a:endCxn id="8" idx="0"/>
          </p:cNvCxnSpPr>
          <p:nvPr/>
        </p:nvCxnSpPr>
        <p:spPr>
          <a:xfrm>
            <a:off x="9142998" y="2582872"/>
            <a:ext cx="1" cy="536137"/>
          </a:xfrm>
          <a:prstGeom prst="straightConnector1">
            <a:avLst/>
          </a:prstGeom>
          <a:solidFill>
            <a:schemeClr val="tx1">
              <a:lumMod val="75000"/>
              <a:lumOff val="25000"/>
            </a:schemeClr>
          </a:solidFill>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6" idx="2"/>
            <a:endCxn id="9" idx="0"/>
          </p:cNvCxnSpPr>
          <p:nvPr/>
        </p:nvCxnSpPr>
        <p:spPr>
          <a:xfrm>
            <a:off x="9142998" y="2582872"/>
            <a:ext cx="1941201" cy="536137"/>
          </a:xfrm>
          <a:prstGeom prst="straightConnector1">
            <a:avLst/>
          </a:prstGeom>
          <a:solidFill>
            <a:schemeClr val="tx1">
              <a:lumMod val="75000"/>
              <a:lumOff val="25000"/>
            </a:schemeClr>
          </a:solidFill>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6398542" y="4417188"/>
            <a:ext cx="1606511" cy="820617"/>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Segoe UI"/>
                <a:ea typeface="+mn-ea"/>
                <a:cs typeface="+mn-cs"/>
              </a:rPr>
              <a:t>Python/R</a:t>
            </a:r>
          </a:p>
        </p:txBody>
      </p:sp>
      <p:sp>
        <p:nvSpPr>
          <p:cNvPr id="15" name="Rectangle 14"/>
          <p:cNvSpPr/>
          <p:nvPr/>
        </p:nvSpPr>
        <p:spPr>
          <a:xfrm>
            <a:off x="8339744" y="4417188"/>
            <a:ext cx="1606511" cy="820617"/>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Segoe UI"/>
                <a:ea typeface="+mn-ea"/>
                <a:cs typeface="+mn-cs"/>
              </a:rPr>
              <a:t>Python/R</a:t>
            </a:r>
          </a:p>
        </p:txBody>
      </p:sp>
      <p:sp>
        <p:nvSpPr>
          <p:cNvPr id="16" name="Rectangle 15"/>
          <p:cNvSpPr/>
          <p:nvPr/>
        </p:nvSpPr>
        <p:spPr>
          <a:xfrm>
            <a:off x="10280944" y="4405315"/>
            <a:ext cx="1606511" cy="820617"/>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Segoe UI"/>
                <a:ea typeface="+mn-ea"/>
                <a:cs typeface="+mn-cs"/>
              </a:rPr>
              <a:t>Python/R</a:t>
            </a:r>
          </a:p>
        </p:txBody>
      </p:sp>
      <p:sp>
        <p:nvSpPr>
          <p:cNvPr id="17" name="Rectangle 16"/>
          <p:cNvSpPr/>
          <p:nvPr/>
        </p:nvSpPr>
        <p:spPr>
          <a:xfrm>
            <a:off x="6398542" y="5719316"/>
            <a:ext cx="1606510" cy="80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Segoe UI"/>
                <a:ea typeface="+mn-ea"/>
                <a:cs typeface="+mn-cs"/>
              </a:rPr>
              <a:t>Output for</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Segoe UI"/>
                <a:ea typeface="+mn-ea"/>
                <a:cs typeface="+mn-cs"/>
              </a:rPr>
              <a:t>K0</a:t>
            </a:r>
          </a:p>
        </p:txBody>
      </p:sp>
      <p:sp>
        <p:nvSpPr>
          <p:cNvPr id="18" name="Rectangle 17"/>
          <p:cNvSpPr/>
          <p:nvPr/>
        </p:nvSpPr>
        <p:spPr>
          <a:xfrm>
            <a:off x="8339744" y="5709824"/>
            <a:ext cx="1606510" cy="80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Segoe UI"/>
                <a:ea typeface="+mn-ea"/>
                <a:cs typeface="+mn-cs"/>
              </a:rPr>
              <a:t>Output for</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Segoe UI"/>
                <a:ea typeface="+mn-ea"/>
                <a:cs typeface="+mn-cs"/>
              </a:rPr>
              <a:t>K1</a:t>
            </a:r>
          </a:p>
        </p:txBody>
      </p:sp>
      <p:sp>
        <p:nvSpPr>
          <p:cNvPr id="19" name="Rectangle 18"/>
          <p:cNvSpPr/>
          <p:nvPr/>
        </p:nvSpPr>
        <p:spPr>
          <a:xfrm>
            <a:off x="10280944" y="5700332"/>
            <a:ext cx="1606510" cy="80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Segoe UI"/>
                <a:ea typeface="+mn-ea"/>
                <a:cs typeface="+mn-cs"/>
              </a:rPr>
              <a:t>Output for</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Segoe UI"/>
                <a:ea typeface="+mn-ea"/>
                <a:cs typeface="+mn-cs"/>
              </a:rPr>
              <a:t>K2</a:t>
            </a:r>
          </a:p>
        </p:txBody>
      </p:sp>
      <p:cxnSp>
        <p:nvCxnSpPr>
          <p:cNvPr id="20" name="Straight Arrow Connector 19"/>
          <p:cNvCxnSpPr>
            <a:stCxn id="7" idx="2"/>
            <a:endCxn id="14" idx="0"/>
          </p:cNvCxnSpPr>
          <p:nvPr/>
        </p:nvCxnSpPr>
        <p:spPr>
          <a:xfrm>
            <a:off x="7201797" y="3929622"/>
            <a:ext cx="1" cy="487566"/>
          </a:xfrm>
          <a:prstGeom prst="straightConnector1">
            <a:avLst/>
          </a:prstGeom>
          <a:solidFill>
            <a:schemeClr val="tx1">
              <a:lumMod val="75000"/>
              <a:lumOff val="25000"/>
            </a:schemeClr>
          </a:solidFill>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14" idx="2"/>
            <a:endCxn id="17" idx="0"/>
          </p:cNvCxnSpPr>
          <p:nvPr/>
        </p:nvCxnSpPr>
        <p:spPr>
          <a:xfrm flipH="1">
            <a:off x="7201797" y="5237805"/>
            <a:ext cx="1" cy="481511"/>
          </a:xfrm>
          <a:prstGeom prst="straightConnector1">
            <a:avLst/>
          </a:prstGeom>
          <a:solidFill>
            <a:schemeClr val="tx1">
              <a:lumMod val="75000"/>
              <a:lumOff val="25000"/>
            </a:schemeClr>
          </a:solidFill>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stCxn id="15" idx="2"/>
            <a:endCxn id="18" idx="0"/>
          </p:cNvCxnSpPr>
          <p:nvPr/>
        </p:nvCxnSpPr>
        <p:spPr>
          <a:xfrm flipH="1">
            <a:off x="9142999" y="5237805"/>
            <a:ext cx="1" cy="472019"/>
          </a:xfrm>
          <a:prstGeom prst="straightConnector1">
            <a:avLst/>
          </a:prstGeom>
          <a:solidFill>
            <a:schemeClr val="tx1">
              <a:lumMod val="75000"/>
              <a:lumOff val="25000"/>
            </a:schemeClr>
          </a:solidFill>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16" idx="2"/>
            <a:endCxn id="19" idx="0"/>
          </p:cNvCxnSpPr>
          <p:nvPr/>
        </p:nvCxnSpPr>
        <p:spPr>
          <a:xfrm flipH="1">
            <a:off x="11084199" y="5225932"/>
            <a:ext cx="1" cy="474400"/>
          </a:xfrm>
          <a:prstGeom prst="straightConnector1">
            <a:avLst/>
          </a:prstGeom>
          <a:solidFill>
            <a:schemeClr val="tx1">
              <a:lumMod val="75000"/>
              <a:lumOff val="25000"/>
            </a:schemeClr>
          </a:solidFill>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9" idx="2"/>
            <a:endCxn id="16" idx="0"/>
          </p:cNvCxnSpPr>
          <p:nvPr/>
        </p:nvCxnSpPr>
        <p:spPr>
          <a:xfrm>
            <a:off x="11084199" y="3927009"/>
            <a:ext cx="1" cy="478306"/>
          </a:xfrm>
          <a:prstGeom prst="straightConnector1">
            <a:avLst/>
          </a:prstGeom>
          <a:solidFill>
            <a:schemeClr val="tx1">
              <a:lumMod val="75000"/>
              <a:lumOff val="25000"/>
            </a:schemeClr>
          </a:solidFill>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8" idx="2"/>
            <a:endCxn id="15" idx="0"/>
          </p:cNvCxnSpPr>
          <p:nvPr/>
        </p:nvCxnSpPr>
        <p:spPr>
          <a:xfrm>
            <a:off x="9142999" y="3927009"/>
            <a:ext cx="1" cy="490179"/>
          </a:xfrm>
          <a:prstGeom prst="straightConnector1">
            <a:avLst/>
          </a:prstGeom>
          <a:solidFill>
            <a:schemeClr val="tx1">
              <a:lumMod val="75000"/>
              <a:lumOff val="25000"/>
            </a:schemeClr>
          </a:solidFill>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6" name="Group 4"/>
          <p:cNvGrpSpPr>
            <a:grpSpLocks noChangeAspect="1"/>
          </p:cNvGrpSpPr>
          <p:nvPr/>
        </p:nvGrpSpPr>
        <p:grpSpPr bwMode="auto">
          <a:xfrm>
            <a:off x="1259639" y="2289495"/>
            <a:ext cx="1240967" cy="1246435"/>
            <a:chOff x="522" y="2880"/>
            <a:chExt cx="908" cy="912"/>
          </a:xfrm>
          <a:solidFill>
            <a:schemeClr val="tx1"/>
          </a:solidFill>
        </p:grpSpPr>
        <p:sp>
          <p:nvSpPr>
            <p:cNvPr id="27" name="Freeform 5"/>
            <p:cNvSpPr>
              <a:spLocks noEditPoints="1"/>
            </p:cNvSpPr>
            <p:nvPr/>
          </p:nvSpPr>
          <p:spPr bwMode="auto">
            <a:xfrm>
              <a:off x="522" y="2880"/>
              <a:ext cx="668" cy="669"/>
            </a:xfrm>
            <a:custGeom>
              <a:avLst/>
              <a:gdLst>
                <a:gd name="T0" fmla="*/ 223 w 332"/>
                <a:gd name="T1" fmla="*/ 0 h 332"/>
                <a:gd name="T2" fmla="*/ 172 w 332"/>
                <a:gd name="T3" fmla="*/ 4 h 332"/>
                <a:gd name="T4" fmla="*/ 118 w 332"/>
                <a:gd name="T5" fmla="*/ 60 h 332"/>
                <a:gd name="T6" fmla="*/ 118 w 332"/>
                <a:gd name="T7" fmla="*/ 101 h 332"/>
                <a:gd name="T8" fmla="*/ 225 w 332"/>
                <a:gd name="T9" fmla="*/ 101 h 332"/>
                <a:gd name="T10" fmla="*/ 225 w 332"/>
                <a:gd name="T11" fmla="*/ 114 h 332"/>
                <a:gd name="T12" fmla="*/ 118 w 332"/>
                <a:gd name="T13" fmla="*/ 114 h 332"/>
                <a:gd name="T14" fmla="*/ 78 w 332"/>
                <a:gd name="T15" fmla="*/ 114 h 332"/>
                <a:gd name="T16" fmla="*/ 11 w 332"/>
                <a:gd name="T17" fmla="*/ 169 h 332"/>
                <a:gd name="T18" fmla="*/ 11 w 332"/>
                <a:gd name="T19" fmla="*/ 278 h 332"/>
                <a:gd name="T20" fmla="*/ 68 w 332"/>
                <a:gd name="T21" fmla="*/ 332 h 332"/>
                <a:gd name="T22" fmla="*/ 105 w 332"/>
                <a:gd name="T23" fmla="*/ 332 h 332"/>
                <a:gd name="T24" fmla="*/ 105 w 332"/>
                <a:gd name="T25" fmla="*/ 283 h 332"/>
                <a:gd name="T26" fmla="*/ 172 w 332"/>
                <a:gd name="T27" fmla="*/ 216 h 332"/>
                <a:gd name="T28" fmla="*/ 279 w 332"/>
                <a:gd name="T29" fmla="*/ 216 h 332"/>
                <a:gd name="T30" fmla="*/ 332 w 332"/>
                <a:gd name="T31" fmla="*/ 162 h 332"/>
                <a:gd name="T32" fmla="*/ 332 w 332"/>
                <a:gd name="T33" fmla="*/ 60 h 332"/>
                <a:gd name="T34" fmla="*/ 279 w 332"/>
                <a:gd name="T35" fmla="*/ 4 h 332"/>
                <a:gd name="T36" fmla="*/ 223 w 332"/>
                <a:gd name="T37" fmla="*/ 0 h 332"/>
                <a:gd name="T38" fmla="*/ 165 w 332"/>
                <a:gd name="T39" fmla="*/ 33 h 332"/>
                <a:gd name="T40" fmla="*/ 185 w 332"/>
                <a:gd name="T41" fmla="*/ 53 h 332"/>
                <a:gd name="T42" fmla="*/ 165 w 332"/>
                <a:gd name="T43" fmla="*/ 73 h 332"/>
                <a:gd name="T44" fmla="*/ 145 w 332"/>
                <a:gd name="T45" fmla="*/ 53 h 332"/>
                <a:gd name="T46" fmla="*/ 165 w 332"/>
                <a:gd name="T47" fmla="*/ 3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32">
                  <a:moveTo>
                    <a:pt x="223" y="0"/>
                  </a:moveTo>
                  <a:cubicBezTo>
                    <a:pt x="205" y="0"/>
                    <a:pt x="187" y="1"/>
                    <a:pt x="172" y="4"/>
                  </a:cubicBezTo>
                  <a:cubicBezTo>
                    <a:pt x="126" y="12"/>
                    <a:pt x="118" y="29"/>
                    <a:pt x="118" y="60"/>
                  </a:cubicBezTo>
                  <a:cubicBezTo>
                    <a:pt x="118" y="101"/>
                    <a:pt x="118" y="101"/>
                    <a:pt x="118" y="101"/>
                  </a:cubicBezTo>
                  <a:cubicBezTo>
                    <a:pt x="225" y="101"/>
                    <a:pt x="225" y="101"/>
                    <a:pt x="225" y="101"/>
                  </a:cubicBezTo>
                  <a:cubicBezTo>
                    <a:pt x="225" y="114"/>
                    <a:pt x="225" y="114"/>
                    <a:pt x="225" y="114"/>
                  </a:cubicBezTo>
                  <a:cubicBezTo>
                    <a:pt x="118" y="114"/>
                    <a:pt x="118" y="114"/>
                    <a:pt x="118" y="114"/>
                  </a:cubicBezTo>
                  <a:cubicBezTo>
                    <a:pt x="78" y="114"/>
                    <a:pt x="78" y="114"/>
                    <a:pt x="78" y="114"/>
                  </a:cubicBezTo>
                  <a:cubicBezTo>
                    <a:pt x="47" y="114"/>
                    <a:pt x="19" y="133"/>
                    <a:pt x="11" y="169"/>
                  </a:cubicBezTo>
                  <a:cubicBezTo>
                    <a:pt x="1" y="210"/>
                    <a:pt x="0" y="235"/>
                    <a:pt x="11" y="278"/>
                  </a:cubicBezTo>
                  <a:cubicBezTo>
                    <a:pt x="18" y="309"/>
                    <a:pt x="37" y="332"/>
                    <a:pt x="68" y="332"/>
                  </a:cubicBezTo>
                  <a:cubicBezTo>
                    <a:pt x="105" y="332"/>
                    <a:pt x="105" y="332"/>
                    <a:pt x="105" y="332"/>
                  </a:cubicBezTo>
                  <a:cubicBezTo>
                    <a:pt x="105" y="283"/>
                    <a:pt x="105" y="283"/>
                    <a:pt x="105" y="283"/>
                  </a:cubicBezTo>
                  <a:cubicBezTo>
                    <a:pt x="105" y="248"/>
                    <a:pt x="135" y="216"/>
                    <a:pt x="172" y="216"/>
                  </a:cubicBezTo>
                  <a:cubicBezTo>
                    <a:pt x="279" y="216"/>
                    <a:pt x="279" y="216"/>
                    <a:pt x="279" y="216"/>
                  </a:cubicBezTo>
                  <a:cubicBezTo>
                    <a:pt x="309" y="216"/>
                    <a:pt x="332" y="192"/>
                    <a:pt x="332" y="162"/>
                  </a:cubicBezTo>
                  <a:cubicBezTo>
                    <a:pt x="332" y="60"/>
                    <a:pt x="332" y="60"/>
                    <a:pt x="332" y="60"/>
                  </a:cubicBezTo>
                  <a:cubicBezTo>
                    <a:pt x="332" y="31"/>
                    <a:pt x="308" y="9"/>
                    <a:pt x="279" y="4"/>
                  </a:cubicBezTo>
                  <a:cubicBezTo>
                    <a:pt x="260" y="1"/>
                    <a:pt x="241" y="0"/>
                    <a:pt x="223" y="0"/>
                  </a:cubicBezTo>
                  <a:close/>
                  <a:moveTo>
                    <a:pt x="165" y="33"/>
                  </a:moveTo>
                  <a:cubicBezTo>
                    <a:pt x="176" y="33"/>
                    <a:pt x="185" y="42"/>
                    <a:pt x="185" y="53"/>
                  </a:cubicBezTo>
                  <a:cubicBezTo>
                    <a:pt x="185" y="64"/>
                    <a:pt x="176" y="73"/>
                    <a:pt x="165" y="73"/>
                  </a:cubicBezTo>
                  <a:cubicBezTo>
                    <a:pt x="154" y="73"/>
                    <a:pt x="145" y="64"/>
                    <a:pt x="145" y="53"/>
                  </a:cubicBezTo>
                  <a:cubicBezTo>
                    <a:pt x="145" y="42"/>
                    <a:pt x="154" y="33"/>
                    <a:pt x="165" y="33"/>
                  </a:cubicBezTo>
                  <a:close/>
                </a:path>
              </a:pathLst>
            </a:custGeom>
            <a:solidFill>
              <a:srgbClr val="307C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28" name="Freeform 6"/>
            <p:cNvSpPr>
              <a:spLocks noEditPoints="1"/>
            </p:cNvSpPr>
            <p:nvPr/>
          </p:nvSpPr>
          <p:spPr bwMode="auto">
            <a:xfrm>
              <a:off x="760" y="3110"/>
              <a:ext cx="670" cy="682"/>
            </a:xfrm>
            <a:custGeom>
              <a:avLst/>
              <a:gdLst>
                <a:gd name="T0" fmla="*/ 228 w 333"/>
                <a:gd name="T1" fmla="*/ 0 h 339"/>
                <a:gd name="T2" fmla="*/ 228 w 333"/>
                <a:gd name="T3" fmla="*/ 48 h 339"/>
                <a:gd name="T4" fmla="*/ 161 w 333"/>
                <a:gd name="T5" fmla="*/ 116 h 339"/>
                <a:gd name="T6" fmla="*/ 54 w 333"/>
                <a:gd name="T7" fmla="*/ 116 h 339"/>
                <a:gd name="T8" fmla="*/ 0 w 333"/>
                <a:gd name="T9" fmla="*/ 170 h 339"/>
                <a:gd name="T10" fmla="*/ 0 w 333"/>
                <a:gd name="T11" fmla="*/ 273 h 339"/>
                <a:gd name="T12" fmla="*/ 54 w 333"/>
                <a:gd name="T13" fmla="*/ 327 h 339"/>
                <a:gd name="T14" fmla="*/ 161 w 333"/>
                <a:gd name="T15" fmla="*/ 327 h 339"/>
                <a:gd name="T16" fmla="*/ 214 w 333"/>
                <a:gd name="T17" fmla="*/ 273 h 339"/>
                <a:gd name="T18" fmla="*/ 214 w 333"/>
                <a:gd name="T19" fmla="*/ 232 h 339"/>
                <a:gd name="T20" fmla="*/ 107 w 333"/>
                <a:gd name="T21" fmla="*/ 232 h 339"/>
                <a:gd name="T22" fmla="*/ 107 w 333"/>
                <a:gd name="T23" fmla="*/ 218 h 339"/>
                <a:gd name="T24" fmla="*/ 214 w 333"/>
                <a:gd name="T25" fmla="*/ 218 h 339"/>
                <a:gd name="T26" fmla="*/ 268 w 333"/>
                <a:gd name="T27" fmla="*/ 218 h 339"/>
                <a:gd name="T28" fmla="*/ 322 w 333"/>
                <a:gd name="T29" fmla="*/ 164 h 339"/>
                <a:gd name="T30" fmla="*/ 322 w 333"/>
                <a:gd name="T31" fmla="*/ 55 h 339"/>
                <a:gd name="T32" fmla="*/ 268 w 333"/>
                <a:gd name="T33" fmla="*/ 0 h 339"/>
                <a:gd name="T34" fmla="*/ 228 w 333"/>
                <a:gd name="T35" fmla="*/ 0 h 339"/>
                <a:gd name="T36" fmla="*/ 167 w 333"/>
                <a:gd name="T37" fmla="*/ 259 h 339"/>
                <a:gd name="T38" fmla="*/ 188 w 333"/>
                <a:gd name="T39" fmla="*/ 279 h 339"/>
                <a:gd name="T40" fmla="*/ 167 w 333"/>
                <a:gd name="T41" fmla="*/ 300 h 339"/>
                <a:gd name="T42" fmla="*/ 147 w 333"/>
                <a:gd name="T43" fmla="*/ 279 h 339"/>
                <a:gd name="T44" fmla="*/ 167 w 333"/>
                <a:gd name="T45" fmla="*/ 25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3" h="339">
                  <a:moveTo>
                    <a:pt x="228" y="0"/>
                  </a:moveTo>
                  <a:cubicBezTo>
                    <a:pt x="228" y="48"/>
                    <a:pt x="228" y="48"/>
                    <a:pt x="228" y="48"/>
                  </a:cubicBezTo>
                  <a:cubicBezTo>
                    <a:pt x="228" y="85"/>
                    <a:pt x="196" y="116"/>
                    <a:pt x="161" y="116"/>
                  </a:cubicBezTo>
                  <a:cubicBezTo>
                    <a:pt x="54" y="116"/>
                    <a:pt x="54" y="116"/>
                    <a:pt x="54" y="116"/>
                  </a:cubicBezTo>
                  <a:cubicBezTo>
                    <a:pt x="24" y="116"/>
                    <a:pt x="0" y="141"/>
                    <a:pt x="0" y="170"/>
                  </a:cubicBezTo>
                  <a:cubicBezTo>
                    <a:pt x="0" y="273"/>
                    <a:pt x="0" y="273"/>
                    <a:pt x="0" y="273"/>
                  </a:cubicBezTo>
                  <a:cubicBezTo>
                    <a:pt x="0" y="302"/>
                    <a:pt x="25" y="319"/>
                    <a:pt x="54" y="327"/>
                  </a:cubicBezTo>
                  <a:cubicBezTo>
                    <a:pt x="88" y="337"/>
                    <a:pt x="120" y="339"/>
                    <a:pt x="161" y="327"/>
                  </a:cubicBezTo>
                  <a:cubicBezTo>
                    <a:pt x="188" y="319"/>
                    <a:pt x="214" y="304"/>
                    <a:pt x="214" y="273"/>
                  </a:cubicBezTo>
                  <a:cubicBezTo>
                    <a:pt x="214" y="232"/>
                    <a:pt x="214" y="232"/>
                    <a:pt x="214" y="232"/>
                  </a:cubicBezTo>
                  <a:cubicBezTo>
                    <a:pt x="107" y="232"/>
                    <a:pt x="107" y="232"/>
                    <a:pt x="107" y="232"/>
                  </a:cubicBezTo>
                  <a:cubicBezTo>
                    <a:pt x="107" y="218"/>
                    <a:pt x="107" y="218"/>
                    <a:pt x="107" y="218"/>
                  </a:cubicBezTo>
                  <a:cubicBezTo>
                    <a:pt x="214" y="218"/>
                    <a:pt x="214" y="218"/>
                    <a:pt x="214" y="218"/>
                  </a:cubicBezTo>
                  <a:cubicBezTo>
                    <a:pt x="268" y="218"/>
                    <a:pt x="268" y="218"/>
                    <a:pt x="268" y="218"/>
                  </a:cubicBezTo>
                  <a:cubicBezTo>
                    <a:pt x="299" y="218"/>
                    <a:pt x="311" y="196"/>
                    <a:pt x="322" y="164"/>
                  </a:cubicBezTo>
                  <a:cubicBezTo>
                    <a:pt x="333" y="130"/>
                    <a:pt x="332" y="98"/>
                    <a:pt x="322" y="55"/>
                  </a:cubicBezTo>
                  <a:cubicBezTo>
                    <a:pt x="314" y="24"/>
                    <a:pt x="299" y="0"/>
                    <a:pt x="268" y="0"/>
                  </a:cubicBezTo>
                  <a:lnTo>
                    <a:pt x="228" y="0"/>
                  </a:lnTo>
                  <a:close/>
                  <a:moveTo>
                    <a:pt x="167" y="259"/>
                  </a:moveTo>
                  <a:cubicBezTo>
                    <a:pt x="179" y="259"/>
                    <a:pt x="188" y="268"/>
                    <a:pt x="188" y="279"/>
                  </a:cubicBezTo>
                  <a:cubicBezTo>
                    <a:pt x="188" y="291"/>
                    <a:pt x="179" y="300"/>
                    <a:pt x="167" y="300"/>
                  </a:cubicBezTo>
                  <a:cubicBezTo>
                    <a:pt x="156" y="300"/>
                    <a:pt x="147" y="291"/>
                    <a:pt x="147" y="279"/>
                  </a:cubicBezTo>
                  <a:cubicBezTo>
                    <a:pt x="147" y="268"/>
                    <a:pt x="156" y="259"/>
                    <a:pt x="167" y="259"/>
                  </a:cubicBezTo>
                  <a:close/>
                </a:path>
              </a:pathLst>
            </a:custGeom>
            <a:solidFill>
              <a:srgbClr val="FECC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29" name="Group 28"/>
          <p:cNvGrpSpPr/>
          <p:nvPr/>
        </p:nvGrpSpPr>
        <p:grpSpPr>
          <a:xfrm>
            <a:off x="2979832" y="2359313"/>
            <a:ext cx="1438084" cy="1106798"/>
            <a:chOff x="3724275" y="3594100"/>
            <a:chExt cx="1212850" cy="933450"/>
          </a:xfrm>
        </p:grpSpPr>
        <p:sp>
          <p:nvSpPr>
            <p:cNvPr id="30" name="Freeform 5"/>
            <p:cNvSpPr>
              <a:spLocks noEditPoints="1"/>
            </p:cNvSpPr>
            <p:nvPr/>
          </p:nvSpPr>
          <p:spPr bwMode="auto">
            <a:xfrm>
              <a:off x="3724275" y="3594100"/>
              <a:ext cx="1212850" cy="811213"/>
            </a:xfrm>
            <a:custGeom>
              <a:avLst/>
              <a:gdLst>
                <a:gd name="T0" fmla="*/ 971 w 2292"/>
                <a:gd name="T1" fmla="*/ 1525 h 1534"/>
                <a:gd name="T2" fmla="*/ 751 w 2292"/>
                <a:gd name="T3" fmla="*/ 1487 h 1534"/>
                <a:gd name="T4" fmla="*/ 552 w 2292"/>
                <a:gd name="T5" fmla="*/ 1422 h 1534"/>
                <a:gd name="T6" fmla="*/ 376 w 2292"/>
                <a:gd name="T7" fmla="*/ 1334 h 1534"/>
                <a:gd name="T8" fmla="*/ 228 w 2292"/>
                <a:gd name="T9" fmla="*/ 1225 h 1534"/>
                <a:gd name="T10" fmla="*/ 113 w 2292"/>
                <a:gd name="T11" fmla="*/ 1099 h 1534"/>
                <a:gd name="T12" fmla="*/ 36 w 2292"/>
                <a:gd name="T13" fmla="*/ 958 h 1534"/>
                <a:gd name="T14" fmla="*/ 1 w 2292"/>
                <a:gd name="T15" fmla="*/ 807 h 1534"/>
                <a:gd name="T16" fmla="*/ 13 w 2292"/>
                <a:gd name="T17" fmla="*/ 650 h 1534"/>
                <a:gd name="T18" fmla="*/ 69 w 2292"/>
                <a:gd name="T19" fmla="*/ 503 h 1534"/>
                <a:gd name="T20" fmla="*/ 166 w 2292"/>
                <a:gd name="T21" fmla="*/ 370 h 1534"/>
                <a:gd name="T22" fmla="*/ 298 w 2292"/>
                <a:gd name="T23" fmla="*/ 252 h 1534"/>
                <a:gd name="T24" fmla="*/ 460 w 2292"/>
                <a:gd name="T25" fmla="*/ 152 h 1534"/>
                <a:gd name="T26" fmla="*/ 649 w 2292"/>
                <a:gd name="T27" fmla="*/ 75 h 1534"/>
                <a:gd name="T28" fmla="*/ 859 w 2292"/>
                <a:gd name="T29" fmla="*/ 24 h 1534"/>
                <a:gd name="T30" fmla="*/ 1087 w 2292"/>
                <a:gd name="T31" fmla="*/ 0 h 1534"/>
                <a:gd name="T32" fmla="*/ 1320 w 2292"/>
                <a:gd name="T33" fmla="*/ 9 h 1534"/>
                <a:gd name="T34" fmla="*/ 1540 w 2292"/>
                <a:gd name="T35" fmla="*/ 47 h 1534"/>
                <a:gd name="T36" fmla="*/ 1740 w 2292"/>
                <a:gd name="T37" fmla="*/ 110 h 1534"/>
                <a:gd name="T38" fmla="*/ 1917 w 2292"/>
                <a:gd name="T39" fmla="*/ 199 h 1534"/>
                <a:gd name="T40" fmla="*/ 2064 w 2292"/>
                <a:gd name="T41" fmla="*/ 307 h 1534"/>
                <a:gd name="T42" fmla="*/ 2178 w 2292"/>
                <a:gd name="T43" fmla="*/ 434 h 1534"/>
                <a:gd name="T44" fmla="*/ 2256 w 2292"/>
                <a:gd name="T45" fmla="*/ 574 h 1534"/>
                <a:gd name="T46" fmla="*/ 2290 w 2292"/>
                <a:gd name="T47" fmla="*/ 727 h 1534"/>
                <a:gd name="T48" fmla="*/ 2278 w 2292"/>
                <a:gd name="T49" fmla="*/ 883 h 1534"/>
                <a:gd name="T50" fmla="*/ 2222 w 2292"/>
                <a:gd name="T51" fmla="*/ 1031 h 1534"/>
                <a:gd name="T52" fmla="*/ 2125 w 2292"/>
                <a:gd name="T53" fmla="*/ 1164 h 1534"/>
                <a:gd name="T54" fmla="*/ 1994 w 2292"/>
                <a:gd name="T55" fmla="*/ 1282 h 1534"/>
                <a:gd name="T56" fmla="*/ 1831 w 2292"/>
                <a:gd name="T57" fmla="*/ 1381 h 1534"/>
                <a:gd name="T58" fmla="*/ 1642 w 2292"/>
                <a:gd name="T59" fmla="*/ 1457 h 1534"/>
                <a:gd name="T60" fmla="*/ 1432 w 2292"/>
                <a:gd name="T61" fmla="*/ 1509 h 1534"/>
                <a:gd name="T62" fmla="*/ 1204 w 2292"/>
                <a:gd name="T63" fmla="*/ 1532 h 1534"/>
                <a:gd name="T64" fmla="*/ 1276 w 2292"/>
                <a:gd name="T65" fmla="*/ 301 h 1534"/>
                <a:gd name="T66" fmla="*/ 1062 w 2292"/>
                <a:gd name="T67" fmla="*/ 323 h 1534"/>
                <a:gd name="T68" fmla="*/ 800 w 2292"/>
                <a:gd name="T69" fmla="*/ 403 h 1534"/>
                <a:gd name="T70" fmla="*/ 676 w 2292"/>
                <a:gd name="T71" fmla="*/ 472 h 1534"/>
                <a:gd name="T72" fmla="*/ 576 w 2292"/>
                <a:gd name="T73" fmla="*/ 552 h 1534"/>
                <a:gd name="T74" fmla="*/ 503 w 2292"/>
                <a:gd name="T75" fmla="*/ 643 h 1534"/>
                <a:gd name="T76" fmla="*/ 460 w 2292"/>
                <a:gd name="T77" fmla="*/ 744 h 1534"/>
                <a:gd name="T78" fmla="*/ 451 w 2292"/>
                <a:gd name="T79" fmla="*/ 851 h 1534"/>
                <a:gd name="T80" fmla="*/ 478 w 2292"/>
                <a:gd name="T81" fmla="*/ 954 h 1534"/>
                <a:gd name="T82" fmla="*/ 536 w 2292"/>
                <a:gd name="T83" fmla="*/ 1052 h 1534"/>
                <a:gd name="T84" fmla="*/ 623 w 2292"/>
                <a:gd name="T85" fmla="*/ 1137 h 1534"/>
                <a:gd name="T86" fmla="*/ 736 w 2292"/>
                <a:gd name="T87" fmla="*/ 1212 h 1534"/>
                <a:gd name="T88" fmla="*/ 905 w 2292"/>
                <a:gd name="T89" fmla="*/ 1285 h 1534"/>
                <a:gd name="T90" fmla="*/ 1189 w 2292"/>
                <a:gd name="T91" fmla="*/ 1342 h 1534"/>
                <a:gd name="T92" fmla="*/ 1410 w 2292"/>
                <a:gd name="T93" fmla="*/ 1346 h 1534"/>
                <a:gd name="T94" fmla="*/ 1728 w 2292"/>
                <a:gd name="T95" fmla="*/ 1300 h 1534"/>
                <a:gd name="T96" fmla="*/ 1891 w 2292"/>
                <a:gd name="T97" fmla="*/ 1238 h 1534"/>
                <a:gd name="T98" fmla="*/ 1997 w 2292"/>
                <a:gd name="T99" fmla="*/ 1169 h 1534"/>
                <a:gd name="T100" fmla="*/ 2078 w 2292"/>
                <a:gd name="T101" fmla="*/ 1084 h 1534"/>
                <a:gd name="T102" fmla="*/ 2132 w 2292"/>
                <a:gd name="T103" fmla="*/ 980 h 1534"/>
                <a:gd name="T104" fmla="*/ 2156 w 2292"/>
                <a:gd name="T105" fmla="*/ 857 h 1534"/>
                <a:gd name="T106" fmla="*/ 2148 w 2292"/>
                <a:gd name="T107" fmla="*/ 727 h 1534"/>
                <a:gd name="T108" fmla="*/ 2108 w 2292"/>
                <a:gd name="T109" fmla="*/ 613 h 1534"/>
                <a:gd name="T110" fmla="*/ 2041 w 2292"/>
                <a:gd name="T111" fmla="*/ 519 h 1534"/>
                <a:gd name="T112" fmla="*/ 1946 w 2292"/>
                <a:gd name="T113" fmla="*/ 442 h 1534"/>
                <a:gd name="T114" fmla="*/ 1830 w 2292"/>
                <a:gd name="T115" fmla="*/ 383 h 1534"/>
                <a:gd name="T116" fmla="*/ 1577 w 2292"/>
                <a:gd name="T117" fmla="*/ 316 h 1534"/>
                <a:gd name="T118" fmla="*/ 1321 w 2292"/>
                <a:gd name="T119" fmla="*/ 300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92" h="1534">
                  <a:moveTo>
                    <a:pt x="1146" y="1534"/>
                  </a:moveTo>
                  <a:lnTo>
                    <a:pt x="1087" y="1532"/>
                  </a:lnTo>
                  <a:lnTo>
                    <a:pt x="1028" y="1530"/>
                  </a:lnTo>
                  <a:lnTo>
                    <a:pt x="971" y="1525"/>
                  </a:lnTo>
                  <a:lnTo>
                    <a:pt x="914" y="1518"/>
                  </a:lnTo>
                  <a:lnTo>
                    <a:pt x="859" y="1509"/>
                  </a:lnTo>
                  <a:lnTo>
                    <a:pt x="804" y="1499"/>
                  </a:lnTo>
                  <a:lnTo>
                    <a:pt x="751" y="1487"/>
                  </a:lnTo>
                  <a:lnTo>
                    <a:pt x="699" y="1473"/>
                  </a:lnTo>
                  <a:lnTo>
                    <a:pt x="649" y="1457"/>
                  </a:lnTo>
                  <a:lnTo>
                    <a:pt x="600" y="1440"/>
                  </a:lnTo>
                  <a:lnTo>
                    <a:pt x="552" y="1422"/>
                  </a:lnTo>
                  <a:lnTo>
                    <a:pt x="505" y="1403"/>
                  </a:lnTo>
                  <a:lnTo>
                    <a:pt x="460" y="1381"/>
                  </a:lnTo>
                  <a:lnTo>
                    <a:pt x="417" y="1359"/>
                  </a:lnTo>
                  <a:lnTo>
                    <a:pt x="376" y="1334"/>
                  </a:lnTo>
                  <a:lnTo>
                    <a:pt x="336" y="1309"/>
                  </a:lnTo>
                  <a:lnTo>
                    <a:pt x="298" y="1282"/>
                  </a:lnTo>
                  <a:lnTo>
                    <a:pt x="262" y="1255"/>
                  </a:lnTo>
                  <a:lnTo>
                    <a:pt x="228" y="1225"/>
                  </a:lnTo>
                  <a:lnTo>
                    <a:pt x="196" y="1195"/>
                  </a:lnTo>
                  <a:lnTo>
                    <a:pt x="166" y="1164"/>
                  </a:lnTo>
                  <a:lnTo>
                    <a:pt x="139" y="1132"/>
                  </a:lnTo>
                  <a:lnTo>
                    <a:pt x="113" y="1099"/>
                  </a:lnTo>
                  <a:lnTo>
                    <a:pt x="90" y="1066"/>
                  </a:lnTo>
                  <a:lnTo>
                    <a:pt x="69" y="1031"/>
                  </a:lnTo>
                  <a:lnTo>
                    <a:pt x="52" y="994"/>
                  </a:lnTo>
                  <a:lnTo>
                    <a:pt x="36" y="958"/>
                  </a:lnTo>
                  <a:lnTo>
                    <a:pt x="23" y="921"/>
                  </a:lnTo>
                  <a:lnTo>
                    <a:pt x="13" y="883"/>
                  </a:lnTo>
                  <a:lnTo>
                    <a:pt x="5" y="845"/>
                  </a:lnTo>
                  <a:lnTo>
                    <a:pt x="1" y="807"/>
                  </a:lnTo>
                  <a:lnTo>
                    <a:pt x="0" y="766"/>
                  </a:lnTo>
                  <a:lnTo>
                    <a:pt x="1" y="727"/>
                  </a:lnTo>
                  <a:lnTo>
                    <a:pt x="5" y="689"/>
                  </a:lnTo>
                  <a:lnTo>
                    <a:pt x="13" y="650"/>
                  </a:lnTo>
                  <a:lnTo>
                    <a:pt x="23" y="612"/>
                  </a:lnTo>
                  <a:lnTo>
                    <a:pt x="36" y="574"/>
                  </a:lnTo>
                  <a:lnTo>
                    <a:pt x="52" y="538"/>
                  </a:lnTo>
                  <a:lnTo>
                    <a:pt x="69" y="503"/>
                  </a:lnTo>
                  <a:lnTo>
                    <a:pt x="90" y="468"/>
                  </a:lnTo>
                  <a:lnTo>
                    <a:pt x="113" y="434"/>
                  </a:lnTo>
                  <a:lnTo>
                    <a:pt x="139" y="401"/>
                  </a:lnTo>
                  <a:lnTo>
                    <a:pt x="166" y="370"/>
                  </a:lnTo>
                  <a:lnTo>
                    <a:pt x="196" y="339"/>
                  </a:lnTo>
                  <a:lnTo>
                    <a:pt x="228" y="307"/>
                  </a:lnTo>
                  <a:lnTo>
                    <a:pt x="262" y="279"/>
                  </a:lnTo>
                  <a:lnTo>
                    <a:pt x="298" y="252"/>
                  </a:lnTo>
                  <a:lnTo>
                    <a:pt x="336" y="224"/>
                  </a:lnTo>
                  <a:lnTo>
                    <a:pt x="376" y="199"/>
                  </a:lnTo>
                  <a:lnTo>
                    <a:pt x="417" y="175"/>
                  </a:lnTo>
                  <a:lnTo>
                    <a:pt x="460" y="152"/>
                  </a:lnTo>
                  <a:lnTo>
                    <a:pt x="505" y="131"/>
                  </a:lnTo>
                  <a:lnTo>
                    <a:pt x="552" y="110"/>
                  </a:lnTo>
                  <a:lnTo>
                    <a:pt x="600" y="92"/>
                  </a:lnTo>
                  <a:lnTo>
                    <a:pt x="649" y="75"/>
                  </a:lnTo>
                  <a:lnTo>
                    <a:pt x="699" y="60"/>
                  </a:lnTo>
                  <a:lnTo>
                    <a:pt x="751" y="47"/>
                  </a:lnTo>
                  <a:lnTo>
                    <a:pt x="804" y="34"/>
                  </a:lnTo>
                  <a:lnTo>
                    <a:pt x="859" y="24"/>
                  </a:lnTo>
                  <a:lnTo>
                    <a:pt x="914" y="16"/>
                  </a:lnTo>
                  <a:lnTo>
                    <a:pt x="971" y="9"/>
                  </a:lnTo>
                  <a:lnTo>
                    <a:pt x="1028" y="4"/>
                  </a:lnTo>
                  <a:lnTo>
                    <a:pt x="1087" y="0"/>
                  </a:lnTo>
                  <a:lnTo>
                    <a:pt x="1146" y="0"/>
                  </a:lnTo>
                  <a:lnTo>
                    <a:pt x="1204" y="0"/>
                  </a:lnTo>
                  <a:lnTo>
                    <a:pt x="1263" y="4"/>
                  </a:lnTo>
                  <a:lnTo>
                    <a:pt x="1320" y="9"/>
                  </a:lnTo>
                  <a:lnTo>
                    <a:pt x="1377" y="16"/>
                  </a:lnTo>
                  <a:lnTo>
                    <a:pt x="1432" y="24"/>
                  </a:lnTo>
                  <a:lnTo>
                    <a:pt x="1487" y="34"/>
                  </a:lnTo>
                  <a:lnTo>
                    <a:pt x="1540" y="47"/>
                  </a:lnTo>
                  <a:lnTo>
                    <a:pt x="1592" y="60"/>
                  </a:lnTo>
                  <a:lnTo>
                    <a:pt x="1642" y="75"/>
                  </a:lnTo>
                  <a:lnTo>
                    <a:pt x="1691" y="92"/>
                  </a:lnTo>
                  <a:lnTo>
                    <a:pt x="1740" y="110"/>
                  </a:lnTo>
                  <a:lnTo>
                    <a:pt x="1786" y="131"/>
                  </a:lnTo>
                  <a:lnTo>
                    <a:pt x="1831" y="152"/>
                  </a:lnTo>
                  <a:lnTo>
                    <a:pt x="1875" y="175"/>
                  </a:lnTo>
                  <a:lnTo>
                    <a:pt x="1917" y="199"/>
                  </a:lnTo>
                  <a:lnTo>
                    <a:pt x="1955" y="224"/>
                  </a:lnTo>
                  <a:lnTo>
                    <a:pt x="1994" y="252"/>
                  </a:lnTo>
                  <a:lnTo>
                    <a:pt x="2031" y="279"/>
                  </a:lnTo>
                  <a:lnTo>
                    <a:pt x="2064" y="307"/>
                  </a:lnTo>
                  <a:lnTo>
                    <a:pt x="2095" y="339"/>
                  </a:lnTo>
                  <a:lnTo>
                    <a:pt x="2125" y="370"/>
                  </a:lnTo>
                  <a:lnTo>
                    <a:pt x="2154" y="401"/>
                  </a:lnTo>
                  <a:lnTo>
                    <a:pt x="2178" y="434"/>
                  </a:lnTo>
                  <a:lnTo>
                    <a:pt x="2201" y="468"/>
                  </a:lnTo>
                  <a:lnTo>
                    <a:pt x="2222" y="503"/>
                  </a:lnTo>
                  <a:lnTo>
                    <a:pt x="2240" y="538"/>
                  </a:lnTo>
                  <a:lnTo>
                    <a:pt x="2256" y="574"/>
                  </a:lnTo>
                  <a:lnTo>
                    <a:pt x="2269" y="612"/>
                  </a:lnTo>
                  <a:lnTo>
                    <a:pt x="2278" y="650"/>
                  </a:lnTo>
                  <a:lnTo>
                    <a:pt x="2286" y="689"/>
                  </a:lnTo>
                  <a:lnTo>
                    <a:pt x="2290" y="727"/>
                  </a:lnTo>
                  <a:lnTo>
                    <a:pt x="2292" y="766"/>
                  </a:lnTo>
                  <a:lnTo>
                    <a:pt x="2290" y="807"/>
                  </a:lnTo>
                  <a:lnTo>
                    <a:pt x="2286" y="845"/>
                  </a:lnTo>
                  <a:lnTo>
                    <a:pt x="2278" y="883"/>
                  </a:lnTo>
                  <a:lnTo>
                    <a:pt x="2269" y="921"/>
                  </a:lnTo>
                  <a:lnTo>
                    <a:pt x="2256" y="958"/>
                  </a:lnTo>
                  <a:lnTo>
                    <a:pt x="2240" y="994"/>
                  </a:lnTo>
                  <a:lnTo>
                    <a:pt x="2222" y="1031"/>
                  </a:lnTo>
                  <a:lnTo>
                    <a:pt x="2201" y="1066"/>
                  </a:lnTo>
                  <a:lnTo>
                    <a:pt x="2178" y="1099"/>
                  </a:lnTo>
                  <a:lnTo>
                    <a:pt x="2154" y="1132"/>
                  </a:lnTo>
                  <a:lnTo>
                    <a:pt x="2125" y="1164"/>
                  </a:lnTo>
                  <a:lnTo>
                    <a:pt x="2095" y="1195"/>
                  </a:lnTo>
                  <a:lnTo>
                    <a:pt x="2064" y="1225"/>
                  </a:lnTo>
                  <a:lnTo>
                    <a:pt x="2031" y="1255"/>
                  </a:lnTo>
                  <a:lnTo>
                    <a:pt x="1994" y="1282"/>
                  </a:lnTo>
                  <a:lnTo>
                    <a:pt x="1955" y="1309"/>
                  </a:lnTo>
                  <a:lnTo>
                    <a:pt x="1917" y="1334"/>
                  </a:lnTo>
                  <a:lnTo>
                    <a:pt x="1875" y="1359"/>
                  </a:lnTo>
                  <a:lnTo>
                    <a:pt x="1831" y="1381"/>
                  </a:lnTo>
                  <a:lnTo>
                    <a:pt x="1786" y="1403"/>
                  </a:lnTo>
                  <a:lnTo>
                    <a:pt x="1740" y="1422"/>
                  </a:lnTo>
                  <a:lnTo>
                    <a:pt x="1691" y="1440"/>
                  </a:lnTo>
                  <a:lnTo>
                    <a:pt x="1642" y="1457"/>
                  </a:lnTo>
                  <a:lnTo>
                    <a:pt x="1592" y="1473"/>
                  </a:lnTo>
                  <a:lnTo>
                    <a:pt x="1540" y="1487"/>
                  </a:lnTo>
                  <a:lnTo>
                    <a:pt x="1487" y="1499"/>
                  </a:lnTo>
                  <a:lnTo>
                    <a:pt x="1432" y="1509"/>
                  </a:lnTo>
                  <a:lnTo>
                    <a:pt x="1377" y="1518"/>
                  </a:lnTo>
                  <a:lnTo>
                    <a:pt x="1320" y="1525"/>
                  </a:lnTo>
                  <a:lnTo>
                    <a:pt x="1263" y="1530"/>
                  </a:lnTo>
                  <a:lnTo>
                    <a:pt x="1204" y="1532"/>
                  </a:lnTo>
                  <a:lnTo>
                    <a:pt x="1146" y="1534"/>
                  </a:lnTo>
                  <a:lnTo>
                    <a:pt x="1146" y="1534"/>
                  </a:lnTo>
                  <a:close/>
                  <a:moveTo>
                    <a:pt x="1321" y="300"/>
                  </a:moveTo>
                  <a:lnTo>
                    <a:pt x="1276" y="301"/>
                  </a:lnTo>
                  <a:lnTo>
                    <a:pt x="1232" y="302"/>
                  </a:lnTo>
                  <a:lnTo>
                    <a:pt x="1189" y="306"/>
                  </a:lnTo>
                  <a:lnTo>
                    <a:pt x="1146" y="310"/>
                  </a:lnTo>
                  <a:lnTo>
                    <a:pt x="1062" y="323"/>
                  </a:lnTo>
                  <a:lnTo>
                    <a:pt x="982" y="341"/>
                  </a:lnTo>
                  <a:lnTo>
                    <a:pt x="905" y="363"/>
                  </a:lnTo>
                  <a:lnTo>
                    <a:pt x="834" y="389"/>
                  </a:lnTo>
                  <a:lnTo>
                    <a:pt x="800" y="403"/>
                  </a:lnTo>
                  <a:lnTo>
                    <a:pt x="767" y="419"/>
                  </a:lnTo>
                  <a:lnTo>
                    <a:pt x="736" y="436"/>
                  </a:lnTo>
                  <a:lnTo>
                    <a:pt x="705" y="453"/>
                  </a:lnTo>
                  <a:lnTo>
                    <a:pt x="676" y="472"/>
                  </a:lnTo>
                  <a:lnTo>
                    <a:pt x="649" y="490"/>
                  </a:lnTo>
                  <a:lnTo>
                    <a:pt x="623" y="510"/>
                  </a:lnTo>
                  <a:lnTo>
                    <a:pt x="598" y="530"/>
                  </a:lnTo>
                  <a:lnTo>
                    <a:pt x="576" y="552"/>
                  </a:lnTo>
                  <a:lnTo>
                    <a:pt x="556" y="574"/>
                  </a:lnTo>
                  <a:lnTo>
                    <a:pt x="536" y="597"/>
                  </a:lnTo>
                  <a:lnTo>
                    <a:pt x="518" y="620"/>
                  </a:lnTo>
                  <a:lnTo>
                    <a:pt x="503" y="643"/>
                  </a:lnTo>
                  <a:lnTo>
                    <a:pt x="490" y="668"/>
                  </a:lnTo>
                  <a:lnTo>
                    <a:pt x="478" y="692"/>
                  </a:lnTo>
                  <a:lnTo>
                    <a:pt x="468" y="718"/>
                  </a:lnTo>
                  <a:lnTo>
                    <a:pt x="460" y="744"/>
                  </a:lnTo>
                  <a:lnTo>
                    <a:pt x="455" y="770"/>
                  </a:lnTo>
                  <a:lnTo>
                    <a:pt x="451" y="797"/>
                  </a:lnTo>
                  <a:lnTo>
                    <a:pt x="450" y="823"/>
                  </a:lnTo>
                  <a:lnTo>
                    <a:pt x="451" y="851"/>
                  </a:lnTo>
                  <a:lnTo>
                    <a:pt x="455" y="878"/>
                  </a:lnTo>
                  <a:lnTo>
                    <a:pt x="460" y="904"/>
                  </a:lnTo>
                  <a:lnTo>
                    <a:pt x="468" y="930"/>
                  </a:lnTo>
                  <a:lnTo>
                    <a:pt x="478" y="954"/>
                  </a:lnTo>
                  <a:lnTo>
                    <a:pt x="490" y="980"/>
                  </a:lnTo>
                  <a:lnTo>
                    <a:pt x="503" y="1004"/>
                  </a:lnTo>
                  <a:lnTo>
                    <a:pt x="518" y="1028"/>
                  </a:lnTo>
                  <a:lnTo>
                    <a:pt x="536" y="1052"/>
                  </a:lnTo>
                  <a:lnTo>
                    <a:pt x="556" y="1074"/>
                  </a:lnTo>
                  <a:lnTo>
                    <a:pt x="576" y="1096"/>
                  </a:lnTo>
                  <a:lnTo>
                    <a:pt x="598" y="1118"/>
                  </a:lnTo>
                  <a:lnTo>
                    <a:pt x="623" y="1137"/>
                  </a:lnTo>
                  <a:lnTo>
                    <a:pt x="649" y="1158"/>
                  </a:lnTo>
                  <a:lnTo>
                    <a:pt x="676" y="1176"/>
                  </a:lnTo>
                  <a:lnTo>
                    <a:pt x="705" y="1194"/>
                  </a:lnTo>
                  <a:lnTo>
                    <a:pt x="736" y="1212"/>
                  </a:lnTo>
                  <a:lnTo>
                    <a:pt x="767" y="1228"/>
                  </a:lnTo>
                  <a:lnTo>
                    <a:pt x="800" y="1243"/>
                  </a:lnTo>
                  <a:lnTo>
                    <a:pt x="834" y="1259"/>
                  </a:lnTo>
                  <a:lnTo>
                    <a:pt x="905" y="1285"/>
                  </a:lnTo>
                  <a:lnTo>
                    <a:pt x="982" y="1307"/>
                  </a:lnTo>
                  <a:lnTo>
                    <a:pt x="1062" y="1325"/>
                  </a:lnTo>
                  <a:lnTo>
                    <a:pt x="1146" y="1338"/>
                  </a:lnTo>
                  <a:lnTo>
                    <a:pt x="1189" y="1342"/>
                  </a:lnTo>
                  <a:lnTo>
                    <a:pt x="1232" y="1346"/>
                  </a:lnTo>
                  <a:lnTo>
                    <a:pt x="1276" y="1347"/>
                  </a:lnTo>
                  <a:lnTo>
                    <a:pt x="1321" y="1348"/>
                  </a:lnTo>
                  <a:lnTo>
                    <a:pt x="1410" y="1346"/>
                  </a:lnTo>
                  <a:lnTo>
                    <a:pt x="1494" y="1341"/>
                  </a:lnTo>
                  <a:lnTo>
                    <a:pt x="1577" y="1332"/>
                  </a:lnTo>
                  <a:lnTo>
                    <a:pt x="1655" y="1317"/>
                  </a:lnTo>
                  <a:lnTo>
                    <a:pt x="1728" y="1300"/>
                  </a:lnTo>
                  <a:lnTo>
                    <a:pt x="1797" y="1278"/>
                  </a:lnTo>
                  <a:lnTo>
                    <a:pt x="1830" y="1265"/>
                  </a:lnTo>
                  <a:lnTo>
                    <a:pt x="1861" y="1252"/>
                  </a:lnTo>
                  <a:lnTo>
                    <a:pt x="1891" y="1238"/>
                  </a:lnTo>
                  <a:lnTo>
                    <a:pt x="1919" y="1223"/>
                  </a:lnTo>
                  <a:lnTo>
                    <a:pt x="1946" y="1206"/>
                  </a:lnTo>
                  <a:lnTo>
                    <a:pt x="1972" y="1188"/>
                  </a:lnTo>
                  <a:lnTo>
                    <a:pt x="1997" y="1169"/>
                  </a:lnTo>
                  <a:lnTo>
                    <a:pt x="2019" y="1150"/>
                  </a:lnTo>
                  <a:lnTo>
                    <a:pt x="2041" y="1129"/>
                  </a:lnTo>
                  <a:lnTo>
                    <a:pt x="2060" y="1107"/>
                  </a:lnTo>
                  <a:lnTo>
                    <a:pt x="2078" y="1084"/>
                  </a:lnTo>
                  <a:lnTo>
                    <a:pt x="2094" y="1059"/>
                  </a:lnTo>
                  <a:lnTo>
                    <a:pt x="2108" y="1033"/>
                  </a:lnTo>
                  <a:lnTo>
                    <a:pt x="2121" y="1007"/>
                  </a:lnTo>
                  <a:lnTo>
                    <a:pt x="2132" y="980"/>
                  </a:lnTo>
                  <a:lnTo>
                    <a:pt x="2141" y="950"/>
                  </a:lnTo>
                  <a:lnTo>
                    <a:pt x="2148" y="921"/>
                  </a:lnTo>
                  <a:lnTo>
                    <a:pt x="2154" y="889"/>
                  </a:lnTo>
                  <a:lnTo>
                    <a:pt x="2156" y="857"/>
                  </a:lnTo>
                  <a:lnTo>
                    <a:pt x="2157" y="823"/>
                  </a:lnTo>
                  <a:lnTo>
                    <a:pt x="2156" y="791"/>
                  </a:lnTo>
                  <a:lnTo>
                    <a:pt x="2154" y="759"/>
                  </a:lnTo>
                  <a:lnTo>
                    <a:pt x="2148" y="727"/>
                  </a:lnTo>
                  <a:lnTo>
                    <a:pt x="2141" y="696"/>
                  </a:lnTo>
                  <a:lnTo>
                    <a:pt x="2132" y="668"/>
                  </a:lnTo>
                  <a:lnTo>
                    <a:pt x="2121" y="641"/>
                  </a:lnTo>
                  <a:lnTo>
                    <a:pt x="2108" y="613"/>
                  </a:lnTo>
                  <a:lnTo>
                    <a:pt x="2094" y="589"/>
                  </a:lnTo>
                  <a:lnTo>
                    <a:pt x="2078" y="564"/>
                  </a:lnTo>
                  <a:lnTo>
                    <a:pt x="2060" y="541"/>
                  </a:lnTo>
                  <a:lnTo>
                    <a:pt x="2041" y="519"/>
                  </a:lnTo>
                  <a:lnTo>
                    <a:pt x="2019" y="498"/>
                  </a:lnTo>
                  <a:lnTo>
                    <a:pt x="1997" y="479"/>
                  </a:lnTo>
                  <a:lnTo>
                    <a:pt x="1972" y="459"/>
                  </a:lnTo>
                  <a:lnTo>
                    <a:pt x="1946" y="442"/>
                  </a:lnTo>
                  <a:lnTo>
                    <a:pt x="1919" y="425"/>
                  </a:lnTo>
                  <a:lnTo>
                    <a:pt x="1891" y="410"/>
                  </a:lnTo>
                  <a:lnTo>
                    <a:pt x="1861" y="396"/>
                  </a:lnTo>
                  <a:lnTo>
                    <a:pt x="1830" y="383"/>
                  </a:lnTo>
                  <a:lnTo>
                    <a:pt x="1797" y="370"/>
                  </a:lnTo>
                  <a:lnTo>
                    <a:pt x="1728" y="348"/>
                  </a:lnTo>
                  <a:lnTo>
                    <a:pt x="1655" y="331"/>
                  </a:lnTo>
                  <a:lnTo>
                    <a:pt x="1577" y="316"/>
                  </a:lnTo>
                  <a:lnTo>
                    <a:pt x="1494" y="307"/>
                  </a:lnTo>
                  <a:lnTo>
                    <a:pt x="1410" y="301"/>
                  </a:lnTo>
                  <a:lnTo>
                    <a:pt x="1321" y="300"/>
                  </a:lnTo>
                  <a:lnTo>
                    <a:pt x="1321" y="30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1" name="Freeform 6"/>
            <p:cNvSpPr>
              <a:spLocks noEditPoints="1"/>
            </p:cNvSpPr>
            <p:nvPr/>
          </p:nvSpPr>
          <p:spPr bwMode="auto">
            <a:xfrm>
              <a:off x="4222750" y="3844925"/>
              <a:ext cx="669925" cy="682625"/>
            </a:xfrm>
            <a:custGeom>
              <a:avLst/>
              <a:gdLst>
                <a:gd name="T0" fmla="*/ 804 w 1265"/>
                <a:gd name="T1" fmla="*/ 713 h 1290"/>
                <a:gd name="T2" fmla="*/ 825 w 1265"/>
                <a:gd name="T3" fmla="*/ 719 h 1290"/>
                <a:gd name="T4" fmla="*/ 877 w 1265"/>
                <a:gd name="T5" fmla="*/ 738 h 1290"/>
                <a:gd name="T6" fmla="*/ 922 w 1265"/>
                <a:gd name="T7" fmla="*/ 760 h 1290"/>
                <a:gd name="T8" fmla="*/ 966 w 1265"/>
                <a:gd name="T9" fmla="*/ 792 h 1290"/>
                <a:gd name="T10" fmla="*/ 989 w 1265"/>
                <a:gd name="T11" fmla="*/ 826 h 1290"/>
                <a:gd name="T12" fmla="*/ 1265 w 1265"/>
                <a:gd name="T13" fmla="*/ 1290 h 1290"/>
                <a:gd name="T14" fmla="*/ 617 w 1265"/>
                <a:gd name="T15" fmla="*/ 901 h 1290"/>
                <a:gd name="T16" fmla="*/ 610 w 1265"/>
                <a:gd name="T17" fmla="*/ 891 h 1290"/>
                <a:gd name="T18" fmla="*/ 582 w 1265"/>
                <a:gd name="T19" fmla="*/ 848 h 1290"/>
                <a:gd name="T20" fmla="*/ 548 w 1265"/>
                <a:gd name="T21" fmla="*/ 809 h 1290"/>
                <a:gd name="T22" fmla="*/ 510 w 1265"/>
                <a:gd name="T23" fmla="*/ 786 h 1290"/>
                <a:gd name="T24" fmla="*/ 391 w 1265"/>
                <a:gd name="T25" fmla="*/ 1290 h 1290"/>
                <a:gd name="T26" fmla="*/ 785 w 1265"/>
                <a:gd name="T27" fmla="*/ 0 h 1290"/>
                <a:gd name="T28" fmla="*/ 794 w 1265"/>
                <a:gd name="T29" fmla="*/ 0 h 1290"/>
                <a:gd name="T30" fmla="*/ 819 w 1265"/>
                <a:gd name="T31" fmla="*/ 3 h 1290"/>
                <a:gd name="T32" fmla="*/ 868 w 1265"/>
                <a:gd name="T33" fmla="*/ 12 h 1290"/>
                <a:gd name="T34" fmla="*/ 964 w 1265"/>
                <a:gd name="T35" fmla="*/ 45 h 1290"/>
                <a:gd name="T36" fmla="*/ 1045 w 1265"/>
                <a:gd name="T37" fmla="*/ 101 h 1290"/>
                <a:gd name="T38" fmla="*/ 1087 w 1265"/>
                <a:gd name="T39" fmla="*/ 149 h 1290"/>
                <a:gd name="T40" fmla="*/ 1119 w 1265"/>
                <a:gd name="T41" fmla="*/ 210 h 1290"/>
                <a:gd name="T42" fmla="*/ 1138 w 1265"/>
                <a:gd name="T43" fmla="*/ 286 h 1290"/>
                <a:gd name="T44" fmla="*/ 1142 w 1265"/>
                <a:gd name="T45" fmla="*/ 377 h 1290"/>
                <a:gd name="T46" fmla="*/ 1128 w 1265"/>
                <a:gd name="T47" fmla="*/ 460 h 1290"/>
                <a:gd name="T48" fmla="*/ 1101 w 1265"/>
                <a:gd name="T49" fmla="*/ 528 h 1290"/>
                <a:gd name="T50" fmla="*/ 1063 w 1265"/>
                <a:gd name="T51" fmla="*/ 582 h 1290"/>
                <a:gd name="T52" fmla="*/ 1004 w 1265"/>
                <a:gd name="T53" fmla="*/ 636 h 1290"/>
                <a:gd name="T54" fmla="*/ 909 w 1265"/>
                <a:gd name="T55" fmla="*/ 686 h 1290"/>
                <a:gd name="T56" fmla="*/ 833 w 1265"/>
                <a:gd name="T57" fmla="*/ 706 h 1290"/>
                <a:gd name="T58" fmla="*/ 809 w 1265"/>
                <a:gd name="T59" fmla="*/ 710 h 1290"/>
                <a:gd name="T60" fmla="*/ 800 w 1265"/>
                <a:gd name="T61" fmla="*/ 712 h 1290"/>
                <a:gd name="T62" fmla="*/ 394 w 1265"/>
                <a:gd name="T63" fmla="*/ 280 h 1290"/>
                <a:gd name="T64" fmla="*/ 632 w 1265"/>
                <a:gd name="T65" fmla="*/ 499 h 1290"/>
                <a:gd name="T66" fmla="*/ 648 w 1265"/>
                <a:gd name="T67" fmla="*/ 496 h 1290"/>
                <a:gd name="T68" fmla="*/ 685 w 1265"/>
                <a:gd name="T69" fmla="*/ 485 h 1290"/>
                <a:gd name="T70" fmla="*/ 715 w 1265"/>
                <a:gd name="T71" fmla="*/ 463 h 1290"/>
                <a:gd name="T72" fmla="*/ 736 w 1265"/>
                <a:gd name="T73" fmla="*/ 424 h 1290"/>
                <a:gd name="T74" fmla="*/ 740 w 1265"/>
                <a:gd name="T75" fmla="*/ 367 h 1290"/>
                <a:gd name="T76" fmla="*/ 724 w 1265"/>
                <a:gd name="T77" fmla="*/ 323 h 1290"/>
                <a:gd name="T78" fmla="*/ 695 w 1265"/>
                <a:gd name="T79" fmla="*/ 297 h 1290"/>
                <a:gd name="T80" fmla="*/ 666 w 1265"/>
                <a:gd name="T81" fmla="*/ 284 h 1290"/>
                <a:gd name="T82" fmla="*/ 636 w 1265"/>
                <a:gd name="T83" fmla="*/ 280 h 1290"/>
                <a:gd name="T84" fmla="*/ 631 w 1265"/>
                <a:gd name="T85" fmla="*/ 280 h 1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65" h="1290">
                  <a:moveTo>
                    <a:pt x="800" y="712"/>
                  </a:moveTo>
                  <a:lnTo>
                    <a:pt x="802" y="712"/>
                  </a:lnTo>
                  <a:lnTo>
                    <a:pt x="804" y="713"/>
                  </a:lnTo>
                  <a:lnTo>
                    <a:pt x="808" y="714"/>
                  </a:lnTo>
                  <a:lnTo>
                    <a:pt x="812" y="716"/>
                  </a:lnTo>
                  <a:lnTo>
                    <a:pt x="825" y="719"/>
                  </a:lnTo>
                  <a:lnTo>
                    <a:pt x="841" y="725"/>
                  </a:lnTo>
                  <a:lnTo>
                    <a:pt x="859" y="731"/>
                  </a:lnTo>
                  <a:lnTo>
                    <a:pt x="877" y="738"/>
                  </a:lnTo>
                  <a:lnTo>
                    <a:pt x="895" y="745"/>
                  </a:lnTo>
                  <a:lnTo>
                    <a:pt x="910" y="753"/>
                  </a:lnTo>
                  <a:lnTo>
                    <a:pt x="922" y="760"/>
                  </a:lnTo>
                  <a:lnTo>
                    <a:pt x="938" y="769"/>
                  </a:lnTo>
                  <a:lnTo>
                    <a:pt x="952" y="779"/>
                  </a:lnTo>
                  <a:lnTo>
                    <a:pt x="966" y="792"/>
                  </a:lnTo>
                  <a:lnTo>
                    <a:pt x="978" y="806"/>
                  </a:lnTo>
                  <a:lnTo>
                    <a:pt x="986" y="818"/>
                  </a:lnTo>
                  <a:lnTo>
                    <a:pt x="989" y="826"/>
                  </a:lnTo>
                  <a:lnTo>
                    <a:pt x="991" y="828"/>
                  </a:lnTo>
                  <a:lnTo>
                    <a:pt x="992" y="830"/>
                  </a:lnTo>
                  <a:lnTo>
                    <a:pt x="1265" y="1290"/>
                  </a:lnTo>
                  <a:lnTo>
                    <a:pt x="824" y="1290"/>
                  </a:lnTo>
                  <a:lnTo>
                    <a:pt x="617" y="902"/>
                  </a:lnTo>
                  <a:lnTo>
                    <a:pt x="617" y="901"/>
                  </a:lnTo>
                  <a:lnTo>
                    <a:pt x="615" y="898"/>
                  </a:lnTo>
                  <a:lnTo>
                    <a:pt x="613" y="896"/>
                  </a:lnTo>
                  <a:lnTo>
                    <a:pt x="610" y="891"/>
                  </a:lnTo>
                  <a:lnTo>
                    <a:pt x="602" y="878"/>
                  </a:lnTo>
                  <a:lnTo>
                    <a:pt x="592" y="863"/>
                  </a:lnTo>
                  <a:lnTo>
                    <a:pt x="582" y="848"/>
                  </a:lnTo>
                  <a:lnTo>
                    <a:pt x="570" y="832"/>
                  </a:lnTo>
                  <a:lnTo>
                    <a:pt x="558" y="818"/>
                  </a:lnTo>
                  <a:lnTo>
                    <a:pt x="548" y="809"/>
                  </a:lnTo>
                  <a:lnTo>
                    <a:pt x="534" y="797"/>
                  </a:lnTo>
                  <a:lnTo>
                    <a:pt x="522" y="789"/>
                  </a:lnTo>
                  <a:lnTo>
                    <a:pt x="510" y="786"/>
                  </a:lnTo>
                  <a:lnTo>
                    <a:pt x="496" y="784"/>
                  </a:lnTo>
                  <a:lnTo>
                    <a:pt x="391" y="784"/>
                  </a:lnTo>
                  <a:lnTo>
                    <a:pt x="391" y="1290"/>
                  </a:lnTo>
                  <a:lnTo>
                    <a:pt x="0" y="1290"/>
                  </a:lnTo>
                  <a:lnTo>
                    <a:pt x="0" y="0"/>
                  </a:lnTo>
                  <a:lnTo>
                    <a:pt x="785" y="0"/>
                  </a:lnTo>
                  <a:lnTo>
                    <a:pt x="786" y="0"/>
                  </a:lnTo>
                  <a:lnTo>
                    <a:pt x="789" y="0"/>
                  </a:lnTo>
                  <a:lnTo>
                    <a:pt x="794" y="0"/>
                  </a:lnTo>
                  <a:lnTo>
                    <a:pt x="800" y="1"/>
                  </a:lnTo>
                  <a:lnTo>
                    <a:pt x="808" y="1"/>
                  </a:lnTo>
                  <a:lnTo>
                    <a:pt x="819" y="3"/>
                  </a:lnTo>
                  <a:lnTo>
                    <a:pt x="829" y="4"/>
                  </a:lnTo>
                  <a:lnTo>
                    <a:pt x="841" y="6"/>
                  </a:lnTo>
                  <a:lnTo>
                    <a:pt x="868" y="12"/>
                  </a:lnTo>
                  <a:lnTo>
                    <a:pt x="899" y="19"/>
                  </a:lnTo>
                  <a:lnTo>
                    <a:pt x="930" y="31"/>
                  </a:lnTo>
                  <a:lnTo>
                    <a:pt x="964" y="45"/>
                  </a:lnTo>
                  <a:lnTo>
                    <a:pt x="997" y="65"/>
                  </a:lnTo>
                  <a:lnTo>
                    <a:pt x="1030" y="87"/>
                  </a:lnTo>
                  <a:lnTo>
                    <a:pt x="1045" y="101"/>
                  </a:lnTo>
                  <a:lnTo>
                    <a:pt x="1059" y="115"/>
                  </a:lnTo>
                  <a:lnTo>
                    <a:pt x="1074" y="131"/>
                  </a:lnTo>
                  <a:lnTo>
                    <a:pt x="1087" y="149"/>
                  </a:lnTo>
                  <a:lnTo>
                    <a:pt x="1098" y="167"/>
                  </a:lnTo>
                  <a:lnTo>
                    <a:pt x="1110" y="188"/>
                  </a:lnTo>
                  <a:lnTo>
                    <a:pt x="1119" y="210"/>
                  </a:lnTo>
                  <a:lnTo>
                    <a:pt x="1127" y="233"/>
                  </a:lnTo>
                  <a:lnTo>
                    <a:pt x="1133" y="259"/>
                  </a:lnTo>
                  <a:lnTo>
                    <a:pt x="1138" y="286"/>
                  </a:lnTo>
                  <a:lnTo>
                    <a:pt x="1141" y="315"/>
                  </a:lnTo>
                  <a:lnTo>
                    <a:pt x="1142" y="346"/>
                  </a:lnTo>
                  <a:lnTo>
                    <a:pt x="1142" y="377"/>
                  </a:lnTo>
                  <a:lnTo>
                    <a:pt x="1138" y="407"/>
                  </a:lnTo>
                  <a:lnTo>
                    <a:pt x="1134" y="434"/>
                  </a:lnTo>
                  <a:lnTo>
                    <a:pt x="1128" y="460"/>
                  </a:lnTo>
                  <a:lnTo>
                    <a:pt x="1120" y="483"/>
                  </a:lnTo>
                  <a:lnTo>
                    <a:pt x="1111" y="507"/>
                  </a:lnTo>
                  <a:lnTo>
                    <a:pt x="1101" y="528"/>
                  </a:lnTo>
                  <a:lnTo>
                    <a:pt x="1089" y="547"/>
                  </a:lnTo>
                  <a:lnTo>
                    <a:pt x="1076" y="565"/>
                  </a:lnTo>
                  <a:lnTo>
                    <a:pt x="1063" y="582"/>
                  </a:lnTo>
                  <a:lnTo>
                    <a:pt x="1049" y="598"/>
                  </a:lnTo>
                  <a:lnTo>
                    <a:pt x="1035" y="612"/>
                  </a:lnTo>
                  <a:lnTo>
                    <a:pt x="1004" y="636"/>
                  </a:lnTo>
                  <a:lnTo>
                    <a:pt x="971" y="656"/>
                  </a:lnTo>
                  <a:lnTo>
                    <a:pt x="940" y="673"/>
                  </a:lnTo>
                  <a:lnTo>
                    <a:pt x="909" y="686"/>
                  </a:lnTo>
                  <a:lnTo>
                    <a:pt x="881" y="695"/>
                  </a:lnTo>
                  <a:lnTo>
                    <a:pt x="855" y="703"/>
                  </a:lnTo>
                  <a:lnTo>
                    <a:pt x="833" y="706"/>
                  </a:lnTo>
                  <a:lnTo>
                    <a:pt x="824" y="709"/>
                  </a:lnTo>
                  <a:lnTo>
                    <a:pt x="816" y="710"/>
                  </a:lnTo>
                  <a:lnTo>
                    <a:pt x="809" y="710"/>
                  </a:lnTo>
                  <a:lnTo>
                    <a:pt x="804" y="712"/>
                  </a:lnTo>
                  <a:lnTo>
                    <a:pt x="802" y="712"/>
                  </a:lnTo>
                  <a:lnTo>
                    <a:pt x="800" y="712"/>
                  </a:lnTo>
                  <a:lnTo>
                    <a:pt x="800" y="712"/>
                  </a:lnTo>
                  <a:close/>
                  <a:moveTo>
                    <a:pt x="631" y="280"/>
                  </a:moveTo>
                  <a:lnTo>
                    <a:pt x="394" y="280"/>
                  </a:lnTo>
                  <a:lnTo>
                    <a:pt x="394" y="499"/>
                  </a:lnTo>
                  <a:lnTo>
                    <a:pt x="631" y="499"/>
                  </a:lnTo>
                  <a:lnTo>
                    <a:pt x="632" y="499"/>
                  </a:lnTo>
                  <a:lnTo>
                    <a:pt x="636" y="499"/>
                  </a:lnTo>
                  <a:lnTo>
                    <a:pt x="641" y="498"/>
                  </a:lnTo>
                  <a:lnTo>
                    <a:pt x="648" y="496"/>
                  </a:lnTo>
                  <a:lnTo>
                    <a:pt x="666" y="493"/>
                  </a:lnTo>
                  <a:lnTo>
                    <a:pt x="676" y="490"/>
                  </a:lnTo>
                  <a:lnTo>
                    <a:pt x="685" y="485"/>
                  </a:lnTo>
                  <a:lnTo>
                    <a:pt x="695" y="478"/>
                  </a:lnTo>
                  <a:lnTo>
                    <a:pt x="706" y="472"/>
                  </a:lnTo>
                  <a:lnTo>
                    <a:pt x="715" y="463"/>
                  </a:lnTo>
                  <a:lnTo>
                    <a:pt x="724" y="451"/>
                  </a:lnTo>
                  <a:lnTo>
                    <a:pt x="730" y="439"/>
                  </a:lnTo>
                  <a:lnTo>
                    <a:pt x="736" y="424"/>
                  </a:lnTo>
                  <a:lnTo>
                    <a:pt x="740" y="407"/>
                  </a:lnTo>
                  <a:lnTo>
                    <a:pt x="741" y="388"/>
                  </a:lnTo>
                  <a:lnTo>
                    <a:pt x="740" y="367"/>
                  </a:lnTo>
                  <a:lnTo>
                    <a:pt x="736" y="350"/>
                  </a:lnTo>
                  <a:lnTo>
                    <a:pt x="730" y="336"/>
                  </a:lnTo>
                  <a:lnTo>
                    <a:pt x="724" y="323"/>
                  </a:lnTo>
                  <a:lnTo>
                    <a:pt x="715" y="312"/>
                  </a:lnTo>
                  <a:lnTo>
                    <a:pt x="706" y="303"/>
                  </a:lnTo>
                  <a:lnTo>
                    <a:pt x="695" y="297"/>
                  </a:lnTo>
                  <a:lnTo>
                    <a:pt x="685" y="290"/>
                  </a:lnTo>
                  <a:lnTo>
                    <a:pt x="676" y="286"/>
                  </a:lnTo>
                  <a:lnTo>
                    <a:pt x="666" y="284"/>
                  </a:lnTo>
                  <a:lnTo>
                    <a:pt x="648" y="280"/>
                  </a:lnTo>
                  <a:lnTo>
                    <a:pt x="641" y="280"/>
                  </a:lnTo>
                  <a:lnTo>
                    <a:pt x="636" y="280"/>
                  </a:lnTo>
                  <a:lnTo>
                    <a:pt x="632" y="280"/>
                  </a:lnTo>
                  <a:lnTo>
                    <a:pt x="631" y="280"/>
                  </a:lnTo>
                  <a:lnTo>
                    <a:pt x="631" y="28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296304902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3" name="Rectangle 2"/>
          <p:cNvSpPr/>
          <p:nvPr/>
        </p:nvSpPr>
        <p:spPr>
          <a:xfrm>
            <a:off x="91824" y="114020"/>
            <a:ext cx="8000310" cy="6749398"/>
          </a:xfrm>
          <a:prstGeom prst="rect">
            <a:avLst/>
          </a:prstGeom>
          <a:noFill/>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Consolas" panose="020B0609020204030204" pitchFamily="49" charset="0"/>
                <a:ea typeface="+mn-ea"/>
                <a:cs typeface="Consolas" panose="020B0609020204030204" pitchFamily="49" charset="0"/>
              </a:rPr>
              <a:t>REFERENCE ASSEMBLY [</a:t>
            </a:r>
            <a:r>
              <a:rPr kumimoji="0" lang="en-US" b="0" i="0" u="none" strike="noStrike" kern="0" cap="none" spc="0" normalizeH="0" baseline="0" noProof="0" dirty="0" err="1">
                <a:ln>
                  <a:noFill/>
                </a:ln>
                <a:solidFill>
                  <a:prstClr val="black"/>
                </a:solidFill>
                <a:effectLst/>
                <a:uLnTx/>
                <a:uFillTx/>
                <a:latin typeface="Consolas" panose="020B0609020204030204" pitchFamily="49" charset="0"/>
                <a:ea typeface="+mn-ea"/>
                <a:cs typeface="Consolas" panose="020B0609020204030204" pitchFamily="49" charset="0"/>
              </a:rPr>
              <a:t>ExtPython</a:t>
            </a:r>
            <a:r>
              <a:rPr kumimoji="0" lang="en-US" b="0" i="0" u="none" strike="noStrike" kern="0" cap="none" spc="0" normalizeH="0" baseline="0" noProof="0" dirty="0">
                <a:ln>
                  <a:noFill/>
                </a:ln>
                <a:solidFill>
                  <a:prstClr val="black"/>
                </a:solidFill>
                <a:effectLst/>
                <a:uLnTx/>
                <a:uFillTx/>
                <a:latin typeface="Consolas" panose="020B0609020204030204" pitchFamily="49" charset="0"/>
                <a:ea typeface="+mn-ea"/>
                <a:cs typeface="Consolas" panose="020B0609020204030204" pitchFamily="49"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prstClr val="black"/>
              </a:solidFill>
              <a:effectLst/>
              <a:uLnTx/>
              <a:uFillTx/>
              <a:latin typeface="Consolas" panose="020B0609020204030204" pitchFamily="49" charset="0"/>
              <a:ea typeface="+mn-ea"/>
              <a:cs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Consolas" panose="020B0609020204030204" pitchFamily="49" charset="0"/>
                <a:ea typeface="+mn-ea"/>
                <a:cs typeface="Consolas" panose="020B0609020204030204" pitchFamily="49" charset="0"/>
              </a:rPr>
              <a:t>DECLARE @</a:t>
            </a:r>
            <a:r>
              <a:rPr kumimoji="0" lang="en-US" b="0" i="0" u="none" strike="noStrike" kern="0" cap="none" spc="0" normalizeH="0" baseline="0" noProof="0" dirty="0" err="1">
                <a:ln>
                  <a:noFill/>
                </a:ln>
                <a:solidFill>
                  <a:prstClr val="black"/>
                </a:solidFill>
                <a:effectLst/>
                <a:uLnTx/>
                <a:uFillTx/>
                <a:latin typeface="Consolas" panose="020B0609020204030204" pitchFamily="49" charset="0"/>
                <a:ea typeface="+mn-ea"/>
                <a:cs typeface="Consolas" panose="020B0609020204030204" pitchFamily="49" charset="0"/>
              </a:rPr>
              <a:t>myScript</a:t>
            </a:r>
            <a:r>
              <a:rPr kumimoji="0" lang="en-US" b="0" i="0" u="none" strike="noStrike" kern="0" cap="none" spc="0" normalizeH="0" baseline="0" noProof="0" dirty="0">
                <a:ln>
                  <a:noFill/>
                </a:ln>
                <a:solidFill>
                  <a:prstClr val="black"/>
                </a:solidFill>
                <a:effectLst/>
                <a:uLnTx/>
                <a:uFillTx/>
                <a:latin typeface="Consolas" panose="020B0609020204030204" pitchFamily="49" charset="0"/>
                <a:ea typeface="+mn-ea"/>
                <a:cs typeface="Consolas" panose="020B0609020204030204" pitchFamily="49" charset="0"/>
              </a:rPr>
              <a:t> = </a:t>
            </a:r>
            <a:r>
              <a:rPr kumimoji="0" lang="en-US" b="1" i="0" u="none" strike="noStrike" kern="0" cap="none" spc="0" normalizeH="0" baseline="0" noProof="0" dirty="0">
                <a:ln>
                  <a:noFill/>
                </a:ln>
                <a:solidFill>
                  <a:srgbClr val="FF0000"/>
                </a:solidFill>
                <a:effectLst/>
                <a:uLnTx/>
                <a:uFillTx/>
                <a:latin typeface="Consolas" panose="020B0609020204030204" pitchFamily="49" charset="0"/>
                <a:ea typeface="+mn-ea"/>
                <a:cs typeface="Consolas" panose="020B0609020204030204" pitchFamily="49"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1" i="0" u="none" strike="noStrike" kern="0" cap="none" spc="0" normalizeH="0" baseline="0" noProof="0" dirty="0">
              <a:ln>
                <a:noFill/>
              </a:ln>
              <a:solidFill>
                <a:srgbClr val="FF0000"/>
              </a:solidFill>
              <a:effectLst/>
              <a:uLnTx/>
              <a:uFillTx/>
              <a:latin typeface="Consolas" panose="020B0609020204030204" pitchFamily="49" charset="0"/>
              <a:ea typeface="+mn-ea"/>
              <a:cs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rgbClr val="FF0000"/>
                </a:solidFill>
                <a:effectLst/>
                <a:uLnTx/>
                <a:uFillTx/>
                <a:latin typeface="Consolas" panose="020B0609020204030204" pitchFamily="49" charset="0"/>
                <a:ea typeface="+mn-ea"/>
                <a:cs typeface="Consolas" panose="020B0609020204030204" pitchFamily="49" charset="0"/>
              </a:rPr>
              <a:t>def </a:t>
            </a:r>
            <a:r>
              <a:rPr kumimoji="0" lang="en-US" b="1" i="0" u="none" strike="noStrike" kern="0" cap="none" spc="0" normalizeH="0" baseline="0" noProof="0" dirty="0" err="1">
                <a:ln>
                  <a:noFill/>
                </a:ln>
                <a:solidFill>
                  <a:srgbClr val="FF0000"/>
                </a:solidFill>
                <a:effectLst/>
                <a:uLnTx/>
                <a:uFillTx/>
                <a:latin typeface="Consolas" panose="020B0609020204030204" pitchFamily="49" charset="0"/>
                <a:ea typeface="+mn-ea"/>
                <a:cs typeface="Consolas" panose="020B0609020204030204" pitchFamily="49" charset="0"/>
              </a:rPr>
              <a:t>usqlml_main</a:t>
            </a:r>
            <a:r>
              <a:rPr kumimoji="0" lang="en-US" b="1" i="0" u="none" strike="noStrike" kern="0" cap="none" spc="0" normalizeH="0" baseline="0" noProof="0" dirty="0">
                <a:ln>
                  <a:noFill/>
                </a:ln>
                <a:solidFill>
                  <a:srgbClr val="FF0000"/>
                </a:solidFill>
                <a:effectLst/>
                <a:uLnTx/>
                <a:uFillTx/>
                <a:latin typeface="Consolas" panose="020B0609020204030204" pitchFamily="49" charset="0"/>
                <a:ea typeface="+mn-ea"/>
                <a:cs typeface="Consolas" panose="020B0609020204030204" pitchFamily="49" charset="0"/>
              </a:rPr>
              <a:t>(</a:t>
            </a:r>
            <a:r>
              <a:rPr kumimoji="0" lang="en-US" b="1" i="0" u="none" strike="noStrike" kern="0" cap="none" spc="0" normalizeH="0" baseline="0" noProof="0" dirty="0" err="1">
                <a:ln>
                  <a:noFill/>
                </a:ln>
                <a:solidFill>
                  <a:srgbClr val="FF0000"/>
                </a:solidFill>
                <a:effectLst/>
                <a:uLnTx/>
                <a:uFillTx/>
                <a:latin typeface="Consolas" panose="020B0609020204030204" pitchFamily="49" charset="0"/>
                <a:ea typeface="+mn-ea"/>
                <a:cs typeface="Consolas" panose="020B0609020204030204" pitchFamily="49" charset="0"/>
              </a:rPr>
              <a:t>df</a:t>
            </a:r>
            <a:r>
              <a:rPr kumimoji="0" lang="en-US" b="1" i="0" u="none" strike="noStrike" kern="0" cap="none" spc="0" normalizeH="0" baseline="0" noProof="0" dirty="0">
                <a:ln>
                  <a:noFill/>
                </a:ln>
                <a:solidFill>
                  <a:srgbClr val="FF0000"/>
                </a:solidFill>
                <a:effectLst/>
                <a:uLnTx/>
                <a:uFillTx/>
                <a:latin typeface="Consolas" panose="020B0609020204030204" pitchFamily="49" charset="0"/>
                <a:ea typeface="+mn-ea"/>
                <a:cs typeface="Consolas" panose="020B0609020204030204" pitchFamily="49"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rgbClr val="FF0000"/>
                </a:solidFill>
                <a:effectLst/>
                <a:uLnTx/>
                <a:uFillTx/>
                <a:latin typeface="Consolas" panose="020B0609020204030204" pitchFamily="49" charset="0"/>
                <a:ea typeface="+mn-ea"/>
                <a:cs typeface="Consolas" panose="020B0609020204030204" pitchFamily="49" charset="0"/>
              </a:rPr>
              <a:t>    return </a:t>
            </a:r>
            <a:r>
              <a:rPr kumimoji="0" lang="en-US" b="1" i="0" u="none" strike="noStrike" kern="0" cap="none" spc="0" normalizeH="0" baseline="0" noProof="0" dirty="0" err="1">
                <a:ln>
                  <a:noFill/>
                </a:ln>
                <a:solidFill>
                  <a:srgbClr val="FF0000"/>
                </a:solidFill>
                <a:effectLst/>
                <a:uLnTx/>
                <a:uFillTx/>
                <a:latin typeface="Consolas" panose="020B0609020204030204" pitchFamily="49" charset="0"/>
                <a:ea typeface="+mn-ea"/>
                <a:cs typeface="Consolas" panose="020B0609020204030204" pitchFamily="49" charset="0"/>
              </a:rPr>
              <a:t>df</a:t>
            </a:r>
            <a:endParaRPr kumimoji="0" lang="en-US" b="1" i="0" u="none" strike="noStrike" kern="0" cap="none" spc="0" normalizeH="0" baseline="0" noProof="0" dirty="0">
              <a:ln>
                <a:noFill/>
              </a:ln>
              <a:solidFill>
                <a:srgbClr val="FF0000"/>
              </a:solidFill>
              <a:effectLst/>
              <a:uLnTx/>
              <a:uFillTx/>
              <a:latin typeface="Consolas" panose="020B0609020204030204" pitchFamily="49" charset="0"/>
              <a:ea typeface="+mn-ea"/>
              <a:cs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rgbClr val="FF0000"/>
                </a:solidFill>
                <a:effectLst/>
                <a:uLnTx/>
                <a:uFillTx/>
                <a:latin typeface="Consolas" panose="020B0609020204030204" pitchFamily="49" charset="0"/>
                <a:ea typeface="+mn-ea"/>
                <a:cs typeface="Consolas" panose="020B0609020204030204" pitchFamily="49"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prstClr val="black"/>
              </a:solidFill>
              <a:effectLst/>
              <a:uLnTx/>
              <a:uFillTx/>
              <a:latin typeface="Consolas" panose="020B0609020204030204" pitchFamily="49" charset="0"/>
              <a:ea typeface="+mn-ea"/>
              <a:cs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Consolas" panose="020B0609020204030204" pitchFamily="49" charset="0"/>
                <a:ea typeface="+mn-ea"/>
                <a:cs typeface="Consolas" panose="020B0609020204030204" pitchFamily="49" charset="0"/>
              </a:rPr>
              <a:t>@a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Consolas" panose="020B0609020204030204" pitchFamily="49" charset="0"/>
                <a:ea typeface="+mn-ea"/>
                <a:cs typeface="Consolas" panose="020B0609020204030204" pitchFamily="49" charset="0"/>
              </a:rPr>
              <a:t>    SELECT * FROM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Consolas" panose="020B0609020204030204" pitchFamily="49" charset="0"/>
                <a:ea typeface="+mn-ea"/>
                <a:cs typeface="Consolas" panose="020B0609020204030204" pitchFamily="49" charset="0"/>
              </a:rPr>
              <a:t>        (VALU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Consolas" panose="020B0609020204030204" pitchFamily="49" charset="0"/>
                <a:ea typeface="+mn-ea"/>
                <a:cs typeface="Consolas" panose="020B0609020204030204" pitchFamily="49" charset="0"/>
              </a:rPr>
              <a:t>            ("Contoso", 150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Consolas" panose="020B0609020204030204" pitchFamily="49" charset="0"/>
                <a:ea typeface="+mn-ea"/>
                <a:cs typeface="Consolas" panose="020B0609020204030204" pitchFamily="49" charset="0"/>
              </a:rPr>
              <a:t>            ("</a:t>
            </a:r>
            <a:r>
              <a:rPr kumimoji="0" lang="en-US" b="0" i="0" u="none" strike="noStrike" kern="0" cap="none" spc="0" normalizeH="0" baseline="0" noProof="0" dirty="0" err="1">
                <a:ln>
                  <a:noFill/>
                </a:ln>
                <a:solidFill>
                  <a:prstClr val="black"/>
                </a:solidFill>
                <a:effectLst/>
                <a:uLnTx/>
                <a:uFillTx/>
                <a:latin typeface="Consolas" panose="020B0609020204030204" pitchFamily="49" charset="0"/>
                <a:ea typeface="+mn-ea"/>
                <a:cs typeface="Consolas" panose="020B0609020204030204" pitchFamily="49" charset="0"/>
              </a:rPr>
              <a:t>Woodgrove</a:t>
            </a:r>
            <a:r>
              <a:rPr kumimoji="0" lang="en-US" b="0" i="0" u="none" strike="noStrike" kern="0" cap="none" spc="0" normalizeH="0" baseline="0" noProof="0" dirty="0">
                <a:ln>
                  <a:noFill/>
                </a:ln>
                <a:solidFill>
                  <a:prstClr val="black"/>
                </a:solidFill>
                <a:effectLst/>
                <a:uLnTx/>
                <a:uFillTx/>
                <a:latin typeface="Consolas" panose="020B0609020204030204" pitchFamily="49" charset="0"/>
                <a:ea typeface="+mn-ea"/>
                <a:cs typeface="Consolas" panose="020B0609020204030204" pitchFamily="49" charset="0"/>
              </a:rPr>
              <a:t>", 270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Consolas" panose="020B0609020204030204" pitchFamily="49" charset="0"/>
                <a:ea typeface="+mn-ea"/>
                <a:cs typeface="Consolas" panose="020B0609020204030204" pitchFamily="49" charset="0"/>
              </a:rPr>
              <a:t>        ) A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Consolas" panose="020B0609020204030204" pitchFamily="49" charset="0"/>
                <a:ea typeface="+mn-ea"/>
                <a:cs typeface="Consolas" panose="020B0609020204030204" pitchFamily="49" charset="0"/>
              </a:rPr>
              <a:t>              D( customer, amoun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prstClr val="black"/>
              </a:solidFill>
              <a:effectLst/>
              <a:uLnTx/>
              <a:uFillTx/>
              <a:latin typeface="Consolas" panose="020B0609020204030204" pitchFamily="49" charset="0"/>
              <a:ea typeface="+mn-ea"/>
              <a:cs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Consolas" panose="020B0609020204030204" pitchFamily="49" charset="0"/>
                <a:ea typeface="+mn-ea"/>
                <a:cs typeface="Consolas" panose="020B0609020204030204" pitchFamily="49" charset="0"/>
              </a:rPr>
              <a:t>@b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Consolas" panose="020B0609020204030204" pitchFamily="49" charset="0"/>
                <a:ea typeface="+mn-ea"/>
                <a:cs typeface="Consolas" panose="020B0609020204030204" pitchFamily="49" charset="0"/>
              </a:rPr>
              <a:t>    REDUCE @a ON custom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Consolas" panose="020B0609020204030204" pitchFamily="49" charset="0"/>
                <a:ea typeface="+mn-ea"/>
                <a:cs typeface="Consolas" panose="020B0609020204030204" pitchFamily="49" charset="0"/>
              </a:rPr>
              <a:t>    PRODUCE customer string, amount doub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Consolas" panose="020B0609020204030204" pitchFamily="49" charset="0"/>
                <a:ea typeface="+mn-ea"/>
                <a:cs typeface="Consolas" panose="020B0609020204030204" pitchFamily="49" charset="0"/>
              </a:rPr>
              <a:t>    USING new </a:t>
            </a:r>
            <a:r>
              <a:rPr kumimoji="0" lang="en-US" b="0" i="0" u="none" strike="noStrike" kern="0" cap="none" spc="0" normalizeH="0" baseline="0" noProof="0" dirty="0" err="1">
                <a:ln>
                  <a:noFill/>
                </a:ln>
                <a:solidFill>
                  <a:prstClr val="black"/>
                </a:solidFill>
                <a:effectLst/>
                <a:uLnTx/>
                <a:uFillTx/>
                <a:latin typeface="Consolas" panose="020B0609020204030204" pitchFamily="49" charset="0"/>
                <a:ea typeface="+mn-ea"/>
                <a:cs typeface="Consolas" panose="020B0609020204030204" pitchFamily="49" charset="0"/>
              </a:rPr>
              <a:t>Extension.Python.Reducer</a:t>
            </a:r>
            <a:r>
              <a:rPr kumimoji="0" lang="en-US" b="0" i="0" u="none" strike="noStrike" kern="0" cap="none" spc="0" normalizeH="0" baseline="0" noProof="0" dirty="0">
                <a:ln>
                  <a:noFill/>
                </a:ln>
                <a:solidFill>
                  <a:prstClr val="black"/>
                </a:solidFill>
                <a:effectLst/>
                <a:uLnTx/>
                <a:uFillTx/>
                <a:latin typeface="Consolas" panose="020B0609020204030204" pitchFamily="49" charset="0"/>
                <a:ea typeface="+mn-ea"/>
                <a:cs typeface="Consolas" panose="020B0609020204030204" pitchFamily="49" charset="0"/>
              </a:rPr>
              <a:t>( </a:t>
            </a:r>
            <a:r>
              <a:rPr kumimoji="0" lang="en-US" b="0" i="0" u="none" strike="noStrike" kern="0" cap="none" spc="0" normalizeH="0" baseline="0" noProof="0" dirty="0" err="1">
                <a:ln>
                  <a:noFill/>
                </a:ln>
                <a:solidFill>
                  <a:prstClr val="black"/>
                </a:solidFill>
                <a:effectLst/>
                <a:uLnTx/>
                <a:uFillTx/>
                <a:latin typeface="Consolas" panose="020B0609020204030204" pitchFamily="49" charset="0"/>
                <a:ea typeface="+mn-ea"/>
                <a:cs typeface="Consolas" panose="020B0609020204030204" pitchFamily="49" charset="0"/>
              </a:rPr>
              <a:t>pyScript</a:t>
            </a:r>
            <a:r>
              <a:rPr kumimoji="0" lang="en-US" b="0" i="0" u="none" strike="noStrike" kern="0" cap="none" spc="0" normalizeH="0" baseline="0" noProof="0" dirty="0">
                <a:ln>
                  <a:noFill/>
                </a:ln>
                <a:solidFill>
                  <a:prstClr val="black"/>
                </a:solidFill>
                <a:effectLst/>
                <a:uLnTx/>
                <a:uFillTx/>
                <a:latin typeface="Consolas" panose="020B0609020204030204" pitchFamily="49" charset="0"/>
                <a:ea typeface="+mn-ea"/>
                <a:cs typeface="Consolas" panose="020B0609020204030204" pitchFamily="49" charset="0"/>
              </a:rPr>
              <a:t>:@</a:t>
            </a:r>
            <a:r>
              <a:rPr kumimoji="0" lang="en-US" b="0" i="0" u="none" strike="noStrike" kern="0" cap="none" spc="0" normalizeH="0" baseline="0" noProof="0" dirty="0" err="1">
                <a:ln>
                  <a:noFill/>
                </a:ln>
                <a:solidFill>
                  <a:prstClr val="black"/>
                </a:solidFill>
                <a:effectLst/>
                <a:uLnTx/>
                <a:uFillTx/>
                <a:latin typeface="Consolas" panose="020B0609020204030204" pitchFamily="49" charset="0"/>
                <a:ea typeface="+mn-ea"/>
                <a:cs typeface="Consolas" panose="020B0609020204030204" pitchFamily="49" charset="0"/>
              </a:rPr>
              <a:t>myScript</a:t>
            </a:r>
            <a:r>
              <a:rPr kumimoji="0" lang="en-US" b="0" i="0" u="none" strike="noStrike" kern="0" cap="none" spc="0" normalizeH="0" baseline="0" noProof="0" dirty="0">
                <a:ln>
                  <a:noFill/>
                </a:ln>
                <a:solidFill>
                  <a:prstClr val="black"/>
                </a:solidFill>
                <a:effectLst/>
                <a:uLnTx/>
                <a:uFillTx/>
                <a:latin typeface="Consolas" panose="020B0609020204030204" pitchFamily="49" charset="0"/>
                <a:ea typeface="+mn-ea"/>
                <a:cs typeface="Consolas" panose="020B06090202040302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prstClr val="black"/>
              </a:solidFill>
              <a:effectLst/>
              <a:uLnTx/>
              <a:uFillTx/>
              <a:latin typeface="Consolas" panose="020B0609020204030204" pitchFamily="49" charset="0"/>
              <a:ea typeface="+mn-ea"/>
              <a:cs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Consolas" panose="020B0609020204030204" pitchFamily="49" charset="0"/>
                <a:ea typeface="+mn-ea"/>
                <a:cs typeface="Consolas" panose="020B0609020204030204" pitchFamily="49" charset="0"/>
              </a:rPr>
              <a:t>OUTPUT @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Consolas" panose="020B0609020204030204" pitchFamily="49" charset="0"/>
                <a:ea typeface="+mn-ea"/>
                <a:cs typeface="Consolas" panose="020B0609020204030204" pitchFamily="49" charset="0"/>
              </a:rPr>
              <a:t>  TO "/output.csv"</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Consolas" panose="020B0609020204030204" pitchFamily="49" charset="0"/>
                <a:ea typeface="+mn-ea"/>
                <a:cs typeface="Consolas" panose="020B0609020204030204" pitchFamily="49" charset="0"/>
              </a:rPr>
              <a:t>  USING </a:t>
            </a:r>
            <a:r>
              <a:rPr kumimoji="0" lang="en-US" b="0" i="0" u="none" strike="noStrike" kern="0" cap="none" spc="0" normalizeH="0" baseline="0" noProof="0" dirty="0" err="1">
                <a:ln>
                  <a:noFill/>
                </a:ln>
                <a:solidFill>
                  <a:prstClr val="black"/>
                </a:solidFill>
                <a:effectLst/>
                <a:uLnTx/>
                <a:uFillTx/>
                <a:latin typeface="Consolas" panose="020B0609020204030204" pitchFamily="49" charset="0"/>
                <a:ea typeface="+mn-ea"/>
                <a:cs typeface="Consolas" panose="020B0609020204030204" pitchFamily="49" charset="0"/>
              </a:rPr>
              <a:t>Outputters.Csv</a:t>
            </a:r>
            <a:r>
              <a:rPr kumimoji="0" lang="en-US" b="0" i="0" u="none" strike="noStrike" kern="0" cap="none" spc="0" normalizeH="0" baseline="0" noProof="0" dirty="0">
                <a:ln>
                  <a:noFill/>
                </a:ln>
                <a:solidFill>
                  <a:prstClr val="black"/>
                </a:solidFill>
                <a:effectLst/>
                <a:uLnTx/>
                <a:uFillTx/>
                <a:latin typeface="Consolas" panose="020B0609020204030204" pitchFamily="49" charset="0"/>
                <a:ea typeface="+mn-ea"/>
                <a:cs typeface="Consolas" panose="020B0609020204030204" pitchFamily="49" charset="0"/>
              </a:rPr>
              <a:t>( </a:t>
            </a:r>
            <a:r>
              <a:rPr kumimoji="0" lang="en-US" b="0" i="0" u="none" strike="noStrike" kern="0" cap="none" spc="0" normalizeH="0" baseline="0" noProof="0" dirty="0" err="1">
                <a:ln>
                  <a:noFill/>
                </a:ln>
                <a:solidFill>
                  <a:prstClr val="black"/>
                </a:solidFill>
                <a:effectLst/>
                <a:uLnTx/>
                <a:uFillTx/>
                <a:latin typeface="Consolas" panose="020B0609020204030204" pitchFamily="49" charset="0"/>
                <a:ea typeface="+mn-ea"/>
                <a:cs typeface="Consolas" panose="020B0609020204030204" pitchFamily="49" charset="0"/>
              </a:rPr>
              <a:t>outputHeader:true</a:t>
            </a:r>
            <a:r>
              <a:rPr kumimoji="0" lang="en-US" b="0" i="0" u="none" strike="noStrike" kern="0" cap="none" spc="0" normalizeH="0" baseline="0" noProof="0" dirty="0">
                <a:ln>
                  <a:noFill/>
                </a:ln>
                <a:solidFill>
                  <a:prstClr val="black"/>
                </a:solidFill>
                <a:effectLst/>
                <a:uLnTx/>
                <a:uFillTx/>
                <a:latin typeface="Consolas" panose="020B0609020204030204" pitchFamily="49" charset="0"/>
                <a:ea typeface="+mn-ea"/>
                <a:cs typeface="Consolas" panose="020B0609020204030204" pitchFamily="49" charset="0"/>
              </a:rPr>
              <a:t> );</a:t>
            </a:r>
          </a:p>
        </p:txBody>
      </p:sp>
      <p:sp>
        <p:nvSpPr>
          <p:cNvPr id="10" name="Rectangle 9"/>
          <p:cNvSpPr/>
          <p:nvPr/>
        </p:nvSpPr>
        <p:spPr>
          <a:xfrm>
            <a:off x="8505094" y="0"/>
            <a:ext cx="3931381" cy="699452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Segoe UI Light"/>
                <a:ea typeface="+mn-ea"/>
                <a:cs typeface="+mn-cs"/>
              </a:rPr>
              <a:t>Hello World for Python in U-SQL</a:t>
            </a:r>
          </a:p>
        </p:txBody>
      </p:sp>
      <p:sp>
        <p:nvSpPr>
          <p:cNvPr id="2" name="Speech Bubble: Rectangle 1"/>
          <p:cNvSpPr/>
          <p:nvPr/>
        </p:nvSpPr>
        <p:spPr>
          <a:xfrm>
            <a:off x="6126798" y="845531"/>
            <a:ext cx="2285975" cy="1005829"/>
          </a:xfrm>
          <a:prstGeom prst="wedgeRectCallout">
            <a:avLst>
              <a:gd name="adj1" fmla="val -148054"/>
              <a:gd name="adj2" fmla="val -83468"/>
            </a:avLst>
          </a:prstGeom>
          <a:solidFill>
            <a:srgbClr val="F446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USE REFERENCE ASSEMBLY to enable the Python Extensions</a:t>
            </a:r>
          </a:p>
        </p:txBody>
      </p:sp>
      <p:sp>
        <p:nvSpPr>
          <p:cNvPr id="5" name="Speech Bubble: Rectangle 4"/>
          <p:cNvSpPr/>
          <p:nvPr/>
        </p:nvSpPr>
        <p:spPr>
          <a:xfrm>
            <a:off x="6126798" y="2079956"/>
            <a:ext cx="2285975" cy="1005829"/>
          </a:xfrm>
          <a:prstGeom prst="wedgeRectCallout">
            <a:avLst>
              <a:gd name="adj1" fmla="val -206591"/>
              <a:gd name="adj2" fmla="val -120275"/>
            </a:avLst>
          </a:prstGeom>
          <a:solidFill>
            <a:srgbClr val="F446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a:ln>
                  <a:noFill/>
                </a:ln>
                <a:solidFill>
                  <a:prstClr val="white"/>
                </a:solidFill>
                <a:effectLst/>
                <a:uLnTx/>
                <a:uFillTx/>
                <a:latin typeface="Segoe UI" panose="020B0502040204020203" pitchFamily="34" charset="0"/>
                <a:ea typeface="+mn-ea"/>
                <a:cs typeface="Segoe UI" panose="020B0502040204020203" pitchFamily="34" charset="0"/>
              </a:rPr>
              <a:t>usql_main</a:t>
            </a:r>
            <a:r>
              <a:rPr kumimoji="0" lang="en-US" sz="1400" b="0"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 accepts a pandas </a:t>
            </a:r>
            <a:r>
              <a:rPr kumimoji="0" lang="en-US" sz="1400" b="0" i="0" u="none" strike="noStrike" kern="0" cap="none" spc="0" normalizeH="0" baseline="0" noProof="0" dirty="0" err="1">
                <a:ln>
                  <a:noFill/>
                </a:ln>
                <a:solidFill>
                  <a:prstClr val="white"/>
                </a:solidFill>
                <a:effectLst/>
                <a:uLnTx/>
                <a:uFillTx/>
                <a:latin typeface="Segoe UI" panose="020B0502040204020203" pitchFamily="34" charset="0"/>
                <a:ea typeface="+mn-ea"/>
                <a:cs typeface="Segoe UI" panose="020B0502040204020203" pitchFamily="34" charset="0"/>
              </a:rPr>
              <a:t>DataFrame</a:t>
            </a:r>
            <a:r>
              <a:rPr kumimoji="0" lang="en-US" sz="1400" b="0"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 as input and returns a </a:t>
            </a:r>
            <a:r>
              <a:rPr kumimoji="0" lang="en-US" sz="1400" b="0" i="0" u="none" strike="noStrike" kern="0" cap="none" spc="0" normalizeH="0" baseline="0" noProof="0" dirty="0" err="1">
                <a:ln>
                  <a:noFill/>
                </a:ln>
                <a:solidFill>
                  <a:prstClr val="white"/>
                </a:solidFill>
                <a:effectLst/>
                <a:uLnTx/>
                <a:uFillTx/>
                <a:latin typeface="Segoe UI" panose="020B0502040204020203" pitchFamily="34" charset="0"/>
                <a:ea typeface="+mn-ea"/>
                <a:cs typeface="Segoe UI" panose="020B0502040204020203" pitchFamily="34" charset="0"/>
              </a:rPr>
              <a:t>DataFrame</a:t>
            </a:r>
            <a:r>
              <a:rPr kumimoji="0" lang="en-US" sz="1400" b="0"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 as output</a:t>
            </a:r>
          </a:p>
        </p:txBody>
      </p:sp>
      <p:sp>
        <p:nvSpPr>
          <p:cNvPr id="6" name="Speech Bubble: Rectangle 5"/>
          <p:cNvSpPr/>
          <p:nvPr/>
        </p:nvSpPr>
        <p:spPr>
          <a:xfrm>
            <a:off x="6126797" y="3314633"/>
            <a:ext cx="2285975" cy="1005829"/>
          </a:xfrm>
          <a:prstGeom prst="wedgeRectCallout">
            <a:avLst>
              <a:gd name="adj1" fmla="val -135992"/>
              <a:gd name="adj2" fmla="val 80958"/>
            </a:avLst>
          </a:prstGeom>
          <a:solidFill>
            <a:srgbClr val="F446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Use a REDUCE statement to partition on a key</a:t>
            </a:r>
          </a:p>
        </p:txBody>
      </p:sp>
      <p:sp>
        <p:nvSpPr>
          <p:cNvPr id="7" name="Speech Bubble: Rectangle 6"/>
          <p:cNvSpPr/>
          <p:nvPr/>
        </p:nvSpPr>
        <p:spPr>
          <a:xfrm>
            <a:off x="8229895" y="4549058"/>
            <a:ext cx="2285975" cy="1005829"/>
          </a:xfrm>
          <a:prstGeom prst="wedgeRectCallout">
            <a:avLst>
              <a:gd name="adj1" fmla="val -166308"/>
              <a:gd name="adj2" fmla="val 9410"/>
            </a:avLst>
          </a:prstGeom>
          <a:solidFill>
            <a:srgbClr val="F446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Specify output Schema. Python code MUST output this schema in the </a:t>
            </a:r>
            <a:r>
              <a:rPr kumimoji="0" lang="en-US" sz="1400" b="0" i="0" u="none" strike="noStrike" kern="0" cap="none" spc="0" normalizeH="0" baseline="0" noProof="0" dirty="0" err="1">
                <a:ln>
                  <a:noFill/>
                </a:ln>
                <a:solidFill>
                  <a:prstClr val="white"/>
                </a:solidFill>
                <a:effectLst/>
                <a:uLnTx/>
                <a:uFillTx/>
                <a:latin typeface="Segoe UI" panose="020B0502040204020203" pitchFamily="34" charset="0"/>
                <a:ea typeface="+mn-ea"/>
                <a:cs typeface="Segoe UI" panose="020B0502040204020203" pitchFamily="34" charset="0"/>
              </a:rPr>
              <a:t>DataFrame</a:t>
            </a:r>
            <a:endParaRPr kumimoji="0" lang="en-US" sz="1400" b="0"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8" name="Speech Bubble: Rectangle 7"/>
          <p:cNvSpPr/>
          <p:nvPr/>
        </p:nvSpPr>
        <p:spPr>
          <a:xfrm>
            <a:off x="8229895" y="5783483"/>
            <a:ext cx="2285975" cy="1005829"/>
          </a:xfrm>
          <a:prstGeom prst="wedgeRectCallout">
            <a:avLst>
              <a:gd name="adj1" fmla="val -200261"/>
              <a:gd name="adj2" fmla="val -49205"/>
            </a:avLst>
          </a:prstGeom>
          <a:solidFill>
            <a:srgbClr val="F446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Use </a:t>
            </a:r>
            <a:r>
              <a:rPr kumimoji="0" lang="en-US" sz="1400" b="0" i="0" u="none" strike="noStrike" kern="0" cap="none" spc="0" normalizeH="0" baseline="0" noProof="0" dirty="0" err="1">
                <a:ln>
                  <a:noFill/>
                </a:ln>
                <a:solidFill>
                  <a:prstClr val="white"/>
                </a:solidFill>
                <a:effectLst/>
                <a:uLnTx/>
                <a:uFillTx/>
                <a:latin typeface="Segoe UI" panose="020B0502040204020203" pitchFamily="34" charset="0"/>
                <a:ea typeface="+mn-ea"/>
                <a:cs typeface="Segoe UI" panose="020B0502040204020203" pitchFamily="34" charset="0"/>
              </a:rPr>
              <a:t>Extension.Python.Reducer</a:t>
            </a:r>
            <a:r>
              <a:rPr kumimoji="0" lang="en-US" sz="1400" b="0"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 and pass in the script text.</a:t>
            </a:r>
          </a:p>
        </p:txBody>
      </p:sp>
    </p:spTree>
    <p:extLst>
      <p:ext uri="{BB962C8B-B14F-4D97-AF65-F5344CB8AC3E}">
        <p14:creationId xmlns:p14="http://schemas.microsoft.com/office/powerpoint/2010/main" val="8234944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41428" y="1748631"/>
            <a:ext cx="11553619" cy="3885847"/>
            <a:chOff x="579474" y="3009902"/>
            <a:chExt cx="13593728" cy="4572002"/>
          </a:xfrm>
        </p:grpSpPr>
        <p:sp>
          <p:nvSpPr>
            <p:cNvPr id="4" name="Title 1"/>
            <p:cNvSpPr txBox="1">
              <a:spLocks/>
            </p:cNvSpPr>
            <p:nvPr/>
          </p:nvSpPr>
          <p:spPr>
            <a:xfrm>
              <a:off x="632638" y="3286128"/>
              <a:ext cx="13540564" cy="1781176"/>
            </a:xfrm>
            <a:prstGeom prst="rect">
              <a:avLst/>
            </a:prstGeom>
            <a:noFill/>
          </p:spPr>
          <p:txBody>
            <a:bodyPr vert="horz" lIns="77717" tIns="38858" rIns="77717" bIns="38858" rtlCol="0" anchor="ctr">
              <a:normAutofit/>
            </a:bodyPr>
            <a:lst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a:lstStyle>
            <a:p>
              <a:pPr defTabSz="1119116">
                <a:defRPr/>
              </a:pPr>
              <a:r>
                <a:rPr lang="en-US" sz="2720" dirty="0">
                  <a:solidFill>
                    <a:srgbClr val="505050"/>
                  </a:solidFill>
                  <a:latin typeface="Segoe UI Light"/>
                </a:rPr>
                <a:t>Analytics</a:t>
              </a:r>
            </a:p>
          </p:txBody>
        </p:sp>
        <p:sp>
          <p:nvSpPr>
            <p:cNvPr id="5" name="Title 1"/>
            <p:cNvSpPr txBox="1">
              <a:spLocks/>
            </p:cNvSpPr>
            <p:nvPr/>
          </p:nvSpPr>
          <p:spPr>
            <a:xfrm>
              <a:off x="579474" y="5524503"/>
              <a:ext cx="13540564" cy="1781176"/>
            </a:xfrm>
            <a:prstGeom prst="rect">
              <a:avLst/>
            </a:prstGeom>
            <a:noFill/>
          </p:spPr>
          <p:txBody>
            <a:bodyPr vert="horz" lIns="77717" tIns="38858" rIns="77717" bIns="38858" rtlCol="0" anchor="ctr">
              <a:normAutofit/>
            </a:bodyPr>
            <a:lstStyle>
              <a:defPPr>
                <a:defRPr lang="en-US"/>
              </a:defPPr>
              <a:lvl1pPr marR="0" lvl="0" indent="0" fontAlgn="auto">
                <a:lnSpc>
                  <a:spcPct val="90000"/>
                </a:lnSpc>
                <a:spcBef>
                  <a:spcPct val="0"/>
                </a:spcBef>
                <a:spcAft>
                  <a:spcPts val="0"/>
                </a:spcAft>
                <a:buClrTx/>
                <a:buSzTx/>
                <a:buFontTx/>
                <a:buNone/>
                <a:tabLst/>
                <a:defRPr kumimoji="0" sz="3200" b="0" i="0" u="none" strike="noStrike" cap="none" spc="0" normalizeH="0" baseline="0">
                  <a:ln>
                    <a:noFill/>
                  </a:ln>
                  <a:solidFill>
                    <a:prstClr val="white"/>
                  </a:solidFill>
                  <a:effectLst/>
                  <a:uLnTx/>
                  <a:uFillTx/>
                  <a:latin typeface="Segoe UI Light"/>
                  <a:ea typeface="+mj-ea"/>
                  <a:cs typeface="+mj-cs"/>
                </a:defRPr>
              </a:lvl1pPr>
            </a:lstStyle>
            <a:p>
              <a:pPr defTabSz="932597">
                <a:defRPr/>
              </a:pPr>
              <a:r>
                <a:rPr lang="en-US" sz="2720" dirty="0">
                  <a:solidFill>
                    <a:srgbClr val="505050"/>
                  </a:solidFill>
                </a:rPr>
                <a:t>Storage</a:t>
              </a:r>
            </a:p>
          </p:txBody>
        </p:sp>
        <p:sp>
          <p:nvSpPr>
            <p:cNvPr id="6" name="Title 1"/>
            <p:cNvSpPr txBox="1">
              <a:spLocks/>
            </p:cNvSpPr>
            <p:nvPr/>
          </p:nvSpPr>
          <p:spPr>
            <a:xfrm>
              <a:off x="3685422" y="3286126"/>
              <a:ext cx="4417120" cy="1781176"/>
            </a:xfrm>
            <a:prstGeom prst="rect">
              <a:avLst/>
            </a:prstGeom>
            <a:solidFill>
              <a:schemeClr val="accent1"/>
            </a:solidFill>
            <a:effectLst/>
          </p:spPr>
          <p:txBody>
            <a:bodyPr vert="horz" lIns="77717" tIns="38858" rIns="77717" bIns="38858" rtlCol="0" anchor="ctr">
              <a:normAutofit/>
            </a:bodyPr>
            <a:lst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a:lstStyle>
            <a:p>
              <a:pPr algn="ctr" defTabSz="1119116">
                <a:defRPr/>
              </a:pPr>
              <a:r>
                <a:rPr lang="en-US" sz="2379" dirty="0">
                  <a:solidFill>
                    <a:prstClr val="white"/>
                  </a:solidFill>
                  <a:latin typeface="Segoe UI Light"/>
                </a:rPr>
                <a:t>HDInsight</a:t>
              </a:r>
            </a:p>
            <a:p>
              <a:pPr algn="ctr" defTabSz="1119116">
                <a:defRPr/>
              </a:pPr>
              <a:r>
                <a:rPr lang="en-US" sz="1530" dirty="0">
                  <a:solidFill>
                    <a:prstClr val="white"/>
                  </a:solidFill>
                  <a:latin typeface="Segoe UI Light"/>
                </a:rPr>
                <a:t>(“managed clusters”)</a:t>
              </a:r>
            </a:p>
            <a:p>
              <a:pPr algn="ctr" defTabSz="1119116">
                <a:defRPr/>
              </a:pPr>
              <a:endParaRPr lang="en-US" sz="1530" dirty="0">
                <a:solidFill>
                  <a:prstClr val="white"/>
                </a:solidFill>
                <a:latin typeface="Segoe UI Light"/>
              </a:endParaRPr>
            </a:p>
            <a:p>
              <a:pPr algn="ctr" defTabSz="1119116">
                <a:defRPr/>
              </a:pPr>
              <a:endParaRPr lang="en-US" sz="1530" dirty="0">
                <a:solidFill>
                  <a:prstClr val="white"/>
                </a:solidFill>
                <a:latin typeface="Segoe UI Light"/>
              </a:endParaRPr>
            </a:p>
          </p:txBody>
        </p:sp>
        <p:sp>
          <p:nvSpPr>
            <p:cNvPr id="7" name="Title 1"/>
            <p:cNvSpPr txBox="1">
              <a:spLocks/>
            </p:cNvSpPr>
            <p:nvPr/>
          </p:nvSpPr>
          <p:spPr>
            <a:xfrm>
              <a:off x="8486022" y="3286126"/>
              <a:ext cx="4417120" cy="1781176"/>
            </a:xfrm>
            <a:prstGeom prst="rect">
              <a:avLst/>
            </a:prstGeom>
            <a:solidFill>
              <a:schemeClr val="accent1"/>
            </a:solidFill>
            <a:effectLst/>
          </p:spPr>
          <p:txBody>
            <a:bodyPr vert="horz" lIns="77717" tIns="38858" rIns="77717" bIns="38858" rtlCol="0" anchor="ctr">
              <a:normAutofit/>
            </a:bodyPr>
            <a:lst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a:lstStyle>
            <a:p>
              <a:pPr algn="ctr" defTabSz="1119116">
                <a:defRPr/>
              </a:pPr>
              <a:r>
                <a:rPr lang="en-US" sz="2379" dirty="0">
                  <a:solidFill>
                    <a:prstClr val="white"/>
                  </a:solidFill>
                  <a:latin typeface="Segoe UI Light"/>
                </a:rPr>
                <a:t>Azure Data Lake </a:t>
              </a:r>
              <a:r>
                <a:rPr lang="en-US" sz="2379" dirty="0">
                  <a:solidFill>
                    <a:prstClr val="white"/>
                  </a:solidFill>
                  <a:latin typeface="Segoe UI Semibold" panose="020B0702040204020203" pitchFamily="34" charset="0"/>
                  <a:cs typeface="Segoe UI Semibold" panose="020B0702040204020203" pitchFamily="34" charset="0"/>
                </a:rPr>
                <a:t>Analytics</a:t>
              </a:r>
            </a:p>
            <a:p>
              <a:pPr algn="ctr" defTabSz="1119116">
                <a:defRPr/>
              </a:pPr>
              <a:endParaRPr lang="en-US" sz="2379" dirty="0">
                <a:solidFill>
                  <a:prstClr val="white"/>
                </a:solidFill>
                <a:latin typeface="Segoe UI Semibold" panose="020B0702040204020203" pitchFamily="34" charset="0"/>
                <a:cs typeface="Segoe UI Semibold" panose="020B0702040204020203" pitchFamily="34" charset="0"/>
              </a:endParaRPr>
            </a:p>
            <a:p>
              <a:pPr algn="ctr" defTabSz="1119116">
                <a:defRPr/>
              </a:pPr>
              <a:endParaRPr lang="en-US" sz="2379" dirty="0">
                <a:solidFill>
                  <a:prstClr val="white"/>
                </a:solidFill>
                <a:latin typeface="Segoe UI Semibold" panose="020B0702040204020203" pitchFamily="34" charset="0"/>
                <a:cs typeface="Segoe UI Semibold" panose="020B0702040204020203" pitchFamily="34" charset="0"/>
              </a:endParaRPr>
            </a:p>
          </p:txBody>
        </p:sp>
        <p:sp>
          <p:nvSpPr>
            <p:cNvPr id="9" name="Title 1"/>
            <p:cNvSpPr txBox="1">
              <a:spLocks/>
            </p:cNvSpPr>
            <p:nvPr/>
          </p:nvSpPr>
          <p:spPr>
            <a:xfrm>
              <a:off x="6400800" y="5524502"/>
              <a:ext cx="4417120" cy="1781176"/>
            </a:xfrm>
            <a:prstGeom prst="rect">
              <a:avLst/>
            </a:prstGeom>
            <a:solidFill>
              <a:schemeClr val="accent2"/>
            </a:solidFill>
            <a:effectLst/>
          </p:spPr>
          <p:txBody>
            <a:bodyPr vert="horz" lIns="77717" tIns="38858" rIns="77717" bIns="38858" rtlCol="0" anchor="ctr">
              <a:normAutofit/>
            </a:bodyPr>
            <a:lst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a:lstStyle>
            <a:p>
              <a:pPr algn="ctr" defTabSz="1119116">
                <a:defRPr/>
              </a:pPr>
              <a:r>
                <a:rPr lang="en-US" sz="2379" dirty="0">
                  <a:solidFill>
                    <a:prstClr val="white"/>
                  </a:solidFill>
                  <a:latin typeface="Segoe UI Light"/>
                </a:rPr>
                <a:t>Azure Data Lake </a:t>
              </a:r>
              <a:r>
                <a:rPr lang="en-US" sz="2379" dirty="0">
                  <a:solidFill>
                    <a:prstClr val="white"/>
                  </a:solidFill>
                  <a:latin typeface="Segoe UI Semibold" panose="020B0702040204020203" pitchFamily="34" charset="0"/>
                  <a:cs typeface="Segoe UI Semibold" panose="020B0702040204020203" pitchFamily="34" charset="0"/>
                </a:rPr>
                <a:t>Storage</a:t>
              </a:r>
            </a:p>
            <a:p>
              <a:pPr algn="ctr" defTabSz="1119116">
                <a:defRPr/>
              </a:pPr>
              <a:endParaRPr lang="en-US" sz="2379" dirty="0">
                <a:solidFill>
                  <a:prstClr val="white"/>
                </a:solidFill>
                <a:latin typeface="Segoe UI Semibold" panose="020B0702040204020203" pitchFamily="34" charset="0"/>
                <a:cs typeface="Segoe UI Semibold" panose="020B0702040204020203" pitchFamily="34" charset="0"/>
              </a:endParaRPr>
            </a:p>
            <a:p>
              <a:pPr algn="ctr" defTabSz="1119116">
                <a:defRPr/>
              </a:pPr>
              <a:endParaRPr lang="en-US" sz="2379" dirty="0">
                <a:solidFill>
                  <a:prstClr val="white"/>
                </a:solidFill>
                <a:latin typeface="Segoe UI Semibold" panose="020B0702040204020203" pitchFamily="34" charset="0"/>
                <a:cs typeface="Segoe UI Semibold" panose="020B0702040204020203" pitchFamily="34" charset="0"/>
              </a:endParaRPr>
            </a:p>
          </p:txBody>
        </p:sp>
        <p:sp>
          <p:nvSpPr>
            <p:cNvPr id="10" name="Rectangle 9"/>
            <p:cNvSpPr/>
            <p:nvPr/>
          </p:nvSpPr>
          <p:spPr>
            <a:xfrm>
              <a:off x="3430552" y="3009902"/>
              <a:ext cx="10056848" cy="4572002"/>
            </a:xfrm>
            <a:prstGeom prst="rect">
              <a:avLst/>
            </a:prstGeom>
            <a:noFill/>
            <a:ln w="76200">
              <a:solidFill>
                <a:schemeClr val="bg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530">
                <a:solidFill>
                  <a:prstClr val="white"/>
                </a:solidFill>
                <a:latin typeface="Segoe UI"/>
              </a:endParaRPr>
            </a:p>
          </p:txBody>
        </p:sp>
        <p:sp>
          <p:nvSpPr>
            <p:cNvPr id="11" name="Left Brace 10"/>
            <p:cNvSpPr/>
            <p:nvPr/>
          </p:nvSpPr>
          <p:spPr>
            <a:xfrm>
              <a:off x="2514600" y="3286126"/>
              <a:ext cx="685800" cy="1781176"/>
            </a:xfrm>
            <a:prstGeom prst="leftBrace">
              <a:avLst>
                <a:gd name="adj1" fmla="val 53049"/>
                <a:gd name="adj2" fmla="val 50000"/>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530">
                <a:solidFill>
                  <a:srgbClr val="505050"/>
                </a:solidFill>
                <a:latin typeface="Segoe UI"/>
              </a:endParaRPr>
            </a:p>
          </p:txBody>
        </p:sp>
        <p:sp>
          <p:nvSpPr>
            <p:cNvPr id="13" name="Left Brace 12"/>
            <p:cNvSpPr/>
            <p:nvPr/>
          </p:nvSpPr>
          <p:spPr>
            <a:xfrm>
              <a:off x="2514600" y="5524499"/>
              <a:ext cx="685800" cy="1781176"/>
            </a:xfrm>
            <a:prstGeom prst="leftBrace">
              <a:avLst>
                <a:gd name="adj1" fmla="val 53049"/>
                <a:gd name="adj2" fmla="val 50000"/>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530">
                <a:solidFill>
                  <a:srgbClr val="505050"/>
                </a:solidFill>
                <a:latin typeface="Segoe UI"/>
              </a:endParaRPr>
            </a:p>
          </p:txBody>
        </p:sp>
      </p:grpSp>
      <p:sp>
        <p:nvSpPr>
          <p:cNvPr id="15" name="Title 1"/>
          <p:cNvSpPr>
            <a:spLocks noGrp="1"/>
          </p:cNvSpPr>
          <p:nvPr>
            <p:ph type="title"/>
          </p:nvPr>
        </p:nvSpPr>
        <p:spPr>
          <a:xfrm>
            <a:off x="275163" y="292082"/>
            <a:ext cx="11885514" cy="946413"/>
          </a:xfrm>
        </p:spPr>
        <p:txBody>
          <a:bodyPr/>
          <a:lstStyle/>
          <a:p>
            <a:r>
              <a:rPr lang="en-US" dirty="0"/>
              <a:t>Azure Data Lake</a:t>
            </a:r>
          </a:p>
        </p:txBody>
      </p:sp>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23967" y="2611548"/>
            <a:ext cx="838699" cy="838699"/>
          </a:xfrm>
          <a:prstGeom prst="rect">
            <a:avLst/>
          </a:prstGeom>
        </p:spPr>
      </p:pic>
      <p:pic>
        <p:nvPicPr>
          <p:cNvPr id="17" name="Picture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61878" y="2792797"/>
            <a:ext cx="770290" cy="557796"/>
          </a:xfrm>
          <a:prstGeom prst="rect">
            <a:avLst/>
          </a:prstGeom>
        </p:spPr>
      </p:pic>
      <p:grpSp>
        <p:nvGrpSpPr>
          <p:cNvPr id="12" name="Group 11"/>
          <p:cNvGrpSpPr/>
          <p:nvPr/>
        </p:nvGrpSpPr>
        <p:grpSpPr>
          <a:xfrm>
            <a:off x="6761004" y="4483557"/>
            <a:ext cx="1010412" cy="767281"/>
            <a:chOff x="6628173" y="4396043"/>
            <a:chExt cx="990690" cy="752305"/>
          </a:xfrm>
        </p:grpSpPr>
        <p:sp>
          <p:nvSpPr>
            <p:cNvPr id="18" name="Freeform 17"/>
            <p:cNvSpPr/>
            <p:nvPr/>
          </p:nvSpPr>
          <p:spPr bwMode="auto">
            <a:xfrm>
              <a:off x="6628173" y="4396043"/>
              <a:ext cx="990690" cy="752305"/>
            </a:xfrm>
            <a:custGeom>
              <a:avLst/>
              <a:gdLst>
                <a:gd name="connsiteX0" fmla="*/ 6673 w 990690"/>
                <a:gd name="connsiteY0" fmla="*/ 147731 h 752305"/>
                <a:gd name="connsiteX1" fmla="*/ 984017 w 990690"/>
                <a:gd name="connsiteY1" fmla="*/ 147731 h 752305"/>
                <a:gd name="connsiteX2" fmla="*/ 990312 w 990690"/>
                <a:gd name="connsiteY2" fmla="*/ 153489 h 752305"/>
                <a:gd name="connsiteX3" fmla="*/ 990357 w 990690"/>
                <a:gd name="connsiteY3" fmla="*/ 153489 h 752305"/>
                <a:gd name="connsiteX4" fmla="*/ 990400 w 990690"/>
                <a:gd name="connsiteY4" fmla="*/ 153702 h 752305"/>
                <a:gd name="connsiteX5" fmla="*/ 990690 w 990690"/>
                <a:gd name="connsiteY5" fmla="*/ 154404 h 752305"/>
                <a:gd name="connsiteX6" fmla="*/ 990690 w 990690"/>
                <a:gd name="connsiteY6" fmla="*/ 155142 h 752305"/>
                <a:gd name="connsiteX7" fmla="*/ 990690 w 990690"/>
                <a:gd name="connsiteY7" fmla="*/ 167750 h 752305"/>
                <a:gd name="connsiteX8" fmla="*/ 990690 w 990690"/>
                <a:gd name="connsiteY8" fmla="*/ 730287 h 752305"/>
                <a:gd name="connsiteX9" fmla="*/ 968672 w 990690"/>
                <a:gd name="connsiteY9" fmla="*/ 752305 h 752305"/>
                <a:gd name="connsiteX10" fmla="*/ 22018 w 990690"/>
                <a:gd name="connsiteY10" fmla="*/ 752305 h 752305"/>
                <a:gd name="connsiteX11" fmla="*/ 0 w 990690"/>
                <a:gd name="connsiteY11" fmla="*/ 730287 h 752305"/>
                <a:gd name="connsiteX12" fmla="*/ 0 w 990690"/>
                <a:gd name="connsiteY12" fmla="*/ 167750 h 752305"/>
                <a:gd name="connsiteX13" fmla="*/ 0 w 990690"/>
                <a:gd name="connsiteY13" fmla="*/ 155142 h 752305"/>
                <a:gd name="connsiteX14" fmla="*/ 0 w 990690"/>
                <a:gd name="connsiteY14" fmla="*/ 154404 h 752305"/>
                <a:gd name="connsiteX15" fmla="*/ 291 w 990690"/>
                <a:gd name="connsiteY15" fmla="*/ 153701 h 752305"/>
                <a:gd name="connsiteX16" fmla="*/ 334 w 990690"/>
                <a:gd name="connsiteY16" fmla="*/ 153489 h 752305"/>
                <a:gd name="connsiteX17" fmla="*/ 379 w 990690"/>
                <a:gd name="connsiteY17" fmla="*/ 153489 h 752305"/>
                <a:gd name="connsiteX18" fmla="*/ 6673 w 990690"/>
                <a:gd name="connsiteY18" fmla="*/ 147731 h 752305"/>
                <a:gd name="connsiteX19" fmla="*/ 109998 w 990690"/>
                <a:gd name="connsiteY19" fmla="*/ 0 h 752305"/>
                <a:gd name="connsiteX20" fmla="*/ 413872 w 990690"/>
                <a:gd name="connsiteY20" fmla="*/ 0 h 752305"/>
                <a:gd name="connsiteX21" fmla="*/ 445368 w 990690"/>
                <a:gd name="connsiteY21" fmla="*/ 31495 h 752305"/>
                <a:gd name="connsiteX22" fmla="*/ 445368 w 990690"/>
                <a:gd name="connsiteY22" fmla="*/ 90138 h 752305"/>
                <a:gd name="connsiteX23" fmla="*/ 937888 w 990690"/>
                <a:gd name="connsiteY23" fmla="*/ 90138 h 752305"/>
                <a:gd name="connsiteX24" fmla="*/ 946904 w 990690"/>
                <a:gd name="connsiteY24" fmla="*/ 99155 h 752305"/>
                <a:gd name="connsiteX25" fmla="*/ 946904 w 990690"/>
                <a:gd name="connsiteY25" fmla="*/ 132850 h 752305"/>
                <a:gd name="connsiteX26" fmla="*/ 44447 w 990690"/>
                <a:gd name="connsiteY26" fmla="*/ 132850 h 752305"/>
                <a:gd name="connsiteX27" fmla="*/ 44447 w 990690"/>
                <a:gd name="connsiteY27" fmla="*/ 99155 h 752305"/>
                <a:gd name="connsiteX28" fmla="*/ 53463 w 990690"/>
                <a:gd name="connsiteY28" fmla="*/ 90138 h 752305"/>
                <a:gd name="connsiteX29" fmla="*/ 78502 w 990690"/>
                <a:gd name="connsiteY29" fmla="*/ 90138 h 752305"/>
                <a:gd name="connsiteX30" fmla="*/ 78502 w 990690"/>
                <a:gd name="connsiteY30" fmla="*/ 31495 h 752305"/>
                <a:gd name="connsiteX31" fmla="*/ 109998 w 990690"/>
                <a:gd name="connsiteY31" fmla="*/ 0 h 752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90690" h="752305">
                  <a:moveTo>
                    <a:pt x="6673" y="147731"/>
                  </a:moveTo>
                  <a:lnTo>
                    <a:pt x="984017" y="147731"/>
                  </a:lnTo>
                  <a:cubicBezTo>
                    <a:pt x="987377" y="147731"/>
                    <a:pt x="990157" y="150214"/>
                    <a:pt x="990312" y="153489"/>
                  </a:cubicBezTo>
                  <a:lnTo>
                    <a:pt x="990357" y="153489"/>
                  </a:lnTo>
                  <a:lnTo>
                    <a:pt x="990400" y="153702"/>
                  </a:lnTo>
                  <a:cubicBezTo>
                    <a:pt x="990677" y="153914"/>
                    <a:pt x="990690" y="154158"/>
                    <a:pt x="990690" y="154404"/>
                  </a:cubicBezTo>
                  <a:lnTo>
                    <a:pt x="990690" y="155142"/>
                  </a:lnTo>
                  <a:lnTo>
                    <a:pt x="990690" y="167750"/>
                  </a:lnTo>
                  <a:lnTo>
                    <a:pt x="990690" y="730287"/>
                  </a:lnTo>
                  <a:cubicBezTo>
                    <a:pt x="990690" y="742447"/>
                    <a:pt x="980832" y="752305"/>
                    <a:pt x="968672" y="752305"/>
                  </a:cubicBezTo>
                  <a:lnTo>
                    <a:pt x="22018" y="752305"/>
                  </a:lnTo>
                  <a:cubicBezTo>
                    <a:pt x="9858" y="752305"/>
                    <a:pt x="0" y="742447"/>
                    <a:pt x="0" y="730287"/>
                  </a:cubicBezTo>
                  <a:lnTo>
                    <a:pt x="0" y="167750"/>
                  </a:lnTo>
                  <a:lnTo>
                    <a:pt x="0" y="155142"/>
                  </a:lnTo>
                  <a:lnTo>
                    <a:pt x="0" y="154404"/>
                  </a:lnTo>
                  <a:lnTo>
                    <a:pt x="291" y="153701"/>
                  </a:lnTo>
                  <a:lnTo>
                    <a:pt x="334" y="153489"/>
                  </a:lnTo>
                  <a:lnTo>
                    <a:pt x="379" y="153489"/>
                  </a:lnTo>
                  <a:cubicBezTo>
                    <a:pt x="533" y="150214"/>
                    <a:pt x="3313" y="147731"/>
                    <a:pt x="6673" y="147731"/>
                  </a:cubicBezTo>
                  <a:close/>
                  <a:moveTo>
                    <a:pt x="109998" y="0"/>
                  </a:moveTo>
                  <a:lnTo>
                    <a:pt x="413872" y="0"/>
                  </a:lnTo>
                  <a:cubicBezTo>
                    <a:pt x="431267" y="0"/>
                    <a:pt x="445368" y="14101"/>
                    <a:pt x="445368" y="31495"/>
                  </a:cubicBezTo>
                  <a:lnTo>
                    <a:pt x="445368" y="90138"/>
                  </a:lnTo>
                  <a:lnTo>
                    <a:pt x="937888" y="90138"/>
                  </a:lnTo>
                  <a:cubicBezTo>
                    <a:pt x="942868" y="90138"/>
                    <a:pt x="946904" y="94175"/>
                    <a:pt x="946904" y="99155"/>
                  </a:cubicBezTo>
                  <a:lnTo>
                    <a:pt x="946904" y="132850"/>
                  </a:lnTo>
                  <a:lnTo>
                    <a:pt x="44447" y="132850"/>
                  </a:lnTo>
                  <a:lnTo>
                    <a:pt x="44447" y="99155"/>
                  </a:lnTo>
                  <a:cubicBezTo>
                    <a:pt x="44447" y="94175"/>
                    <a:pt x="48484" y="90138"/>
                    <a:pt x="53463" y="90138"/>
                  </a:cubicBezTo>
                  <a:lnTo>
                    <a:pt x="78502" y="90138"/>
                  </a:lnTo>
                  <a:lnTo>
                    <a:pt x="78502" y="31495"/>
                  </a:lnTo>
                  <a:cubicBezTo>
                    <a:pt x="78502" y="14101"/>
                    <a:pt x="92603" y="0"/>
                    <a:pt x="109998"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GB" sz="2040" b="1" dirty="0">
                <a:solidFill>
                  <a:srgbClr val="FFFFFF"/>
                </a:solidFill>
                <a:latin typeface="Segoe UI Light"/>
                <a:ea typeface="Segoe UI" pitchFamily="34" charset="0"/>
                <a:cs typeface="Segoe UI" pitchFamily="34" charset="0"/>
              </a:endParaRPr>
            </a:p>
          </p:txBody>
        </p:sp>
        <p:sp>
          <p:nvSpPr>
            <p:cNvPr id="19" name="Freeform 18"/>
            <p:cNvSpPr/>
            <p:nvPr/>
          </p:nvSpPr>
          <p:spPr bwMode="auto">
            <a:xfrm rot="12373696">
              <a:off x="7033511" y="4584358"/>
              <a:ext cx="180012" cy="552664"/>
            </a:xfrm>
            <a:custGeom>
              <a:avLst/>
              <a:gdLst>
                <a:gd name="connsiteX0" fmla="*/ 200290 w 285509"/>
                <a:gd name="connsiteY0" fmla="*/ 552664 h 552664"/>
                <a:gd name="connsiteX1" fmla="*/ 118129 w 285509"/>
                <a:gd name="connsiteY1" fmla="*/ 360121 h 552664"/>
                <a:gd name="connsiteX2" fmla="*/ 0 w 285509"/>
                <a:gd name="connsiteY2" fmla="*/ 360121 h 552664"/>
                <a:gd name="connsiteX3" fmla="*/ 109094 w 285509"/>
                <a:gd name="connsiteY3" fmla="*/ 0 h 552664"/>
                <a:gd name="connsiteX4" fmla="*/ 167865 w 285509"/>
                <a:gd name="connsiteY4" fmla="*/ 194005 h 552664"/>
                <a:gd name="connsiteX5" fmla="*/ 285509 w 285509"/>
                <a:gd name="connsiteY5" fmla="*/ 183602 h 552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509" h="552664">
                  <a:moveTo>
                    <a:pt x="200290" y="552664"/>
                  </a:moveTo>
                  <a:lnTo>
                    <a:pt x="118129" y="360121"/>
                  </a:lnTo>
                  <a:lnTo>
                    <a:pt x="0" y="360121"/>
                  </a:lnTo>
                  <a:lnTo>
                    <a:pt x="109094" y="0"/>
                  </a:lnTo>
                  <a:lnTo>
                    <a:pt x="167865" y="194005"/>
                  </a:lnTo>
                  <a:lnTo>
                    <a:pt x="285509" y="183602"/>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GB" sz="2040" b="1" dirty="0">
                <a:solidFill>
                  <a:srgbClr val="FFFFFF"/>
                </a:solidFill>
                <a:latin typeface="Segoe UI Light"/>
                <a:ea typeface="Segoe UI" pitchFamily="34" charset="0"/>
                <a:cs typeface="Segoe UI" pitchFamily="34" charset="0"/>
              </a:endParaRPr>
            </a:p>
          </p:txBody>
        </p:sp>
      </p:grpSp>
      <p:sp>
        <p:nvSpPr>
          <p:cNvPr id="2" name="Slide Number Placeholder 1"/>
          <p:cNvSpPr>
            <a:spLocks noGrp="1"/>
          </p:cNvSpPr>
          <p:nvPr>
            <p:ph type="sldNum" sz="quarter" idx="4"/>
          </p:nvPr>
        </p:nvSpPr>
        <p:spPr/>
        <p:txBody>
          <a:bodyPr/>
          <a:lstStyle/>
          <a:p>
            <a:pPr defTabSz="932597">
              <a:defRPr/>
            </a:pPr>
            <a:fld id="{75FAD755-3BD0-2447-A9DF-109DAABEFD99}" type="slidenum">
              <a:rPr lang="en-US" sz="1836">
                <a:solidFill>
                  <a:prstClr val="black"/>
                </a:solidFill>
                <a:latin typeface="Calibri" panose="020F0502020204030204"/>
              </a:rPr>
              <a:pPr defTabSz="932597">
                <a:defRPr/>
              </a:pPr>
              <a:t>5</a:t>
            </a:fld>
            <a:endParaRPr lang="en-US" sz="1836" dirty="0">
              <a:solidFill>
                <a:prstClr val="black"/>
              </a:solidFill>
              <a:latin typeface="Calibri" panose="020F0502020204030204"/>
            </a:endParaRPr>
          </a:p>
        </p:txBody>
      </p:sp>
    </p:spTree>
    <p:extLst>
      <p:ext uri="{BB962C8B-B14F-4D97-AF65-F5344CB8AC3E}">
        <p14:creationId xmlns:p14="http://schemas.microsoft.com/office/powerpoint/2010/main" val="292001157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3" name="Title 1"/>
          <p:cNvSpPr txBox="1">
            <a:spLocks/>
          </p:cNvSpPr>
          <p:nvPr/>
        </p:nvSpPr>
        <p:spPr>
          <a:xfrm>
            <a:off x="195174" y="1659963"/>
            <a:ext cx="12046126" cy="1942924"/>
          </a:xfrm>
          <a:prstGeom prst="rect">
            <a:avLst/>
          </a:prstGeom>
          <a:noFill/>
          <a:ln>
            <a:noFill/>
          </a:ln>
        </p:spPr>
        <p:txBody>
          <a:bodyPr anchor="b"/>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777149" rtl="0" eaLnBrk="1" fontAlgn="auto" latinLnBrk="0" hangingPunct="1">
              <a:lnSpc>
                <a:spcPct val="90000"/>
              </a:lnSpc>
              <a:spcBef>
                <a:spcPct val="0"/>
              </a:spcBef>
              <a:spcAft>
                <a:spcPts val="0"/>
              </a:spcAft>
              <a:buClrTx/>
              <a:buSzTx/>
              <a:buFontTx/>
              <a:buNone/>
              <a:tabLst/>
              <a:defRPr/>
            </a:pPr>
            <a:r>
              <a:rPr kumimoji="0" lang="en-US" sz="5609" b="0" i="0" u="none" strike="noStrike" kern="1200" cap="none" spc="-127" normalizeH="0" baseline="0" noProof="0" dirty="0">
                <a:ln>
                  <a:noFill/>
                </a:ln>
                <a:effectLst/>
                <a:uLnTx/>
                <a:uFillTx/>
                <a:latin typeface="+mj-lt"/>
                <a:ea typeface="+mj-ea"/>
                <a:cs typeface="+mj-cs"/>
              </a:rPr>
              <a:t>Conclusion</a:t>
            </a:r>
          </a:p>
        </p:txBody>
      </p:sp>
    </p:spTree>
    <p:extLst>
      <p:ext uri="{BB962C8B-B14F-4D97-AF65-F5344CB8AC3E}">
        <p14:creationId xmlns:p14="http://schemas.microsoft.com/office/powerpoint/2010/main" val="327045680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3" name="Rectangle 2"/>
          <p:cNvSpPr/>
          <p:nvPr/>
        </p:nvSpPr>
        <p:spPr>
          <a:xfrm>
            <a:off x="195174" y="194292"/>
            <a:ext cx="12046126" cy="66059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77149" eaLnBrk="1" fontAlgn="auto" latinLnBrk="0" hangingPunct="1">
              <a:lnSpc>
                <a:spcPct val="100000"/>
              </a:lnSpc>
              <a:spcBef>
                <a:spcPts val="0"/>
              </a:spcBef>
              <a:spcAft>
                <a:spcPts val="0"/>
              </a:spcAft>
              <a:buClrTx/>
              <a:buSzTx/>
              <a:buFontTx/>
              <a:buNone/>
              <a:tabLst/>
              <a:defRPr/>
            </a:pPr>
            <a:r>
              <a:rPr kumimoji="0" lang="en-US" sz="7479" b="0" i="0" u="none" strike="noStrike" kern="0" cap="none" spc="0" normalizeH="0" baseline="0" noProof="0" dirty="0">
                <a:ln>
                  <a:noFill/>
                </a:ln>
                <a:solidFill>
                  <a:schemeClr val="tx1"/>
                </a:solidFill>
                <a:effectLst/>
                <a:uLnTx/>
                <a:uFillTx/>
                <a:latin typeface="Segoe UI Light"/>
              </a:rPr>
              <a:t>Questions?</a:t>
            </a:r>
            <a:endParaRPr kumimoji="0" lang="en-US" sz="3740" b="0" i="0" u="none" strike="noStrike" kern="0" cap="none" spc="0" normalizeH="0" baseline="0" noProof="0" dirty="0">
              <a:ln>
                <a:noFill/>
              </a:ln>
              <a:solidFill>
                <a:schemeClr val="tx1"/>
              </a:solidFill>
              <a:effectLst/>
              <a:uLnTx/>
              <a:uFillTx/>
              <a:latin typeface="Segoe UI Light"/>
            </a:endParaRPr>
          </a:p>
        </p:txBody>
      </p:sp>
    </p:spTree>
    <p:extLst>
      <p:ext uri="{BB962C8B-B14F-4D97-AF65-F5344CB8AC3E}">
        <p14:creationId xmlns:p14="http://schemas.microsoft.com/office/powerpoint/2010/main" val="241032631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3" name="TextBox 2"/>
          <p:cNvSpPr txBox="1"/>
          <p:nvPr/>
        </p:nvSpPr>
        <p:spPr>
          <a:xfrm>
            <a:off x="186920" y="207335"/>
            <a:ext cx="12066291" cy="1049245"/>
          </a:xfrm>
          <a:prstGeom prst="rect">
            <a:avLst/>
          </a:prstGeom>
          <a:noFill/>
        </p:spPr>
        <p:txBody>
          <a:bodyPr wrap="square" lIns="186521" tIns="149217" rIns="186521" bIns="149217" rtlCol="0">
            <a:spAutoFit/>
          </a:bodyPr>
          <a:lstStyle/>
          <a:p>
            <a:pPr marL="0" marR="0" lvl="0" indent="0" algn="ctr" defTabSz="932742" rtl="0" eaLnBrk="1" fontAlgn="auto" latinLnBrk="0" hangingPunct="1">
              <a:lnSpc>
                <a:spcPct val="90000"/>
              </a:lnSpc>
              <a:spcBef>
                <a:spcPts val="0"/>
              </a:spcBef>
              <a:spcAft>
                <a:spcPts val="612"/>
              </a:spcAft>
              <a:buClrTx/>
              <a:buSzTx/>
              <a:buFontTx/>
              <a:buNone/>
              <a:tabLst/>
              <a:defRPr/>
            </a:pPr>
            <a:r>
              <a:rPr kumimoji="0" lang="en-US" sz="5400" b="0" i="0" u="none" strike="noStrike" kern="0" cap="none" spc="0" normalizeH="0" baseline="0" noProof="0" dirty="0">
                <a:ln>
                  <a:noFill/>
                </a:ln>
                <a:solidFill>
                  <a:prstClr val="black"/>
                </a:solidFill>
                <a:effectLst/>
                <a:uLnTx/>
                <a:uFillTx/>
                <a:latin typeface="Segoe UI Light"/>
                <a:ea typeface="Segoe UI" pitchFamily="34" charset="0"/>
                <a:cs typeface="Segoe UI" pitchFamily="34" charset="0"/>
              </a:rPr>
              <a:t>Roadmap</a:t>
            </a:r>
          </a:p>
        </p:txBody>
      </p:sp>
      <p:sp>
        <p:nvSpPr>
          <p:cNvPr id="4" name="TextBox 3"/>
          <p:cNvSpPr txBox="1"/>
          <p:nvPr/>
        </p:nvSpPr>
        <p:spPr>
          <a:xfrm>
            <a:off x="366142" y="1668482"/>
            <a:ext cx="11750474" cy="4656216"/>
          </a:xfrm>
          <a:prstGeom prst="rect">
            <a:avLst/>
          </a:prstGeom>
          <a:noFill/>
        </p:spPr>
        <p:txBody>
          <a:bodyPr wrap="square" lIns="186521" tIns="149217" rIns="186521" bIns="149217" rtlCol="0">
            <a:noAutofit/>
          </a:bodyPr>
          <a:lstStyle/>
          <a:p>
            <a:pPr marL="342900" lvl="0" indent="-342900" defTabSz="932563">
              <a:spcAft>
                <a:spcPts val="1836"/>
              </a:spcAft>
              <a:buFont typeface="Arial" panose="020B0604020202020204" pitchFamily="34" charset="0"/>
              <a:buChar char="•"/>
              <a:defRPr/>
            </a:pPr>
            <a:r>
              <a:rPr lang="en-US" sz="2800" dirty="0">
                <a:solidFill>
                  <a:prstClr val="black"/>
                </a:solidFill>
                <a:latin typeface="Segoe UI" panose="020B0502040204020203" pitchFamily="34" charset="0"/>
                <a:cs typeface="Segoe UI" panose="020B0502040204020203" pitchFamily="34" charset="0"/>
              </a:rPr>
              <a:t>Continued progress on Region Availability and Certifications</a:t>
            </a:r>
          </a:p>
          <a:p>
            <a:pPr marL="342900" lvl="0" indent="-342900" defTabSz="932563">
              <a:spcAft>
                <a:spcPts val="1836"/>
              </a:spcAft>
              <a:buFont typeface="Arial" panose="020B0604020202020204" pitchFamily="34" charset="0"/>
              <a:buChar char="•"/>
              <a:defRPr/>
            </a:pPr>
            <a:r>
              <a:rPr lang="en-US" sz="2800" dirty="0">
                <a:solidFill>
                  <a:prstClr val="black"/>
                </a:solidFill>
                <a:latin typeface="Segoe UI" panose="020B0502040204020203" pitchFamily="34" charset="0"/>
                <a:cs typeface="Segoe UI" panose="020B0502040204020203" pitchFamily="34" charset="0"/>
              </a:rPr>
              <a:t>Securely share data between Enterprises (</a:t>
            </a:r>
            <a:r>
              <a:rPr lang="en-US" sz="2800" dirty="0" err="1">
                <a:solidFill>
                  <a:prstClr val="black"/>
                </a:solidFill>
                <a:latin typeface="Segoe UI" panose="020B0502040204020203" pitchFamily="34" charset="0"/>
                <a:cs typeface="Segoe UI" panose="020B0502040204020203" pitchFamily="34" charset="0"/>
              </a:rPr>
              <a:t>a.k.a</a:t>
            </a:r>
            <a:r>
              <a:rPr lang="en-US" sz="2800" dirty="0">
                <a:solidFill>
                  <a:prstClr val="black"/>
                </a:solidFill>
                <a:latin typeface="Segoe UI" panose="020B0502040204020203" pitchFamily="34" charset="0"/>
                <a:cs typeface="Segoe UI" panose="020B0502040204020203" pitchFamily="34" charset="0"/>
              </a:rPr>
              <a:t> “</a:t>
            </a:r>
            <a:r>
              <a:rPr lang="en-US" sz="2800" dirty="0" err="1">
                <a:solidFill>
                  <a:prstClr val="black"/>
                </a:solidFill>
                <a:latin typeface="Segoe UI" panose="020B0502040204020203" pitchFamily="34" charset="0"/>
                <a:cs typeface="Segoe UI" panose="020B0502040204020203" pitchFamily="34" charset="0"/>
              </a:rPr>
              <a:t>DataVault</a:t>
            </a:r>
            <a:r>
              <a:rPr lang="en-US" sz="2800" dirty="0">
                <a:solidFill>
                  <a:prstClr val="black"/>
                </a:solidFill>
                <a:latin typeface="Segoe UI" panose="020B0502040204020203" pitchFamily="34" charset="0"/>
                <a:cs typeface="Segoe UI" panose="020B0502040204020203" pitchFamily="34" charset="0"/>
              </a:rPr>
              <a:t>”)</a:t>
            </a:r>
          </a:p>
          <a:p>
            <a:pPr marL="342900" lvl="0" indent="-342900" defTabSz="932563">
              <a:spcAft>
                <a:spcPts val="1836"/>
              </a:spcAft>
              <a:buFont typeface="Arial" panose="020B0604020202020204" pitchFamily="34" charset="0"/>
              <a:buChar char="•"/>
              <a:defRPr/>
            </a:pPr>
            <a:r>
              <a:rPr lang="en-US" sz="2800" dirty="0">
                <a:solidFill>
                  <a:prstClr val="black"/>
                </a:solidFill>
                <a:latin typeface="Segoe UI" panose="020B0502040204020203" pitchFamily="34" charset="0"/>
                <a:cs typeface="Segoe UI" panose="020B0502040204020203" pitchFamily="34" charset="0"/>
              </a:rPr>
              <a:t>Enhanced authoring, debugging, and optimization</a:t>
            </a:r>
          </a:p>
          <a:p>
            <a:pPr marL="342900" lvl="0" indent="-342900" defTabSz="932563">
              <a:spcAft>
                <a:spcPts val="1836"/>
              </a:spcAft>
              <a:buFont typeface="Arial" panose="020B0604020202020204" pitchFamily="34" charset="0"/>
              <a:buChar char="•"/>
              <a:defRPr/>
            </a:pPr>
            <a:r>
              <a:rPr lang="en-US" sz="2800" dirty="0">
                <a:solidFill>
                  <a:prstClr val="black"/>
                </a:solidFill>
                <a:latin typeface="Segoe UI" panose="020B0502040204020203" pitchFamily="34" charset="0"/>
                <a:cs typeface="Segoe UI" panose="020B0502040204020203" pitchFamily="34" charset="0"/>
              </a:rPr>
              <a:t>Query data interactively using T-SQL</a:t>
            </a:r>
          </a:p>
          <a:p>
            <a:pPr marL="342900" lvl="0" indent="-342900" defTabSz="932563">
              <a:spcAft>
                <a:spcPts val="1836"/>
              </a:spcAft>
              <a:buFont typeface="Arial" panose="020B0604020202020204" pitchFamily="34" charset="0"/>
              <a:buChar char="•"/>
              <a:defRPr/>
            </a:pPr>
            <a:r>
              <a:rPr lang="en-US" sz="2800" dirty="0">
                <a:solidFill>
                  <a:prstClr val="black"/>
                </a:solidFill>
                <a:latin typeface="Segoe UI" panose="020B0502040204020203" pitchFamily="34" charset="0"/>
                <a:cs typeface="Segoe UI" panose="020B0502040204020203" pitchFamily="34" charset="0"/>
              </a:rPr>
              <a:t>Train and use Machine Learning models</a:t>
            </a:r>
          </a:p>
          <a:p>
            <a:pPr marL="342900" indent="-342900" defTabSz="932563">
              <a:spcAft>
                <a:spcPts val="1836"/>
              </a:spcAft>
              <a:buFont typeface="Arial" panose="020B0604020202020204" pitchFamily="34" charset="0"/>
              <a:buChar char="•"/>
              <a:defRPr/>
            </a:pPr>
            <a:r>
              <a:rPr lang="en-US" sz="2800" dirty="0">
                <a:solidFill>
                  <a:prstClr val="black"/>
                </a:solidFill>
                <a:latin typeface="Segoe UI" panose="020B0502040204020203" pitchFamily="34" charset="0"/>
                <a:cs typeface="Segoe UI" panose="020B0502040204020203" pitchFamily="34" charset="0"/>
              </a:rPr>
              <a:t>Control usage &amp; cost through policy</a:t>
            </a:r>
          </a:p>
          <a:p>
            <a:pPr lvl="0" defTabSz="932563">
              <a:spcAft>
                <a:spcPts val="1836"/>
              </a:spcAft>
              <a:defRPr/>
            </a:pPr>
            <a:endParaRPr lang="en-US" sz="2800" dirty="0">
              <a:solidFill>
                <a:prstClr val="black"/>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094504490"/>
      </p:ext>
    </p:extLst>
  </p:cSld>
  <p:clrMapOvr>
    <a:masterClrMapping/>
  </p:clrMapOvr>
  <mc:AlternateContent xmlns:mc="http://schemas.openxmlformats.org/markup-compatibility/2006" xmlns:p14="http://schemas.microsoft.com/office/powerpoint/2010/main">
    <mc:Choice Requires="p14">
      <p:transition p14:dur="0" advTm="5000"/>
    </mc:Choice>
    <mc:Fallback xmlns="">
      <p:transition advTm="500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3" name="Rectangle 2"/>
          <p:cNvSpPr/>
          <p:nvPr/>
        </p:nvSpPr>
        <p:spPr>
          <a:xfrm>
            <a:off x="195174" y="194292"/>
            <a:ext cx="12046126" cy="66059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77149" eaLnBrk="1" fontAlgn="auto" latinLnBrk="0" hangingPunct="1">
              <a:lnSpc>
                <a:spcPct val="100000"/>
              </a:lnSpc>
              <a:spcBef>
                <a:spcPts val="0"/>
              </a:spcBef>
              <a:spcAft>
                <a:spcPts val="0"/>
              </a:spcAft>
              <a:buClrTx/>
              <a:buSzTx/>
              <a:buFontTx/>
              <a:buNone/>
              <a:tabLst/>
              <a:defRPr/>
            </a:pPr>
            <a:r>
              <a:rPr kumimoji="0" lang="en-US" sz="7479" b="0" i="0" u="none" strike="noStrike" kern="0" cap="none" spc="0" normalizeH="0" baseline="0" noProof="0" dirty="0">
                <a:ln>
                  <a:noFill/>
                </a:ln>
                <a:solidFill>
                  <a:schemeClr val="tx1"/>
                </a:solidFill>
                <a:effectLst/>
                <a:uLnTx/>
                <a:uFillTx/>
                <a:latin typeface="Segoe UI Light"/>
              </a:rPr>
              <a:t>aka.ms/AzureDataLake</a:t>
            </a:r>
            <a:endParaRPr kumimoji="0" lang="en-US" sz="3740" b="0" i="0" u="none" strike="noStrike" kern="0" cap="none" spc="0" normalizeH="0" baseline="0" noProof="0" dirty="0">
              <a:ln>
                <a:noFill/>
              </a:ln>
              <a:solidFill>
                <a:schemeClr val="tx1"/>
              </a:solidFill>
              <a:effectLst/>
              <a:uLnTx/>
              <a:uFillTx/>
              <a:latin typeface="Segoe UI Light"/>
            </a:endParaRPr>
          </a:p>
        </p:txBody>
      </p:sp>
    </p:spTree>
    <p:extLst>
      <p:ext uri="{BB962C8B-B14F-4D97-AF65-F5344CB8AC3E}">
        <p14:creationId xmlns:p14="http://schemas.microsoft.com/office/powerpoint/2010/main" val="195688374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bg1">
            <a:lumMod val="50000"/>
          </a:schemeClr>
        </a:solidFill>
        <a:effectLst/>
      </p:bgPr>
    </p:bg>
    <p:spTree>
      <p:nvGrpSpPr>
        <p:cNvPr id="1" name=""/>
        <p:cNvGrpSpPr/>
        <p:nvPr/>
      </p:nvGrpSpPr>
      <p:grpSpPr>
        <a:xfrm>
          <a:off x="0" y="0"/>
          <a:ext cx="0" cy="0"/>
          <a:chOff x="0" y="0"/>
          <a:chExt cx="0" cy="0"/>
        </a:xfrm>
      </p:grpSpPr>
      <p:grpSp>
        <p:nvGrpSpPr>
          <p:cNvPr id="2" name="Group 1"/>
          <p:cNvGrpSpPr>
            <a:grpSpLocks noChangeAspect="1"/>
          </p:cNvGrpSpPr>
          <p:nvPr/>
        </p:nvGrpSpPr>
        <p:grpSpPr>
          <a:xfrm>
            <a:off x="3162757" y="2840356"/>
            <a:ext cx="6110961" cy="1313813"/>
            <a:chOff x="3440113" y="6411913"/>
            <a:chExt cx="4489450" cy="965200"/>
          </a:xfrm>
        </p:grpSpPr>
        <p:sp>
          <p:nvSpPr>
            <p:cNvPr id="3" name="Freeform 5"/>
            <p:cNvSpPr>
              <a:spLocks noEditPoints="1"/>
            </p:cNvSpPr>
            <p:nvPr userDrawn="1"/>
          </p:nvSpPr>
          <p:spPr bwMode="auto">
            <a:xfrm>
              <a:off x="4684713" y="6562725"/>
              <a:ext cx="3244850" cy="631825"/>
            </a:xfrm>
            <a:custGeom>
              <a:avLst/>
              <a:gdLst>
                <a:gd name="T0" fmla="*/ 6991 w 7809"/>
                <a:gd name="T1" fmla="*/ 1485 h 1509"/>
                <a:gd name="T2" fmla="*/ 6589 w 7809"/>
                <a:gd name="T3" fmla="*/ 684 h 1509"/>
                <a:gd name="T4" fmla="*/ 6755 w 7809"/>
                <a:gd name="T5" fmla="*/ 356 h 1509"/>
                <a:gd name="T6" fmla="*/ 7193 w 7809"/>
                <a:gd name="T7" fmla="*/ 4 h 1509"/>
                <a:gd name="T8" fmla="*/ 7210 w 7809"/>
                <a:gd name="T9" fmla="*/ 202 h 1509"/>
                <a:gd name="T10" fmla="*/ 6991 w 7809"/>
                <a:gd name="T11" fmla="*/ 374 h 1509"/>
                <a:gd name="T12" fmla="*/ 7339 w 7809"/>
                <a:gd name="T13" fmla="*/ 271 h 1509"/>
                <a:gd name="T14" fmla="*/ 7809 w 7809"/>
                <a:gd name="T15" fmla="*/ 494 h 1509"/>
                <a:gd name="T16" fmla="*/ 7573 w 7809"/>
                <a:gd name="T17" fmla="*/ 1148 h 1509"/>
                <a:gd name="T18" fmla="*/ 7760 w 7809"/>
                <a:gd name="T19" fmla="*/ 1305 h 1509"/>
                <a:gd name="T20" fmla="*/ 7735 w 7809"/>
                <a:gd name="T21" fmla="*/ 1498 h 1509"/>
                <a:gd name="T22" fmla="*/ 7339 w 7809"/>
                <a:gd name="T23" fmla="*/ 1193 h 1509"/>
                <a:gd name="T24" fmla="*/ 5860 w 7809"/>
                <a:gd name="T25" fmla="*/ 1233 h 1509"/>
                <a:gd name="T26" fmla="*/ 6322 w 7809"/>
                <a:gd name="T27" fmla="*/ 990 h 1509"/>
                <a:gd name="T28" fmla="*/ 5861 w 7809"/>
                <a:gd name="T29" fmla="*/ 752 h 1509"/>
                <a:gd name="T30" fmla="*/ 5686 w 7809"/>
                <a:gd name="T31" fmla="*/ 614 h 1509"/>
                <a:gd name="T32" fmla="*/ 6565 w 7809"/>
                <a:gd name="T33" fmla="*/ 982 h 1509"/>
                <a:gd name="T34" fmla="*/ 5682 w 7809"/>
                <a:gd name="T35" fmla="*/ 1373 h 1509"/>
                <a:gd name="T36" fmla="*/ 5053 w 7809"/>
                <a:gd name="T37" fmla="*/ 832 h 1509"/>
                <a:gd name="T38" fmla="*/ 5447 w 7809"/>
                <a:gd name="T39" fmla="*/ 1199 h 1509"/>
                <a:gd name="T40" fmla="*/ 4912 w 7809"/>
                <a:gd name="T41" fmla="*/ 1494 h 1509"/>
                <a:gd name="T42" fmla="*/ 4922 w 7809"/>
                <a:gd name="T43" fmla="*/ 1297 h 1509"/>
                <a:gd name="T44" fmla="*/ 5209 w 7809"/>
                <a:gd name="T45" fmla="*/ 1226 h 1509"/>
                <a:gd name="T46" fmla="*/ 4839 w 7809"/>
                <a:gd name="T47" fmla="*/ 947 h 1509"/>
                <a:gd name="T48" fmla="*/ 5168 w 7809"/>
                <a:gd name="T49" fmla="*/ 469 h 1509"/>
                <a:gd name="T50" fmla="*/ 5393 w 7809"/>
                <a:gd name="T51" fmla="*/ 732 h 1509"/>
                <a:gd name="T52" fmla="*/ 5059 w 7809"/>
                <a:gd name="T53" fmla="*/ 682 h 1509"/>
                <a:gd name="T54" fmla="*/ 3970 w 7809"/>
                <a:gd name="T55" fmla="*/ 1233 h 1509"/>
                <a:gd name="T56" fmla="*/ 4431 w 7809"/>
                <a:gd name="T57" fmla="*/ 990 h 1509"/>
                <a:gd name="T58" fmla="*/ 3970 w 7809"/>
                <a:gd name="T59" fmla="*/ 752 h 1509"/>
                <a:gd name="T60" fmla="*/ 3795 w 7809"/>
                <a:gd name="T61" fmla="*/ 614 h 1509"/>
                <a:gd name="T62" fmla="*/ 4674 w 7809"/>
                <a:gd name="T63" fmla="*/ 982 h 1509"/>
                <a:gd name="T64" fmla="*/ 3792 w 7809"/>
                <a:gd name="T65" fmla="*/ 1373 h 1509"/>
                <a:gd name="T66" fmla="*/ 3606 w 7809"/>
                <a:gd name="T67" fmla="*/ 481 h 1509"/>
                <a:gd name="T68" fmla="*/ 3590 w 7809"/>
                <a:gd name="T69" fmla="*/ 701 h 1509"/>
                <a:gd name="T70" fmla="*/ 3301 w 7809"/>
                <a:gd name="T71" fmla="*/ 984 h 1509"/>
                <a:gd name="T72" fmla="*/ 3067 w 7809"/>
                <a:gd name="T73" fmla="*/ 494 h 1509"/>
                <a:gd name="T74" fmla="*/ 3304 w 7809"/>
                <a:gd name="T75" fmla="*/ 650 h 1509"/>
                <a:gd name="T76" fmla="*/ 2661 w 7809"/>
                <a:gd name="T77" fmla="*/ 1315 h 1509"/>
                <a:gd name="T78" fmla="*/ 2892 w 7809"/>
                <a:gd name="T79" fmla="*/ 1444 h 1509"/>
                <a:gd name="T80" fmla="*/ 2254 w 7809"/>
                <a:gd name="T81" fmla="*/ 1370 h 1509"/>
                <a:gd name="T82" fmla="*/ 2653 w 7809"/>
                <a:gd name="T83" fmla="*/ 469 h 1509"/>
                <a:gd name="T84" fmla="*/ 2892 w 7809"/>
                <a:gd name="T85" fmla="*/ 748 h 1509"/>
                <a:gd name="T86" fmla="*/ 2444 w 7809"/>
                <a:gd name="T87" fmla="*/ 755 h 1509"/>
                <a:gd name="T88" fmla="*/ 2661 w 7809"/>
                <a:gd name="T89" fmla="*/ 1315 h 1509"/>
                <a:gd name="T90" fmla="*/ 1721 w 7809"/>
                <a:gd name="T91" fmla="*/ 494 h 1509"/>
                <a:gd name="T92" fmla="*/ 1696 w 7809"/>
                <a:gd name="T93" fmla="*/ 207 h 1509"/>
                <a:gd name="T94" fmla="*/ 1940 w 7809"/>
                <a:gd name="T95" fmla="*/ 111 h 1509"/>
                <a:gd name="T96" fmla="*/ 1838 w 7809"/>
                <a:gd name="T97" fmla="*/ 341 h 1509"/>
                <a:gd name="T98" fmla="*/ 1496 w 7809"/>
                <a:gd name="T99" fmla="*/ 102 h 1509"/>
                <a:gd name="T100" fmla="*/ 1256 w 7809"/>
                <a:gd name="T101" fmla="*/ 401 h 1509"/>
                <a:gd name="T102" fmla="*/ 664 w 7809"/>
                <a:gd name="T103" fmla="*/ 1485 h 1509"/>
                <a:gd name="T104" fmla="*/ 221 w 7809"/>
                <a:gd name="T105" fmla="*/ 1485 h 1509"/>
                <a:gd name="T106" fmla="*/ 344 w 7809"/>
                <a:gd name="T107" fmla="*/ 102 h 1509"/>
                <a:gd name="T108" fmla="*/ 1166 w 7809"/>
                <a:gd name="T109" fmla="*/ 102 h 1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09" h="1509">
                  <a:moveTo>
                    <a:pt x="7339" y="684"/>
                  </a:moveTo>
                  <a:lnTo>
                    <a:pt x="6991" y="684"/>
                  </a:lnTo>
                  <a:lnTo>
                    <a:pt x="6991" y="1485"/>
                  </a:lnTo>
                  <a:lnTo>
                    <a:pt x="6755" y="1485"/>
                  </a:lnTo>
                  <a:lnTo>
                    <a:pt x="6755" y="684"/>
                  </a:lnTo>
                  <a:lnTo>
                    <a:pt x="6589" y="684"/>
                  </a:lnTo>
                  <a:lnTo>
                    <a:pt x="6589" y="494"/>
                  </a:lnTo>
                  <a:lnTo>
                    <a:pt x="6755" y="494"/>
                  </a:lnTo>
                  <a:lnTo>
                    <a:pt x="6755" y="356"/>
                  </a:lnTo>
                  <a:cubicBezTo>
                    <a:pt x="6755" y="252"/>
                    <a:pt x="6789" y="166"/>
                    <a:pt x="6857" y="100"/>
                  </a:cubicBezTo>
                  <a:cubicBezTo>
                    <a:pt x="6925" y="33"/>
                    <a:pt x="7012" y="0"/>
                    <a:pt x="7118" y="0"/>
                  </a:cubicBezTo>
                  <a:cubicBezTo>
                    <a:pt x="7146" y="0"/>
                    <a:pt x="7171" y="1"/>
                    <a:pt x="7193" y="4"/>
                  </a:cubicBezTo>
                  <a:cubicBezTo>
                    <a:pt x="7215" y="7"/>
                    <a:pt x="7234" y="12"/>
                    <a:pt x="7251" y="17"/>
                  </a:cubicBezTo>
                  <a:lnTo>
                    <a:pt x="7251" y="219"/>
                  </a:lnTo>
                  <a:cubicBezTo>
                    <a:pt x="7243" y="214"/>
                    <a:pt x="7229" y="209"/>
                    <a:pt x="7210" y="202"/>
                  </a:cubicBezTo>
                  <a:cubicBezTo>
                    <a:pt x="7191" y="196"/>
                    <a:pt x="7169" y="193"/>
                    <a:pt x="7144" y="193"/>
                  </a:cubicBezTo>
                  <a:cubicBezTo>
                    <a:pt x="7095" y="193"/>
                    <a:pt x="7057" y="208"/>
                    <a:pt x="7031" y="239"/>
                  </a:cubicBezTo>
                  <a:cubicBezTo>
                    <a:pt x="7004" y="269"/>
                    <a:pt x="6991" y="314"/>
                    <a:pt x="6991" y="374"/>
                  </a:cubicBezTo>
                  <a:lnTo>
                    <a:pt x="6991" y="494"/>
                  </a:lnTo>
                  <a:lnTo>
                    <a:pt x="7339" y="494"/>
                  </a:lnTo>
                  <a:lnTo>
                    <a:pt x="7339" y="271"/>
                  </a:lnTo>
                  <a:lnTo>
                    <a:pt x="7573" y="200"/>
                  </a:lnTo>
                  <a:lnTo>
                    <a:pt x="7573" y="494"/>
                  </a:lnTo>
                  <a:lnTo>
                    <a:pt x="7809" y="494"/>
                  </a:lnTo>
                  <a:lnTo>
                    <a:pt x="7809" y="684"/>
                  </a:lnTo>
                  <a:lnTo>
                    <a:pt x="7573" y="684"/>
                  </a:lnTo>
                  <a:lnTo>
                    <a:pt x="7573" y="1148"/>
                  </a:lnTo>
                  <a:cubicBezTo>
                    <a:pt x="7573" y="1209"/>
                    <a:pt x="7584" y="1252"/>
                    <a:pt x="7606" y="1277"/>
                  </a:cubicBezTo>
                  <a:cubicBezTo>
                    <a:pt x="7628" y="1302"/>
                    <a:pt x="7663" y="1315"/>
                    <a:pt x="7711" y="1315"/>
                  </a:cubicBezTo>
                  <a:cubicBezTo>
                    <a:pt x="7724" y="1315"/>
                    <a:pt x="7741" y="1312"/>
                    <a:pt x="7760" y="1305"/>
                  </a:cubicBezTo>
                  <a:cubicBezTo>
                    <a:pt x="7778" y="1299"/>
                    <a:pt x="7795" y="1291"/>
                    <a:pt x="7809" y="1282"/>
                  </a:cubicBezTo>
                  <a:lnTo>
                    <a:pt x="7809" y="1475"/>
                  </a:lnTo>
                  <a:cubicBezTo>
                    <a:pt x="7794" y="1483"/>
                    <a:pt x="7770" y="1491"/>
                    <a:pt x="7735" y="1498"/>
                  </a:cubicBezTo>
                  <a:cubicBezTo>
                    <a:pt x="7701" y="1505"/>
                    <a:pt x="7667" y="1509"/>
                    <a:pt x="7634" y="1509"/>
                  </a:cubicBezTo>
                  <a:cubicBezTo>
                    <a:pt x="7535" y="1509"/>
                    <a:pt x="7462" y="1483"/>
                    <a:pt x="7413" y="1430"/>
                  </a:cubicBezTo>
                  <a:cubicBezTo>
                    <a:pt x="7363" y="1378"/>
                    <a:pt x="7339" y="1299"/>
                    <a:pt x="7339" y="1193"/>
                  </a:cubicBezTo>
                  <a:lnTo>
                    <a:pt x="7339" y="684"/>
                  </a:lnTo>
                  <a:close/>
                  <a:moveTo>
                    <a:pt x="5790" y="996"/>
                  </a:moveTo>
                  <a:cubicBezTo>
                    <a:pt x="5790" y="1099"/>
                    <a:pt x="5813" y="1178"/>
                    <a:pt x="5860" y="1233"/>
                  </a:cubicBezTo>
                  <a:cubicBezTo>
                    <a:pt x="5907" y="1288"/>
                    <a:pt x="5974" y="1315"/>
                    <a:pt x="6062" y="1315"/>
                  </a:cubicBezTo>
                  <a:cubicBezTo>
                    <a:pt x="6146" y="1315"/>
                    <a:pt x="6211" y="1288"/>
                    <a:pt x="6255" y="1233"/>
                  </a:cubicBezTo>
                  <a:cubicBezTo>
                    <a:pt x="6300" y="1178"/>
                    <a:pt x="6322" y="1097"/>
                    <a:pt x="6322" y="990"/>
                  </a:cubicBezTo>
                  <a:cubicBezTo>
                    <a:pt x="6322" y="883"/>
                    <a:pt x="6299" y="803"/>
                    <a:pt x="6253" y="749"/>
                  </a:cubicBezTo>
                  <a:cubicBezTo>
                    <a:pt x="6207" y="694"/>
                    <a:pt x="6143" y="667"/>
                    <a:pt x="6060" y="667"/>
                  </a:cubicBezTo>
                  <a:cubicBezTo>
                    <a:pt x="5974" y="667"/>
                    <a:pt x="5908" y="696"/>
                    <a:pt x="5861" y="752"/>
                  </a:cubicBezTo>
                  <a:cubicBezTo>
                    <a:pt x="5813" y="809"/>
                    <a:pt x="5790" y="890"/>
                    <a:pt x="5790" y="996"/>
                  </a:cubicBezTo>
                  <a:close/>
                  <a:moveTo>
                    <a:pt x="5547" y="1004"/>
                  </a:moveTo>
                  <a:cubicBezTo>
                    <a:pt x="5547" y="840"/>
                    <a:pt x="5593" y="710"/>
                    <a:pt x="5686" y="614"/>
                  </a:cubicBezTo>
                  <a:cubicBezTo>
                    <a:pt x="5778" y="518"/>
                    <a:pt x="5907" y="470"/>
                    <a:pt x="6071" y="470"/>
                  </a:cubicBezTo>
                  <a:cubicBezTo>
                    <a:pt x="6226" y="470"/>
                    <a:pt x="6347" y="517"/>
                    <a:pt x="6434" y="609"/>
                  </a:cubicBezTo>
                  <a:cubicBezTo>
                    <a:pt x="6521" y="701"/>
                    <a:pt x="6565" y="826"/>
                    <a:pt x="6565" y="982"/>
                  </a:cubicBezTo>
                  <a:cubicBezTo>
                    <a:pt x="6565" y="1143"/>
                    <a:pt x="6518" y="1271"/>
                    <a:pt x="6426" y="1366"/>
                  </a:cubicBezTo>
                  <a:cubicBezTo>
                    <a:pt x="6333" y="1461"/>
                    <a:pt x="6207" y="1509"/>
                    <a:pt x="6048" y="1509"/>
                  </a:cubicBezTo>
                  <a:cubicBezTo>
                    <a:pt x="5894" y="1509"/>
                    <a:pt x="5773" y="1464"/>
                    <a:pt x="5682" y="1373"/>
                  </a:cubicBezTo>
                  <a:cubicBezTo>
                    <a:pt x="5592" y="1283"/>
                    <a:pt x="5547" y="1160"/>
                    <a:pt x="5547" y="1004"/>
                  </a:cubicBezTo>
                  <a:close/>
                  <a:moveTo>
                    <a:pt x="5021" y="754"/>
                  </a:moveTo>
                  <a:cubicBezTo>
                    <a:pt x="5021" y="787"/>
                    <a:pt x="5032" y="813"/>
                    <a:pt x="5053" y="832"/>
                  </a:cubicBezTo>
                  <a:cubicBezTo>
                    <a:pt x="5074" y="851"/>
                    <a:pt x="5121" y="875"/>
                    <a:pt x="5194" y="904"/>
                  </a:cubicBezTo>
                  <a:cubicBezTo>
                    <a:pt x="5287" y="942"/>
                    <a:pt x="5353" y="983"/>
                    <a:pt x="5390" y="1030"/>
                  </a:cubicBezTo>
                  <a:cubicBezTo>
                    <a:pt x="5428" y="1077"/>
                    <a:pt x="5447" y="1133"/>
                    <a:pt x="5447" y="1199"/>
                  </a:cubicBezTo>
                  <a:cubicBezTo>
                    <a:pt x="5447" y="1292"/>
                    <a:pt x="5411" y="1367"/>
                    <a:pt x="5339" y="1424"/>
                  </a:cubicBezTo>
                  <a:cubicBezTo>
                    <a:pt x="5267" y="1480"/>
                    <a:pt x="5171" y="1509"/>
                    <a:pt x="5048" y="1509"/>
                  </a:cubicBezTo>
                  <a:cubicBezTo>
                    <a:pt x="5007" y="1509"/>
                    <a:pt x="4962" y="1504"/>
                    <a:pt x="4912" y="1494"/>
                  </a:cubicBezTo>
                  <a:cubicBezTo>
                    <a:pt x="4862" y="1484"/>
                    <a:pt x="4820" y="1471"/>
                    <a:pt x="4785" y="1456"/>
                  </a:cubicBezTo>
                  <a:lnTo>
                    <a:pt x="4785" y="1226"/>
                  </a:lnTo>
                  <a:cubicBezTo>
                    <a:pt x="4828" y="1256"/>
                    <a:pt x="4873" y="1279"/>
                    <a:pt x="4922" y="1297"/>
                  </a:cubicBezTo>
                  <a:cubicBezTo>
                    <a:pt x="4971" y="1314"/>
                    <a:pt x="5015" y="1323"/>
                    <a:pt x="5055" y="1323"/>
                  </a:cubicBezTo>
                  <a:cubicBezTo>
                    <a:pt x="5108" y="1323"/>
                    <a:pt x="5147" y="1315"/>
                    <a:pt x="5172" y="1300"/>
                  </a:cubicBezTo>
                  <a:cubicBezTo>
                    <a:pt x="5197" y="1286"/>
                    <a:pt x="5209" y="1261"/>
                    <a:pt x="5209" y="1226"/>
                  </a:cubicBezTo>
                  <a:cubicBezTo>
                    <a:pt x="5209" y="1194"/>
                    <a:pt x="5196" y="1167"/>
                    <a:pt x="5170" y="1145"/>
                  </a:cubicBezTo>
                  <a:cubicBezTo>
                    <a:pt x="5144" y="1123"/>
                    <a:pt x="5095" y="1097"/>
                    <a:pt x="5022" y="1068"/>
                  </a:cubicBezTo>
                  <a:cubicBezTo>
                    <a:pt x="4936" y="1032"/>
                    <a:pt x="4875" y="992"/>
                    <a:pt x="4839" y="947"/>
                  </a:cubicBezTo>
                  <a:cubicBezTo>
                    <a:pt x="4803" y="902"/>
                    <a:pt x="4785" y="844"/>
                    <a:pt x="4785" y="775"/>
                  </a:cubicBezTo>
                  <a:cubicBezTo>
                    <a:pt x="4785" y="686"/>
                    <a:pt x="4821" y="612"/>
                    <a:pt x="4892" y="555"/>
                  </a:cubicBezTo>
                  <a:cubicBezTo>
                    <a:pt x="4963" y="497"/>
                    <a:pt x="5055" y="469"/>
                    <a:pt x="5168" y="469"/>
                  </a:cubicBezTo>
                  <a:cubicBezTo>
                    <a:pt x="5203" y="469"/>
                    <a:pt x="5242" y="472"/>
                    <a:pt x="5285" y="480"/>
                  </a:cubicBezTo>
                  <a:cubicBezTo>
                    <a:pt x="5328" y="488"/>
                    <a:pt x="5364" y="498"/>
                    <a:pt x="5393" y="510"/>
                  </a:cubicBezTo>
                  <a:lnTo>
                    <a:pt x="5393" y="732"/>
                  </a:lnTo>
                  <a:cubicBezTo>
                    <a:pt x="5362" y="711"/>
                    <a:pt x="5326" y="693"/>
                    <a:pt x="5285" y="679"/>
                  </a:cubicBezTo>
                  <a:cubicBezTo>
                    <a:pt x="5243" y="664"/>
                    <a:pt x="5203" y="656"/>
                    <a:pt x="5162" y="656"/>
                  </a:cubicBezTo>
                  <a:cubicBezTo>
                    <a:pt x="5118" y="656"/>
                    <a:pt x="5083" y="665"/>
                    <a:pt x="5059" y="682"/>
                  </a:cubicBezTo>
                  <a:cubicBezTo>
                    <a:pt x="5034" y="700"/>
                    <a:pt x="5021" y="724"/>
                    <a:pt x="5021" y="754"/>
                  </a:cubicBezTo>
                  <a:close/>
                  <a:moveTo>
                    <a:pt x="3899" y="996"/>
                  </a:moveTo>
                  <a:cubicBezTo>
                    <a:pt x="3899" y="1099"/>
                    <a:pt x="3923" y="1178"/>
                    <a:pt x="3970" y="1233"/>
                  </a:cubicBezTo>
                  <a:cubicBezTo>
                    <a:pt x="4017" y="1288"/>
                    <a:pt x="4084" y="1315"/>
                    <a:pt x="4171" y="1315"/>
                  </a:cubicBezTo>
                  <a:cubicBezTo>
                    <a:pt x="4256" y="1315"/>
                    <a:pt x="4321" y="1288"/>
                    <a:pt x="4365" y="1233"/>
                  </a:cubicBezTo>
                  <a:cubicBezTo>
                    <a:pt x="4409" y="1178"/>
                    <a:pt x="4431" y="1097"/>
                    <a:pt x="4431" y="990"/>
                  </a:cubicBezTo>
                  <a:cubicBezTo>
                    <a:pt x="4431" y="883"/>
                    <a:pt x="4408" y="803"/>
                    <a:pt x="4363" y="749"/>
                  </a:cubicBezTo>
                  <a:cubicBezTo>
                    <a:pt x="4317" y="694"/>
                    <a:pt x="4252" y="667"/>
                    <a:pt x="4169" y="667"/>
                  </a:cubicBezTo>
                  <a:cubicBezTo>
                    <a:pt x="4084" y="667"/>
                    <a:pt x="4017" y="696"/>
                    <a:pt x="3970" y="752"/>
                  </a:cubicBezTo>
                  <a:cubicBezTo>
                    <a:pt x="3923" y="809"/>
                    <a:pt x="3899" y="890"/>
                    <a:pt x="3899" y="996"/>
                  </a:cubicBezTo>
                  <a:close/>
                  <a:moveTo>
                    <a:pt x="3656" y="1004"/>
                  </a:moveTo>
                  <a:cubicBezTo>
                    <a:pt x="3656" y="840"/>
                    <a:pt x="3703" y="710"/>
                    <a:pt x="3795" y="614"/>
                  </a:cubicBezTo>
                  <a:cubicBezTo>
                    <a:pt x="3888" y="518"/>
                    <a:pt x="4016" y="470"/>
                    <a:pt x="4181" y="470"/>
                  </a:cubicBezTo>
                  <a:cubicBezTo>
                    <a:pt x="4336" y="470"/>
                    <a:pt x="4457" y="517"/>
                    <a:pt x="4544" y="609"/>
                  </a:cubicBezTo>
                  <a:cubicBezTo>
                    <a:pt x="4631" y="701"/>
                    <a:pt x="4674" y="826"/>
                    <a:pt x="4674" y="982"/>
                  </a:cubicBezTo>
                  <a:cubicBezTo>
                    <a:pt x="4674" y="1143"/>
                    <a:pt x="4628" y="1271"/>
                    <a:pt x="4536" y="1366"/>
                  </a:cubicBezTo>
                  <a:cubicBezTo>
                    <a:pt x="4443" y="1461"/>
                    <a:pt x="4317" y="1509"/>
                    <a:pt x="4158" y="1509"/>
                  </a:cubicBezTo>
                  <a:cubicBezTo>
                    <a:pt x="4004" y="1509"/>
                    <a:pt x="3882" y="1464"/>
                    <a:pt x="3792" y="1373"/>
                  </a:cubicBezTo>
                  <a:cubicBezTo>
                    <a:pt x="3702" y="1283"/>
                    <a:pt x="3656" y="1160"/>
                    <a:pt x="3656" y="1004"/>
                  </a:cubicBezTo>
                  <a:close/>
                  <a:moveTo>
                    <a:pt x="3556" y="477"/>
                  </a:moveTo>
                  <a:cubicBezTo>
                    <a:pt x="3575" y="477"/>
                    <a:pt x="3591" y="478"/>
                    <a:pt x="3606" y="481"/>
                  </a:cubicBezTo>
                  <a:cubicBezTo>
                    <a:pt x="3621" y="484"/>
                    <a:pt x="3633" y="487"/>
                    <a:pt x="3644" y="491"/>
                  </a:cubicBezTo>
                  <a:lnTo>
                    <a:pt x="3644" y="727"/>
                  </a:lnTo>
                  <a:cubicBezTo>
                    <a:pt x="3632" y="718"/>
                    <a:pt x="3614" y="709"/>
                    <a:pt x="3590" y="701"/>
                  </a:cubicBezTo>
                  <a:cubicBezTo>
                    <a:pt x="3567" y="693"/>
                    <a:pt x="3538" y="689"/>
                    <a:pt x="3505" y="689"/>
                  </a:cubicBezTo>
                  <a:cubicBezTo>
                    <a:pt x="3448" y="689"/>
                    <a:pt x="3399" y="713"/>
                    <a:pt x="3360" y="762"/>
                  </a:cubicBezTo>
                  <a:cubicBezTo>
                    <a:pt x="3320" y="810"/>
                    <a:pt x="3301" y="884"/>
                    <a:pt x="3301" y="984"/>
                  </a:cubicBezTo>
                  <a:lnTo>
                    <a:pt x="3301" y="1485"/>
                  </a:lnTo>
                  <a:lnTo>
                    <a:pt x="3067" y="1485"/>
                  </a:lnTo>
                  <a:lnTo>
                    <a:pt x="3067" y="494"/>
                  </a:lnTo>
                  <a:lnTo>
                    <a:pt x="3301" y="494"/>
                  </a:lnTo>
                  <a:lnTo>
                    <a:pt x="3301" y="650"/>
                  </a:lnTo>
                  <a:lnTo>
                    <a:pt x="3304" y="650"/>
                  </a:lnTo>
                  <a:cubicBezTo>
                    <a:pt x="3326" y="596"/>
                    <a:pt x="3358" y="554"/>
                    <a:pt x="3401" y="523"/>
                  </a:cubicBezTo>
                  <a:cubicBezTo>
                    <a:pt x="3444" y="492"/>
                    <a:pt x="3496" y="477"/>
                    <a:pt x="3556" y="477"/>
                  </a:cubicBezTo>
                  <a:close/>
                  <a:moveTo>
                    <a:pt x="2661" y="1315"/>
                  </a:moveTo>
                  <a:cubicBezTo>
                    <a:pt x="2696" y="1315"/>
                    <a:pt x="2734" y="1307"/>
                    <a:pt x="2776" y="1291"/>
                  </a:cubicBezTo>
                  <a:cubicBezTo>
                    <a:pt x="2818" y="1275"/>
                    <a:pt x="2856" y="1254"/>
                    <a:pt x="2892" y="1227"/>
                  </a:cubicBezTo>
                  <a:lnTo>
                    <a:pt x="2892" y="1444"/>
                  </a:lnTo>
                  <a:cubicBezTo>
                    <a:pt x="2855" y="1465"/>
                    <a:pt x="2812" y="1481"/>
                    <a:pt x="2765" y="1492"/>
                  </a:cubicBezTo>
                  <a:cubicBezTo>
                    <a:pt x="2718" y="1503"/>
                    <a:pt x="2666" y="1509"/>
                    <a:pt x="2609" y="1509"/>
                  </a:cubicBezTo>
                  <a:cubicBezTo>
                    <a:pt x="2463" y="1509"/>
                    <a:pt x="2345" y="1463"/>
                    <a:pt x="2254" y="1370"/>
                  </a:cubicBezTo>
                  <a:cubicBezTo>
                    <a:pt x="2162" y="1278"/>
                    <a:pt x="2117" y="1160"/>
                    <a:pt x="2117" y="1017"/>
                  </a:cubicBezTo>
                  <a:cubicBezTo>
                    <a:pt x="2117" y="858"/>
                    <a:pt x="2163" y="726"/>
                    <a:pt x="2257" y="623"/>
                  </a:cubicBezTo>
                  <a:cubicBezTo>
                    <a:pt x="2350" y="520"/>
                    <a:pt x="2482" y="469"/>
                    <a:pt x="2653" y="469"/>
                  </a:cubicBezTo>
                  <a:cubicBezTo>
                    <a:pt x="2696" y="469"/>
                    <a:pt x="2741" y="474"/>
                    <a:pt x="2785" y="485"/>
                  </a:cubicBezTo>
                  <a:cubicBezTo>
                    <a:pt x="2830" y="497"/>
                    <a:pt x="2865" y="510"/>
                    <a:pt x="2892" y="524"/>
                  </a:cubicBezTo>
                  <a:lnTo>
                    <a:pt x="2892" y="748"/>
                  </a:lnTo>
                  <a:cubicBezTo>
                    <a:pt x="2856" y="722"/>
                    <a:pt x="2819" y="701"/>
                    <a:pt x="2781" y="687"/>
                  </a:cubicBezTo>
                  <a:cubicBezTo>
                    <a:pt x="2744" y="672"/>
                    <a:pt x="2705" y="665"/>
                    <a:pt x="2666" y="665"/>
                  </a:cubicBezTo>
                  <a:cubicBezTo>
                    <a:pt x="2574" y="665"/>
                    <a:pt x="2500" y="695"/>
                    <a:pt x="2444" y="755"/>
                  </a:cubicBezTo>
                  <a:cubicBezTo>
                    <a:pt x="2387" y="815"/>
                    <a:pt x="2359" y="895"/>
                    <a:pt x="2359" y="997"/>
                  </a:cubicBezTo>
                  <a:cubicBezTo>
                    <a:pt x="2359" y="1097"/>
                    <a:pt x="2386" y="1175"/>
                    <a:pt x="2440" y="1231"/>
                  </a:cubicBezTo>
                  <a:cubicBezTo>
                    <a:pt x="2494" y="1287"/>
                    <a:pt x="2568" y="1315"/>
                    <a:pt x="2661" y="1315"/>
                  </a:cubicBezTo>
                  <a:close/>
                  <a:moveTo>
                    <a:pt x="1954" y="1485"/>
                  </a:moveTo>
                  <a:lnTo>
                    <a:pt x="1721" y="1485"/>
                  </a:lnTo>
                  <a:lnTo>
                    <a:pt x="1721" y="494"/>
                  </a:lnTo>
                  <a:lnTo>
                    <a:pt x="1954" y="494"/>
                  </a:lnTo>
                  <a:lnTo>
                    <a:pt x="1954" y="1485"/>
                  </a:lnTo>
                  <a:close/>
                  <a:moveTo>
                    <a:pt x="1696" y="207"/>
                  </a:moveTo>
                  <a:cubicBezTo>
                    <a:pt x="1696" y="169"/>
                    <a:pt x="1710" y="136"/>
                    <a:pt x="1738" y="110"/>
                  </a:cubicBezTo>
                  <a:cubicBezTo>
                    <a:pt x="1766" y="84"/>
                    <a:pt x="1800" y="71"/>
                    <a:pt x="1838" y="71"/>
                  </a:cubicBezTo>
                  <a:cubicBezTo>
                    <a:pt x="1879" y="71"/>
                    <a:pt x="1913" y="85"/>
                    <a:pt x="1940" y="111"/>
                  </a:cubicBezTo>
                  <a:cubicBezTo>
                    <a:pt x="1967" y="138"/>
                    <a:pt x="1981" y="170"/>
                    <a:pt x="1981" y="207"/>
                  </a:cubicBezTo>
                  <a:cubicBezTo>
                    <a:pt x="1981" y="245"/>
                    <a:pt x="1967" y="277"/>
                    <a:pt x="1939" y="303"/>
                  </a:cubicBezTo>
                  <a:cubicBezTo>
                    <a:pt x="1912" y="328"/>
                    <a:pt x="1878" y="341"/>
                    <a:pt x="1838" y="341"/>
                  </a:cubicBezTo>
                  <a:cubicBezTo>
                    <a:pt x="1798" y="341"/>
                    <a:pt x="1765" y="328"/>
                    <a:pt x="1737" y="302"/>
                  </a:cubicBezTo>
                  <a:cubicBezTo>
                    <a:pt x="1710" y="276"/>
                    <a:pt x="1696" y="245"/>
                    <a:pt x="1696" y="207"/>
                  </a:cubicBezTo>
                  <a:close/>
                  <a:moveTo>
                    <a:pt x="1496" y="102"/>
                  </a:moveTo>
                  <a:lnTo>
                    <a:pt x="1496" y="1485"/>
                  </a:lnTo>
                  <a:lnTo>
                    <a:pt x="1256" y="1485"/>
                  </a:lnTo>
                  <a:lnTo>
                    <a:pt x="1256" y="401"/>
                  </a:lnTo>
                  <a:lnTo>
                    <a:pt x="1252" y="401"/>
                  </a:lnTo>
                  <a:lnTo>
                    <a:pt x="823" y="1485"/>
                  </a:lnTo>
                  <a:lnTo>
                    <a:pt x="664" y="1485"/>
                  </a:lnTo>
                  <a:lnTo>
                    <a:pt x="224" y="401"/>
                  </a:lnTo>
                  <a:lnTo>
                    <a:pt x="221" y="401"/>
                  </a:lnTo>
                  <a:lnTo>
                    <a:pt x="221" y="1485"/>
                  </a:lnTo>
                  <a:lnTo>
                    <a:pt x="0" y="1485"/>
                  </a:lnTo>
                  <a:lnTo>
                    <a:pt x="0" y="102"/>
                  </a:lnTo>
                  <a:lnTo>
                    <a:pt x="344" y="102"/>
                  </a:lnTo>
                  <a:lnTo>
                    <a:pt x="741" y="1127"/>
                  </a:lnTo>
                  <a:lnTo>
                    <a:pt x="747" y="1127"/>
                  </a:lnTo>
                  <a:lnTo>
                    <a:pt x="1166" y="102"/>
                  </a:lnTo>
                  <a:lnTo>
                    <a:pt x="1496" y="102"/>
                  </a:lnTo>
                  <a:close/>
                </a:path>
              </a:pathLst>
            </a:custGeom>
            <a:solidFill>
              <a:schemeClr val="bg1"/>
            </a:solidFill>
            <a:ln w="0">
              <a:noFill/>
              <a:prstDash val="solid"/>
              <a:round/>
              <a:headEnd/>
              <a:tailEnd/>
            </a:ln>
          </p:spPr>
          <p:txBody>
            <a:bodyPr vert="horz" wrap="square" lIns="77717" tIns="38858" rIns="77717" bIns="3885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a:ln>
                  <a:noFill/>
                </a:ln>
                <a:solidFill>
                  <a:sysClr val="windowText" lastClr="000000"/>
                </a:solidFill>
                <a:effectLst/>
                <a:uLnTx/>
                <a:uFillTx/>
              </a:endParaRPr>
            </a:p>
          </p:txBody>
        </p:sp>
        <p:grpSp>
          <p:nvGrpSpPr>
            <p:cNvPr id="4" name="Group 3"/>
            <p:cNvGrpSpPr/>
            <p:nvPr userDrawn="1"/>
          </p:nvGrpSpPr>
          <p:grpSpPr>
            <a:xfrm>
              <a:off x="3440113" y="6411913"/>
              <a:ext cx="957262" cy="965200"/>
              <a:chOff x="3440113" y="6411913"/>
              <a:chExt cx="957262" cy="965200"/>
            </a:xfrm>
          </p:grpSpPr>
          <p:sp>
            <p:nvSpPr>
              <p:cNvPr id="5" name="Rectangle 6"/>
              <p:cNvSpPr>
                <a:spLocks noChangeArrowheads="1"/>
              </p:cNvSpPr>
              <p:nvPr userDrawn="1"/>
            </p:nvSpPr>
            <p:spPr bwMode="auto">
              <a:xfrm>
                <a:off x="3440113" y="6411913"/>
                <a:ext cx="455613" cy="45878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717" tIns="38858" rIns="77717" bIns="3885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a:ln>
                    <a:noFill/>
                  </a:ln>
                  <a:solidFill>
                    <a:sysClr val="windowText" lastClr="000000"/>
                  </a:solidFill>
                  <a:effectLst/>
                  <a:uLnTx/>
                  <a:uFillTx/>
                </a:endParaRPr>
              </a:p>
            </p:txBody>
          </p:sp>
          <p:sp>
            <p:nvSpPr>
              <p:cNvPr id="6" name="Rectangle 7"/>
              <p:cNvSpPr>
                <a:spLocks noChangeArrowheads="1"/>
              </p:cNvSpPr>
              <p:nvPr userDrawn="1"/>
            </p:nvSpPr>
            <p:spPr bwMode="auto">
              <a:xfrm>
                <a:off x="3943350" y="6411913"/>
                <a:ext cx="454025" cy="45878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717" tIns="38858" rIns="77717" bIns="3885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a:ln>
                    <a:noFill/>
                  </a:ln>
                  <a:solidFill>
                    <a:sysClr val="windowText" lastClr="000000"/>
                  </a:solidFill>
                  <a:effectLst/>
                  <a:uLnTx/>
                  <a:uFillTx/>
                </a:endParaRPr>
              </a:p>
            </p:txBody>
          </p:sp>
          <p:sp>
            <p:nvSpPr>
              <p:cNvPr id="7" name="Rectangle 8"/>
              <p:cNvSpPr>
                <a:spLocks noChangeArrowheads="1"/>
              </p:cNvSpPr>
              <p:nvPr userDrawn="1"/>
            </p:nvSpPr>
            <p:spPr bwMode="auto">
              <a:xfrm>
                <a:off x="3440113" y="6918325"/>
                <a:ext cx="455613" cy="4587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717" tIns="38858" rIns="77717" bIns="3885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a:ln>
                    <a:noFill/>
                  </a:ln>
                  <a:solidFill>
                    <a:sysClr val="windowText" lastClr="000000"/>
                  </a:solidFill>
                  <a:effectLst/>
                  <a:uLnTx/>
                  <a:uFillTx/>
                </a:endParaRPr>
              </a:p>
            </p:txBody>
          </p:sp>
          <p:sp>
            <p:nvSpPr>
              <p:cNvPr id="8" name="Rectangle 9"/>
              <p:cNvSpPr>
                <a:spLocks noChangeArrowheads="1"/>
              </p:cNvSpPr>
              <p:nvPr userDrawn="1"/>
            </p:nvSpPr>
            <p:spPr bwMode="auto">
              <a:xfrm>
                <a:off x="3943350" y="6918325"/>
                <a:ext cx="454025" cy="4587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717" tIns="38858" rIns="77717" bIns="3885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a:ln>
                    <a:noFill/>
                  </a:ln>
                  <a:solidFill>
                    <a:sysClr val="windowText" lastClr="000000"/>
                  </a:solidFill>
                  <a:effectLst/>
                  <a:uLnTx/>
                  <a:uFillTx/>
                </a:endParaRPr>
              </a:p>
            </p:txBody>
          </p:sp>
        </p:grpSp>
      </p:grpSp>
    </p:spTree>
    <p:extLst>
      <p:ext uri="{BB962C8B-B14F-4D97-AF65-F5344CB8AC3E}">
        <p14:creationId xmlns:p14="http://schemas.microsoft.com/office/powerpoint/2010/main" val="348867602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7" name="Rectangle 6"/>
          <p:cNvSpPr/>
          <p:nvPr/>
        </p:nvSpPr>
        <p:spPr>
          <a:xfrm>
            <a:off x="246636" y="533441"/>
            <a:ext cx="2993152" cy="6364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dirty="0">
                <a:solidFill>
                  <a:schemeClr val="tx1"/>
                </a:solidFill>
              </a:rPr>
              <a:t>ON-PREMISES</a:t>
            </a:r>
          </a:p>
        </p:txBody>
      </p:sp>
      <p:sp>
        <p:nvSpPr>
          <p:cNvPr id="26" name="Rectangle 25"/>
          <p:cNvSpPr/>
          <p:nvPr/>
        </p:nvSpPr>
        <p:spPr>
          <a:xfrm>
            <a:off x="3811112" y="533441"/>
            <a:ext cx="6213473" cy="6364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dirty="0">
                <a:solidFill>
                  <a:schemeClr val="tx1"/>
                </a:solidFill>
              </a:rPr>
              <a:t>CLOUD</a:t>
            </a:r>
          </a:p>
        </p:txBody>
      </p:sp>
      <p:sp>
        <p:nvSpPr>
          <p:cNvPr id="27" name="Rectangle 26"/>
          <p:cNvSpPr/>
          <p:nvPr/>
        </p:nvSpPr>
        <p:spPr>
          <a:xfrm>
            <a:off x="601977" y="2291525"/>
            <a:ext cx="1417810" cy="3843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122" kern="0" dirty="0">
                <a:solidFill>
                  <a:schemeClr val="tx1"/>
                </a:solidFill>
              </a:rPr>
              <a:t>Massive Archive</a:t>
            </a:r>
          </a:p>
        </p:txBody>
      </p:sp>
      <p:sp>
        <p:nvSpPr>
          <p:cNvPr id="28" name="Rectangle 27"/>
          <p:cNvSpPr/>
          <p:nvPr/>
        </p:nvSpPr>
        <p:spPr>
          <a:xfrm>
            <a:off x="595676" y="3501673"/>
            <a:ext cx="1417810" cy="11978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32597">
              <a:defRPr/>
            </a:pPr>
            <a:r>
              <a:rPr lang="en-US" sz="1122" kern="0" dirty="0">
                <a:solidFill>
                  <a:schemeClr val="tx1"/>
                </a:solidFill>
              </a:rPr>
              <a:t>On-Prem HDFS</a:t>
            </a:r>
          </a:p>
        </p:txBody>
      </p:sp>
      <p:sp>
        <p:nvSpPr>
          <p:cNvPr id="8" name="Down Arrow 7"/>
          <p:cNvSpPr/>
          <p:nvPr/>
        </p:nvSpPr>
        <p:spPr>
          <a:xfrm>
            <a:off x="1131294" y="2823702"/>
            <a:ext cx="346576" cy="491507"/>
          </a:xfrm>
          <a:prstGeom prst="down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kern="0">
              <a:solidFill>
                <a:sysClr val="windowText" lastClr="000000"/>
              </a:solidFill>
            </a:endParaRPr>
          </a:p>
        </p:txBody>
      </p:sp>
      <p:sp>
        <p:nvSpPr>
          <p:cNvPr id="29" name="Rectangle 28"/>
          <p:cNvSpPr/>
          <p:nvPr/>
        </p:nvSpPr>
        <p:spPr>
          <a:xfrm>
            <a:off x="1614398" y="2876959"/>
            <a:ext cx="941006" cy="3723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1122" kern="0" dirty="0">
                <a:solidFill>
                  <a:schemeClr val="tx1"/>
                </a:solidFill>
              </a:rPr>
              <a:t>Initial one time import</a:t>
            </a:r>
          </a:p>
        </p:txBody>
      </p:sp>
      <p:sp>
        <p:nvSpPr>
          <p:cNvPr id="30" name="Rectangle 29"/>
          <p:cNvSpPr/>
          <p:nvPr/>
        </p:nvSpPr>
        <p:spPr>
          <a:xfrm>
            <a:off x="601977" y="5917213"/>
            <a:ext cx="1417810" cy="4668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122" kern="0" dirty="0">
                <a:solidFill>
                  <a:schemeClr val="tx1"/>
                </a:solidFill>
              </a:rPr>
              <a:t>Active Incoming Data</a:t>
            </a:r>
          </a:p>
        </p:txBody>
      </p:sp>
      <p:sp>
        <p:nvSpPr>
          <p:cNvPr id="31" name="Down Arrow 30"/>
          <p:cNvSpPr/>
          <p:nvPr/>
        </p:nvSpPr>
        <p:spPr>
          <a:xfrm rot="10800000">
            <a:off x="1085083" y="4908865"/>
            <a:ext cx="346576" cy="491507"/>
          </a:xfrm>
          <a:prstGeom prst="down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kern="0">
              <a:solidFill>
                <a:sysClr val="windowText" lastClr="000000"/>
              </a:solidFill>
            </a:endParaRPr>
          </a:p>
        </p:txBody>
      </p:sp>
      <p:sp>
        <p:nvSpPr>
          <p:cNvPr id="32" name="Rectangle 31"/>
          <p:cNvSpPr/>
          <p:nvPr/>
        </p:nvSpPr>
        <p:spPr>
          <a:xfrm>
            <a:off x="1549284" y="5019427"/>
            <a:ext cx="941006" cy="3723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1122" kern="0" dirty="0">
                <a:solidFill>
                  <a:schemeClr val="tx1"/>
                </a:solidFill>
              </a:rPr>
              <a:t>Incremental</a:t>
            </a:r>
          </a:p>
          <a:p>
            <a:pPr defTabSz="932597">
              <a:defRPr/>
            </a:pPr>
            <a:r>
              <a:rPr lang="en-US" sz="1122" kern="0" dirty="0">
                <a:solidFill>
                  <a:schemeClr val="tx1"/>
                </a:solidFill>
              </a:rPr>
              <a:t>updates</a:t>
            </a:r>
          </a:p>
        </p:txBody>
      </p:sp>
      <p:sp>
        <p:nvSpPr>
          <p:cNvPr id="18" name="Right Arrow 17"/>
          <p:cNvSpPr/>
          <p:nvPr/>
        </p:nvSpPr>
        <p:spPr>
          <a:xfrm>
            <a:off x="2560677" y="3633965"/>
            <a:ext cx="888493" cy="320492"/>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kern="0">
              <a:solidFill>
                <a:sysClr val="windowText" lastClr="000000"/>
              </a:solidFill>
            </a:endParaRPr>
          </a:p>
        </p:txBody>
      </p:sp>
      <p:sp>
        <p:nvSpPr>
          <p:cNvPr id="34" name="Rectangle 33"/>
          <p:cNvSpPr/>
          <p:nvPr/>
        </p:nvSpPr>
        <p:spPr>
          <a:xfrm>
            <a:off x="3657945" y="3184004"/>
            <a:ext cx="1417810" cy="13190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b" anchorCtr="0" forceAA="0" compatLnSpc="1">
            <a:prstTxWarp prst="textNoShape">
              <a:avLst/>
            </a:prstTxWarp>
            <a:noAutofit/>
          </a:bodyPr>
          <a:lstStyle/>
          <a:p>
            <a:pPr algn="ctr" defTabSz="932597">
              <a:defRPr/>
            </a:pPr>
            <a:endParaRPr lang="en-US" sz="1122" kern="0" dirty="0">
              <a:solidFill>
                <a:schemeClr val="tx1"/>
              </a:solidFill>
            </a:endParaRPr>
          </a:p>
          <a:p>
            <a:pPr algn="ctr" defTabSz="932597">
              <a:defRPr/>
            </a:pPr>
            <a:r>
              <a:rPr lang="en-US" sz="1122" kern="0" dirty="0">
                <a:solidFill>
                  <a:schemeClr val="tx1"/>
                </a:solidFill>
              </a:rPr>
              <a:t>“Landing Zone”</a:t>
            </a:r>
          </a:p>
          <a:p>
            <a:pPr algn="ctr" defTabSz="932597">
              <a:defRPr/>
            </a:pPr>
            <a:r>
              <a:rPr lang="en-US" sz="1122" kern="0" dirty="0">
                <a:solidFill>
                  <a:schemeClr val="tx1"/>
                </a:solidFill>
              </a:rPr>
              <a:t>Data Lake Store</a:t>
            </a:r>
          </a:p>
        </p:txBody>
      </p:sp>
      <p:sp>
        <p:nvSpPr>
          <p:cNvPr id="35" name="Freeform 34"/>
          <p:cNvSpPr>
            <a:spLocks noChangeAspect="1"/>
          </p:cNvSpPr>
          <p:nvPr/>
        </p:nvSpPr>
        <p:spPr bwMode="black">
          <a:xfrm>
            <a:off x="1089283" y="1857505"/>
            <a:ext cx="368194" cy="371463"/>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6" name="Group 35"/>
          <p:cNvGrpSpPr/>
          <p:nvPr/>
        </p:nvGrpSpPr>
        <p:grpSpPr>
          <a:xfrm>
            <a:off x="1021504" y="3825019"/>
            <a:ext cx="662209" cy="490881"/>
            <a:chOff x="1358900" y="3878263"/>
            <a:chExt cx="1638300" cy="1214438"/>
          </a:xfrm>
        </p:grpSpPr>
        <p:sp>
          <p:nvSpPr>
            <p:cNvPr id="37" name="Freeform 41"/>
            <p:cNvSpPr>
              <a:spLocks/>
            </p:cNvSpPr>
            <p:nvPr/>
          </p:nvSpPr>
          <p:spPr bwMode="auto">
            <a:xfrm>
              <a:off x="1376363" y="3897313"/>
              <a:ext cx="1606550" cy="1179513"/>
            </a:xfrm>
            <a:custGeom>
              <a:avLst/>
              <a:gdLst>
                <a:gd name="T0" fmla="*/ 5241 w 15187"/>
                <a:gd name="T1" fmla="*/ 9710 h 11142"/>
                <a:gd name="T2" fmla="*/ 5233 w 15187"/>
                <a:gd name="T3" fmla="*/ 9178 h 11142"/>
                <a:gd name="T4" fmla="*/ 4434 w 15187"/>
                <a:gd name="T5" fmla="*/ 9449 h 11142"/>
                <a:gd name="T6" fmla="*/ 3641 w 15187"/>
                <a:gd name="T7" fmla="*/ 11126 h 11142"/>
                <a:gd name="T8" fmla="*/ 1789 w 15187"/>
                <a:gd name="T9" fmla="*/ 10455 h 11142"/>
                <a:gd name="T10" fmla="*/ 1450 w 15187"/>
                <a:gd name="T11" fmla="*/ 9774 h 11142"/>
                <a:gd name="T12" fmla="*/ 225 w 15187"/>
                <a:gd name="T13" fmla="*/ 8805 h 11142"/>
                <a:gd name="T14" fmla="*/ 275 w 15187"/>
                <a:gd name="T15" fmla="*/ 8036 h 11142"/>
                <a:gd name="T16" fmla="*/ 1064 w 15187"/>
                <a:gd name="T17" fmla="*/ 5894 h 11142"/>
                <a:gd name="T18" fmla="*/ 587 w 15187"/>
                <a:gd name="T19" fmla="*/ 5637 h 11142"/>
                <a:gd name="T20" fmla="*/ 0 w 15187"/>
                <a:gd name="T21" fmla="*/ 4241 h 11142"/>
                <a:gd name="T22" fmla="*/ 737 w 15187"/>
                <a:gd name="T23" fmla="*/ 3467 h 11142"/>
                <a:gd name="T24" fmla="*/ 967 w 15187"/>
                <a:gd name="T25" fmla="*/ 3962 h 11142"/>
                <a:gd name="T26" fmla="*/ 1235 w 15187"/>
                <a:gd name="T27" fmla="*/ 4658 h 11142"/>
                <a:gd name="T28" fmla="*/ 2180 w 15187"/>
                <a:gd name="T29" fmla="*/ 3525 h 11142"/>
                <a:gd name="T30" fmla="*/ 4772 w 15187"/>
                <a:gd name="T31" fmla="*/ 2368 h 11142"/>
                <a:gd name="T32" fmla="*/ 4796 w 15187"/>
                <a:gd name="T33" fmla="*/ 2366 h 11142"/>
                <a:gd name="T34" fmla="*/ 5902 w 15187"/>
                <a:gd name="T35" fmla="*/ 1584 h 11142"/>
                <a:gd name="T36" fmla="*/ 7475 w 15187"/>
                <a:gd name="T37" fmla="*/ 320 h 11142"/>
                <a:gd name="T38" fmla="*/ 10463 w 15187"/>
                <a:gd name="T39" fmla="*/ 444 h 11142"/>
                <a:gd name="T40" fmla="*/ 12229 w 15187"/>
                <a:gd name="T41" fmla="*/ 2322 h 11142"/>
                <a:gd name="T42" fmla="*/ 11919 w 15187"/>
                <a:gd name="T43" fmla="*/ 2784 h 11142"/>
                <a:gd name="T44" fmla="*/ 12748 w 15187"/>
                <a:gd name="T45" fmla="*/ 1952 h 11142"/>
                <a:gd name="T46" fmla="*/ 12808 w 15187"/>
                <a:gd name="T47" fmla="*/ 1312 h 11142"/>
                <a:gd name="T48" fmla="*/ 14117 w 15187"/>
                <a:gd name="T49" fmla="*/ 374 h 11142"/>
                <a:gd name="T50" fmla="*/ 15054 w 15187"/>
                <a:gd name="T51" fmla="*/ 1820 h 11142"/>
                <a:gd name="T52" fmla="*/ 15074 w 15187"/>
                <a:gd name="T53" fmla="*/ 4582 h 11142"/>
                <a:gd name="T54" fmla="*/ 13760 w 15187"/>
                <a:gd name="T55" fmla="*/ 6707 h 11142"/>
                <a:gd name="T56" fmla="*/ 11787 w 15187"/>
                <a:gd name="T57" fmla="*/ 6939 h 11142"/>
                <a:gd name="T58" fmla="*/ 11079 w 15187"/>
                <a:gd name="T59" fmla="*/ 7951 h 11142"/>
                <a:gd name="T60" fmla="*/ 9991 w 15187"/>
                <a:gd name="T61" fmla="*/ 7940 h 11142"/>
                <a:gd name="T62" fmla="*/ 9225 w 15187"/>
                <a:gd name="T63" fmla="*/ 7666 h 11142"/>
                <a:gd name="T64" fmla="*/ 9246 w 15187"/>
                <a:gd name="T65" fmla="*/ 7826 h 11142"/>
                <a:gd name="T66" fmla="*/ 9561 w 15187"/>
                <a:gd name="T67" fmla="*/ 8267 h 11142"/>
                <a:gd name="T68" fmla="*/ 9893 w 15187"/>
                <a:gd name="T69" fmla="*/ 9776 h 11142"/>
                <a:gd name="T70" fmla="*/ 9523 w 15187"/>
                <a:gd name="T71" fmla="*/ 10699 h 11142"/>
                <a:gd name="T72" fmla="*/ 8033 w 15187"/>
                <a:gd name="T73" fmla="*/ 10573 h 11142"/>
                <a:gd name="T74" fmla="*/ 7942 w 15187"/>
                <a:gd name="T75" fmla="*/ 10378 h 11142"/>
                <a:gd name="T76" fmla="*/ 7218 w 15187"/>
                <a:gd name="T77" fmla="*/ 10650 h 11142"/>
                <a:gd name="T78" fmla="*/ 5285 w 15187"/>
                <a:gd name="T79" fmla="*/ 10028 h 11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87" h="11142">
                  <a:moveTo>
                    <a:pt x="5285" y="10028"/>
                  </a:moveTo>
                  <a:lnTo>
                    <a:pt x="5241" y="9710"/>
                  </a:lnTo>
                  <a:lnTo>
                    <a:pt x="5370" y="9432"/>
                  </a:lnTo>
                  <a:lnTo>
                    <a:pt x="5233" y="9178"/>
                  </a:lnTo>
                  <a:lnTo>
                    <a:pt x="4621" y="9040"/>
                  </a:lnTo>
                  <a:lnTo>
                    <a:pt x="4434" y="9449"/>
                  </a:lnTo>
                  <a:lnTo>
                    <a:pt x="3963" y="10867"/>
                  </a:lnTo>
                  <a:lnTo>
                    <a:pt x="3641" y="11126"/>
                  </a:lnTo>
                  <a:lnTo>
                    <a:pt x="2596" y="10940"/>
                  </a:lnTo>
                  <a:lnTo>
                    <a:pt x="1789" y="10455"/>
                  </a:lnTo>
                  <a:lnTo>
                    <a:pt x="1960" y="9717"/>
                  </a:lnTo>
                  <a:lnTo>
                    <a:pt x="1450" y="9774"/>
                  </a:lnTo>
                  <a:lnTo>
                    <a:pt x="575" y="9268"/>
                  </a:lnTo>
                  <a:lnTo>
                    <a:pt x="225" y="8805"/>
                  </a:lnTo>
                  <a:lnTo>
                    <a:pt x="214" y="8787"/>
                  </a:lnTo>
                  <a:lnTo>
                    <a:pt x="275" y="8036"/>
                  </a:lnTo>
                  <a:lnTo>
                    <a:pt x="1041" y="7093"/>
                  </a:lnTo>
                  <a:lnTo>
                    <a:pt x="1064" y="5894"/>
                  </a:lnTo>
                  <a:lnTo>
                    <a:pt x="902" y="5720"/>
                  </a:lnTo>
                  <a:lnTo>
                    <a:pt x="587" y="5637"/>
                  </a:lnTo>
                  <a:lnTo>
                    <a:pt x="95" y="4814"/>
                  </a:lnTo>
                  <a:lnTo>
                    <a:pt x="0" y="4241"/>
                  </a:lnTo>
                  <a:lnTo>
                    <a:pt x="725" y="3473"/>
                  </a:lnTo>
                  <a:lnTo>
                    <a:pt x="737" y="3467"/>
                  </a:lnTo>
                  <a:lnTo>
                    <a:pt x="1357" y="3094"/>
                  </a:lnTo>
                  <a:lnTo>
                    <a:pt x="967" y="3962"/>
                  </a:lnTo>
                  <a:lnTo>
                    <a:pt x="958" y="4542"/>
                  </a:lnTo>
                  <a:lnTo>
                    <a:pt x="1235" y="4658"/>
                  </a:lnTo>
                  <a:lnTo>
                    <a:pt x="1557" y="4271"/>
                  </a:lnTo>
                  <a:lnTo>
                    <a:pt x="2180" y="3525"/>
                  </a:lnTo>
                  <a:lnTo>
                    <a:pt x="3357" y="2764"/>
                  </a:lnTo>
                  <a:lnTo>
                    <a:pt x="4772" y="2368"/>
                  </a:lnTo>
                  <a:lnTo>
                    <a:pt x="4775" y="2368"/>
                  </a:lnTo>
                  <a:lnTo>
                    <a:pt x="4796" y="2366"/>
                  </a:lnTo>
                  <a:lnTo>
                    <a:pt x="5235" y="2245"/>
                  </a:lnTo>
                  <a:lnTo>
                    <a:pt x="5902" y="1584"/>
                  </a:lnTo>
                  <a:lnTo>
                    <a:pt x="6314" y="1487"/>
                  </a:lnTo>
                  <a:lnTo>
                    <a:pt x="7475" y="320"/>
                  </a:lnTo>
                  <a:lnTo>
                    <a:pt x="9153" y="0"/>
                  </a:lnTo>
                  <a:lnTo>
                    <a:pt x="10463" y="444"/>
                  </a:lnTo>
                  <a:lnTo>
                    <a:pt x="11733" y="1687"/>
                  </a:lnTo>
                  <a:lnTo>
                    <a:pt x="12229" y="2322"/>
                  </a:lnTo>
                  <a:lnTo>
                    <a:pt x="12086" y="2641"/>
                  </a:lnTo>
                  <a:lnTo>
                    <a:pt x="11919" y="2784"/>
                  </a:lnTo>
                  <a:lnTo>
                    <a:pt x="12928" y="3514"/>
                  </a:lnTo>
                  <a:lnTo>
                    <a:pt x="12748" y="1952"/>
                  </a:lnTo>
                  <a:lnTo>
                    <a:pt x="12797" y="1323"/>
                  </a:lnTo>
                  <a:lnTo>
                    <a:pt x="12808" y="1312"/>
                  </a:lnTo>
                  <a:lnTo>
                    <a:pt x="14099" y="374"/>
                  </a:lnTo>
                  <a:lnTo>
                    <a:pt x="14117" y="374"/>
                  </a:lnTo>
                  <a:lnTo>
                    <a:pt x="14715" y="690"/>
                  </a:lnTo>
                  <a:lnTo>
                    <a:pt x="15054" y="1820"/>
                  </a:lnTo>
                  <a:lnTo>
                    <a:pt x="15187" y="2929"/>
                  </a:lnTo>
                  <a:lnTo>
                    <a:pt x="15074" y="4582"/>
                  </a:lnTo>
                  <a:lnTo>
                    <a:pt x="14612" y="5722"/>
                  </a:lnTo>
                  <a:lnTo>
                    <a:pt x="13760" y="6707"/>
                  </a:lnTo>
                  <a:lnTo>
                    <a:pt x="12558" y="7029"/>
                  </a:lnTo>
                  <a:lnTo>
                    <a:pt x="11787" y="6939"/>
                  </a:lnTo>
                  <a:lnTo>
                    <a:pt x="11439" y="7550"/>
                  </a:lnTo>
                  <a:lnTo>
                    <a:pt x="11079" y="7951"/>
                  </a:lnTo>
                  <a:lnTo>
                    <a:pt x="10469" y="8057"/>
                  </a:lnTo>
                  <a:lnTo>
                    <a:pt x="9991" y="7940"/>
                  </a:lnTo>
                  <a:lnTo>
                    <a:pt x="9483" y="7596"/>
                  </a:lnTo>
                  <a:lnTo>
                    <a:pt x="9225" y="7666"/>
                  </a:lnTo>
                  <a:lnTo>
                    <a:pt x="9222" y="7674"/>
                  </a:lnTo>
                  <a:lnTo>
                    <a:pt x="9246" y="7826"/>
                  </a:lnTo>
                  <a:lnTo>
                    <a:pt x="9489" y="8150"/>
                  </a:lnTo>
                  <a:lnTo>
                    <a:pt x="9561" y="8267"/>
                  </a:lnTo>
                  <a:lnTo>
                    <a:pt x="9838" y="8848"/>
                  </a:lnTo>
                  <a:lnTo>
                    <a:pt x="9893" y="9776"/>
                  </a:lnTo>
                  <a:lnTo>
                    <a:pt x="10032" y="10435"/>
                  </a:lnTo>
                  <a:lnTo>
                    <a:pt x="9523" y="10699"/>
                  </a:lnTo>
                  <a:lnTo>
                    <a:pt x="8339" y="10696"/>
                  </a:lnTo>
                  <a:lnTo>
                    <a:pt x="8033" y="10573"/>
                  </a:lnTo>
                  <a:lnTo>
                    <a:pt x="8018" y="10556"/>
                  </a:lnTo>
                  <a:lnTo>
                    <a:pt x="7942" y="10378"/>
                  </a:lnTo>
                  <a:lnTo>
                    <a:pt x="7674" y="10271"/>
                  </a:lnTo>
                  <a:lnTo>
                    <a:pt x="7218" y="10650"/>
                  </a:lnTo>
                  <a:lnTo>
                    <a:pt x="6386" y="11142"/>
                  </a:lnTo>
                  <a:lnTo>
                    <a:pt x="5285" y="10028"/>
                  </a:lnTo>
                  <a:close/>
                </a:path>
              </a:pathLst>
            </a:custGeom>
            <a:solidFill>
              <a:srgbClr val="FAD1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8" name="Freeform 42"/>
            <p:cNvSpPr>
              <a:spLocks/>
            </p:cNvSpPr>
            <p:nvPr/>
          </p:nvSpPr>
          <p:spPr bwMode="auto">
            <a:xfrm>
              <a:off x="1376363" y="4618038"/>
              <a:ext cx="246062" cy="330200"/>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39" name="Freeform 43"/>
            <p:cNvSpPr>
              <a:spLocks/>
            </p:cNvSpPr>
            <p:nvPr/>
          </p:nvSpPr>
          <p:spPr bwMode="auto">
            <a:xfrm>
              <a:off x="2203450" y="4699000"/>
              <a:ext cx="254000" cy="346075"/>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0" name="Freeform 44"/>
            <p:cNvSpPr>
              <a:spLocks noEditPoints="1"/>
            </p:cNvSpPr>
            <p:nvPr/>
          </p:nvSpPr>
          <p:spPr bwMode="auto">
            <a:xfrm>
              <a:off x="1358900" y="3878263"/>
              <a:ext cx="1638300" cy="121443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41" name="Freeform 45"/>
            <p:cNvSpPr>
              <a:spLocks/>
            </p:cNvSpPr>
            <p:nvPr/>
          </p:nvSpPr>
          <p:spPr bwMode="auto">
            <a:xfrm>
              <a:off x="1971675" y="4108450"/>
              <a:ext cx="220662" cy="225425"/>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sp>
        <p:nvSpPr>
          <p:cNvPr id="42" name="Freeform 41"/>
          <p:cNvSpPr>
            <a:spLocks noChangeAspect="1"/>
          </p:cNvSpPr>
          <p:nvPr/>
        </p:nvSpPr>
        <p:spPr bwMode="black">
          <a:xfrm>
            <a:off x="1085093" y="5545750"/>
            <a:ext cx="368194" cy="371463"/>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p:cNvGrpSpPr/>
          <p:nvPr/>
        </p:nvGrpSpPr>
        <p:grpSpPr>
          <a:xfrm>
            <a:off x="3976582" y="3436112"/>
            <a:ext cx="759574" cy="595102"/>
            <a:chOff x="2148168" y="3425172"/>
            <a:chExt cx="2573338" cy="2016125"/>
          </a:xfrm>
        </p:grpSpPr>
        <p:sp>
          <p:nvSpPr>
            <p:cNvPr id="50" name="Rectangle 28"/>
            <p:cNvSpPr>
              <a:spLocks noChangeArrowheads="1"/>
            </p:cNvSpPr>
            <p:nvPr/>
          </p:nvSpPr>
          <p:spPr bwMode="auto">
            <a:xfrm>
              <a:off x="2829205" y="3822047"/>
              <a:ext cx="1211263" cy="1511300"/>
            </a:xfrm>
            <a:prstGeom prst="rect">
              <a:avLst/>
            </a:prstGeom>
            <a:solidFill>
              <a:srgbClr val="FFFFFF"/>
            </a:solidFill>
            <a:ln w="9525">
              <a:solidFill>
                <a:srgbClr val="000000"/>
              </a:solid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1" name="Rectangle 29"/>
            <p:cNvSpPr>
              <a:spLocks noChangeArrowheads="1"/>
            </p:cNvSpPr>
            <p:nvPr/>
          </p:nvSpPr>
          <p:spPr bwMode="auto">
            <a:xfrm>
              <a:off x="2829205" y="3822047"/>
              <a:ext cx="1211263" cy="1511300"/>
            </a:xfrm>
            <a:prstGeom prst="rect">
              <a:avLst/>
            </a:prstGeom>
            <a:noFill/>
            <a:ln w="3175" cap="rnd">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2" name="Freeform 30"/>
            <p:cNvSpPr>
              <a:spLocks/>
            </p:cNvSpPr>
            <p:nvPr/>
          </p:nvSpPr>
          <p:spPr bwMode="auto">
            <a:xfrm>
              <a:off x="2148168" y="3425172"/>
              <a:ext cx="1549400" cy="241300"/>
            </a:xfrm>
            <a:custGeom>
              <a:avLst/>
              <a:gdLst>
                <a:gd name="T0" fmla="*/ 11574 w 11789"/>
                <a:gd name="T1" fmla="*/ 1586 h 1841"/>
                <a:gd name="T2" fmla="*/ 11006 w 11789"/>
                <a:gd name="T3" fmla="*/ 607 h 1841"/>
                <a:gd name="T4" fmla="*/ 9948 w 11789"/>
                <a:gd name="T5" fmla="*/ 0 h 1841"/>
                <a:gd name="T6" fmla="*/ 1214 w 11789"/>
                <a:gd name="T7" fmla="*/ 0 h 1841"/>
                <a:gd name="T8" fmla="*/ 0 w 11789"/>
                <a:gd name="T9" fmla="*/ 1214 h 1841"/>
                <a:gd name="T10" fmla="*/ 0 w 11789"/>
                <a:gd name="T11" fmla="*/ 1841 h 1841"/>
                <a:gd name="T12" fmla="*/ 11789 w 11789"/>
                <a:gd name="T13" fmla="*/ 1841 h 1841"/>
                <a:gd name="T14" fmla="*/ 11574 w 11789"/>
                <a:gd name="T15" fmla="*/ 1586 h 18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89" h="1841">
                  <a:moveTo>
                    <a:pt x="11574" y="1586"/>
                  </a:moveTo>
                  <a:lnTo>
                    <a:pt x="11006" y="607"/>
                  </a:lnTo>
                  <a:cubicBezTo>
                    <a:pt x="10790" y="235"/>
                    <a:pt x="10379" y="0"/>
                    <a:pt x="9948" y="0"/>
                  </a:cubicBezTo>
                  <a:lnTo>
                    <a:pt x="1214" y="0"/>
                  </a:lnTo>
                  <a:cubicBezTo>
                    <a:pt x="548" y="0"/>
                    <a:pt x="0" y="548"/>
                    <a:pt x="0" y="1214"/>
                  </a:cubicBezTo>
                  <a:lnTo>
                    <a:pt x="0" y="1841"/>
                  </a:lnTo>
                  <a:lnTo>
                    <a:pt x="11789" y="1841"/>
                  </a:lnTo>
                  <a:cubicBezTo>
                    <a:pt x="11691" y="1782"/>
                    <a:pt x="11633" y="1684"/>
                    <a:pt x="11574" y="1586"/>
                  </a:cubicBezTo>
                  <a:close/>
                </a:path>
              </a:pathLst>
            </a:custGeom>
            <a:solidFill>
              <a:srgbClr val="3999C6"/>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3" name="Freeform 31"/>
            <p:cNvSpPr>
              <a:spLocks noEditPoints="1"/>
            </p:cNvSpPr>
            <p:nvPr/>
          </p:nvSpPr>
          <p:spPr bwMode="auto">
            <a:xfrm>
              <a:off x="2148168" y="3749022"/>
              <a:ext cx="2573338" cy="1692275"/>
            </a:xfrm>
            <a:custGeom>
              <a:avLst/>
              <a:gdLst>
                <a:gd name="T0" fmla="*/ 9410 w 9792"/>
                <a:gd name="T1" fmla="*/ 0 h 6452"/>
                <a:gd name="T2" fmla="*/ 0 w 9792"/>
                <a:gd name="T3" fmla="*/ 0 h 6452"/>
                <a:gd name="T4" fmla="*/ 0 w 9792"/>
                <a:gd name="T5" fmla="*/ 5845 h 6452"/>
                <a:gd name="T6" fmla="*/ 607 w 9792"/>
                <a:gd name="T7" fmla="*/ 6452 h 6452"/>
                <a:gd name="T8" fmla="*/ 9185 w 9792"/>
                <a:gd name="T9" fmla="*/ 6452 h 6452"/>
                <a:gd name="T10" fmla="*/ 9792 w 9792"/>
                <a:gd name="T11" fmla="*/ 5845 h 6452"/>
                <a:gd name="T12" fmla="*/ 9792 w 9792"/>
                <a:gd name="T13" fmla="*/ 558 h 6452"/>
                <a:gd name="T14" fmla="*/ 9410 w 9792"/>
                <a:gd name="T15" fmla="*/ 0 h 6452"/>
                <a:gd name="T16" fmla="*/ 6140 w 9792"/>
                <a:gd name="T17" fmla="*/ 2937 h 6452"/>
                <a:gd name="T18" fmla="*/ 4406 w 9792"/>
                <a:gd name="T19" fmla="*/ 5415 h 6452"/>
                <a:gd name="T20" fmla="*/ 4338 w 9792"/>
                <a:gd name="T21" fmla="*/ 5454 h 6452"/>
                <a:gd name="T22" fmla="*/ 4299 w 9792"/>
                <a:gd name="T23" fmla="*/ 5444 h 6452"/>
                <a:gd name="T24" fmla="*/ 4260 w 9792"/>
                <a:gd name="T25" fmla="*/ 5346 h 6452"/>
                <a:gd name="T26" fmla="*/ 4710 w 9792"/>
                <a:gd name="T27" fmla="*/ 3867 h 6452"/>
                <a:gd name="T28" fmla="*/ 3701 w 9792"/>
                <a:gd name="T29" fmla="*/ 3867 h 6452"/>
                <a:gd name="T30" fmla="*/ 3623 w 9792"/>
                <a:gd name="T31" fmla="*/ 3818 h 6452"/>
                <a:gd name="T32" fmla="*/ 3633 w 9792"/>
                <a:gd name="T33" fmla="*/ 3730 h 6452"/>
                <a:gd name="T34" fmla="*/ 5317 w 9792"/>
                <a:gd name="T35" fmla="*/ 1282 h 6452"/>
                <a:gd name="T36" fmla="*/ 5386 w 9792"/>
                <a:gd name="T37" fmla="*/ 1243 h 6452"/>
                <a:gd name="T38" fmla="*/ 5425 w 9792"/>
                <a:gd name="T39" fmla="*/ 1253 h 6452"/>
                <a:gd name="T40" fmla="*/ 5464 w 9792"/>
                <a:gd name="T41" fmla="*/ 1351 h 6452"/>
                <a:gd name="T42" fmla="*/ 5033 w 9792"/>
                <a:gd name="T43" fmla="*/ 2800 h 6452"/>
                <a:gd name="T44" fmla="*/ 6071 w 9792"/>
                <a:gd name="T45" fmla="*/ 2800 h 6452"/>
                <a:gd name="T46" fmla="*/ 6159 w 9792"/>
                <a:gd name="T47" fmla="*/ 2888 h 6452"/>
                <a:gd name="T48" fmla="*/ 6140 w 9792"/>
                <a:gd name="T49" fmla="*/ 2937 h 6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92" h="6452">
                  <a:moveTo>
                    <a:pt x="9410" y="0"/>
                  </a:moveTo>
                  <a:lnTo>
                    <a:pt x="0" y="0"/>
                  </a:lnTo>
                  <a:lnTo>
                    <a:pt x="0" y="5845"/>
                  </a:lnTo>
                  <a:cubicBezTo>
                    <a:pt x="0" y="6178"/>
                    <a:pt x="274" y="6452"/>
                    <a:pt x="607" y="6452"/>
                  </a:cubicBezTo>
                  <a:lnTo>
                    <a:pt x="9185" y="6452"/>
                  </a:lnTo>
                  <a:cubicBezTo>
                    <a:pt x="9518" y="6452"/>
                    <a:pt x="9792" y="6178"/>
                    <a:pt x="9792" y="5845"/>
                  </a:cubicBezTo>
                  <a:lnTo>
                    <a:pt x="9792" y="558"/>
                  </a:lnTo>
                  <a:cubicBezTo>
                    <a:pt x="9792" y="313"/>
                    <a:pt x="9635" y="97"/>
                    <a:pt x="9410" y="0"/>
                  </a:cubicBezTo>
                  <a:close/>
                  <a:moveTo>
                    <a:pt x="6140" y="2937"/>
                  </a:moveTo>
                  <a:lnTo>
                    <a:pt x="4406" y="5415"/>
                  </a:lnTo>
                  <a:cubicBezTo>
                    <a:pt x="4387" y="5434"/>
                    <a:pt x="4367" y="5454"/>
                    <a:pt x="4338" y="5454"/>
                  </a:cubicBezTo>
                  <a:cubicBezTo>
                    <a:pt x="4328" y="5454"/>
                    <a:pt x="4309" y="5454"/>
                    <a:pt x="4299" y="5444"/>
                  </a:cubicBezTo>
                  <a:cubicBezTo>
                    <a:pt x="4260" y="5424"/>
                    <a:pt x="4240" y="5385"/>
                    <a:pt x="4260" y="5346"/>
                  </a:cubicBezTo>
                  <a:lnTo>
                    <a:pt x="4710" y="3867"/>
                  </a:lnTo>
                  <a:lnTo>
                    <a:pt x="3701" y="3867"/>
                  </a:lnTo>
                  <a:cubicBezTo>
                    <a:pt x="3672" y="3867"/>
                    <a:pt x="3643" y="3848"/>
                    <a:pt x="3623" y="3818"/>
                  </a:cubicBezTo>
                  <a:cubicBezTo>
                    <a:pt x="3613" y="3789"/>
                    <a:pt x="3613" y="3760"/>
                    <a:pt x="3633" y="3730"/>
                  </a:cubicBezTo>
                  <a:lnTo>
                    <a:pt x="5317" y="1282"/>
                  </a:lnTo>
                  <a:cubicBezTo>
                    <a:pt x="5337" y="1263"/>
                    <a:pt x="5356" y="1243"/>
                    <a:pt x="5386" y="1243"/>
                  </a:cubicBezTo>
                  <a:cubicBezTo>
                    <a:pt x="5395" y="1243"/>
                    <a:pt x="5405" y="1243"/>
                    <a:pt x="5425" y="1253"/>
                  </a:cubicBezTo>
                  <a:cubicBezTo>
                    <a:pt x="5464" y="1273"/>
                    <a:pt x="5484" y="1312"/>
                    <a:pt x="5464" y="1351"/>
                  </a:cubicBezTo>
                  <a:lnTo>
                    <a:pt x="5033" y="2800"/>
                  </a:lnTo>
                  <a:lnTo>
                    <a:pt x="6071" y="2800"/>
                  </a:lnTo>
                  <a:cubicBezTo>
                    <a:pt x="6120" y="2800"/>
                    <a:pt x="6159" y="2839"/>
                    <a:pt x="6159" y="2888"/>
                  </a:cubicBezTo>
                  <a:cubicBezTo>
                    <a:pt x="6159" y="2908"/>
                    <a:pt x="6149" y="2918"/>
                    <a:pt x="6140" y="2937"/>
                  </a:cubicBezTo>
                  <a:close/>
                </a:path>
              </a:pathLst>
            </a:custGeom>
            <a:solidFill>
              <a:srgbClr val="59B4D9"/>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sp>
        <p:nvSpPr>
          <p:cNvPr id="54" name="Rectangle 53"/>
          <p:cNvSpPr/>
          <p:nvPr/>
        </p:nvSpPr>
        <p:spPr>
          <a:xfrm>
            <a:off x="2469164" y="3982247"/>
            <a:ext cx="941006" cy="3723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1122" kern="0" dirty="0">
                <a:solidFill>
                  <a:schemeClr val="tx1"/>
                </a:solidFill>
              </a:rPr>
              <a:t>via </a:t>
            </a:r>
            <a:r>
              <a:rPr lang="en-US" sz="1122" kern="0" dirty="0" err="1">
                <a:solidFill>
                  <a:schemeClr val="tx1"/>
                </a:solidFill>
              </a:rPr>
              <a:t>AzCopy</a:t>
            </a:r>
            <a:endParaRPr lang="en-US" sz="1122" kern="0" dirty="0">
              <a:solidFill>
                <a:schemeClr val="tx1"/>
              </a:solidFill>
            </a:endParaRPr>
          </a:p>
        </p:txBody>
      </p:sp>
      <p:sp>
        <p:nvSpPr>
          <p:cNvPr id="55" name="Rectangle 54"/>
          <p:cNvSpPr/>
          <p:nvPr/>
        </p:nvSpPr>
        <p:spPr>
          <a:xfrm>
            <a:off x="6537768" y="4005824"/>
            <a:ext cx="1417810" cy="4972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b" anchorCtr="0" forceAA="0" compatLnSpc="1">
            <a:prstTxWarp prst="textNoShape">
              <a:avLst/>
            </a:prstTxWarp>
            <a:noAutofit/>
          </a:bodyPr>
          <a:lstStyle/>
          <a:p>
            <a:pPr algn="ctr" defTabSz="932597">
              <a:defRPr/>
            </a:pPr>
            <a:r>
              <a:rPr lang="en-US" sz="1122" kern="0" dirty="0">
                <a:solidFill>
                  <a:schemeClr val="tx1"/>
                </a:solidFill>
              </a:rPr>
              <a:t>Curated Data</a:t>
            </a:r>
          </a:p>
        </p:txBody>
      </p:sp>
      <p:grpSp>
        <p:nvGrpSpPr>
          <p:cNvPr id="56" name="Group 55"/>
          <p:cNvGrpSpPr/>
          <p:nvPr/>
        </p:nvGrpSpPr>
        <p:grpSpPr>
          <a:xfrm>
            <a:off x="6879812" y="3436112"/>
            <a:ext cx="759574" cy="595102"/>
            <a:chOff x="2148168" y="3425172"/>
            <a:chExt cx="2573338" cy="2016125"/>
          </a:xfrm>
        </p:grpSpPr>
        <p:sp>
          <p:nvSpPr>
            <p:cNvPr id="57" name="Rectangle 28"/>
            <p:cNvSpPr>
              <a:spLocks noChangeArrowheads="1"/>
            </p:cNvSpPr>
            <p:nvPr/>
          </p:nvSpPr>
          <p:spPr bwMode="auto">
            <a:xfrm>
              <a:off x="2829205" y="3822047"/>
              <a:ext cx="1211263" cy="1511300"/>
            </a:xfrm>
            <a:prstGeom prst="rect">
              <a:avLst/>
            </a:prstGeom>
            <a:solidFill>
              <a:srgbClr val="FFFFFF"/>
            </a:solidFill>
            <a:ln w="9525">
              <a:solidFill>
                <a:srgbClr val="000000"/>
              </a:solidFill>
              <a:miter lim="800000"/>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8" name="Rectangle 29"/>
            <p:cNvSpPr>
              <a:spLocks noChangeArrowheads="1"/>
            </p:cNvSpPr>
            <p:nvPr/>
          </p:nvSpPr>
          <p:spPr bwMode="auto">
            <a:xfrm>
              <a:off x="2829205" y="3822047"/>
              <a:ext cx="1211263" cy="1511300"/>
            </a:xfrm>
            <a:prstGeom prst="rect">
              <a:avLst/>
            </a:prstGeom>
            <a:noFill/>
            <a:ln w="3175" cap="rnd">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9" name="Freeform 30"/>
            <p:cNvSpPr>
              <a:spLocks/>
            </p:cNvSpPr>
            <p:nvPr/>
          </p:nvSpPr>
          <p:spPr bwMode="auto">
            <a:xfrm>
              <a:off x="2148168" y="3425172"/>
              <a:ext cx="1549400" cy="241300"/>
            </a:xfrm>
            <a:custGeom>
              <a:avLst/>
              <a:gdLst>
                <a:gd name="T0" fmla="*/ 11574 w 11789"/>
                <a:gd name="T1" fmla="*/ 1586 h 1841"/>
                <a:gd name="T2" fmla="*/ 11006 w 11789"/>
                <a:gd name="T3" fmla="*/ 607 h 1841"/>
                <a:gd name="T4" fmla="*/ 9948 w 11789"/>
                <a:gd name="T5" fmla="*/ 0 h 1841"/>
                <a:gd name="T6" fmla="*/ 1214 w 11789"/>
                <a:gd name="T7" fmla="*/ 0 h 1841"/>
                <a:gd name="T8" fmla="*/ 0 w 11789"/>
                <a:gd name="T9" fmla="*/ 1214 h 1841"/>
                <a:gd name="T10" fmla="*/ 0 w 11789"/>
                <a:gd name="T11" fmla="*/ 1841 h 1841"/>
                <a:gd name="T12" fmla="*/ 11789 w 11789"/>
                <a:gd name="T13" fmla="*/ 1841 h 1841"/>
                <a:gd name="T14" fmla="*/ 11574 w 11789"/>
                <a:gd name="T15" fmla="*/ 1586 h 18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89" h="1841">
                  <a:moveTo>
                    <a:pt x="11574" y="1586"/>
                  </a:moveTo>
                  <a:lnTo>
                    <a:pt x="11006" y="607"/>
                  </a:lnTo>
                  <a:cubicBezTo>
                    <a:pt x="10790" y="235"/>
                    <a:pt x="10379" y="0"/>
                    <a:pt x="9948" y="0"/>
                  </a:cubicBezTo>
                  <a:lnTo>
                    <a:pt x="1214" y="0"/>
                  </a:lnTo>
                  <a:cubicBezTo>
                    <a:pt x="548" y="0"/>
                    <a:pt x="0" y="548"/>
                    <a:pt x="0" y="1214"/>
                  </a:cubicBezTo>
                  <a:lnTo>
                    <a:pt x="0" y="1841"/>
                  </a:lnTo>
                  <a:lnTo>
                    <a:pt x="11789" y="1841"/>
                  </a:lnTo>
                  <a:cubicBezTo>
                    <a:pt x="11691" y="1782"/>
                    <a:pt x="11633" y="1684"/>
                    <a:pt x="11574" y="1586"/>
                  </a:cubicBezTo>
                  <a:close/>
                </a:path>
              </a:pathLst>
            </a:custGeom>
            <a:solidFill>
              <a:srgbClr val="3999C6"/>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0" name="Freeform 31"/>
            <p:cNvSpPr>
              <a:spLocks noEditPoints="1"/>
            </p:cNvSpPr>
            <p:nvPr/>
          </p:nvSpPr>
          <p:spPr bwMode="auto">
            <a:xfrm>
              <a:off x="2148168" y="3749022"/>
              <a:ext cx="2573338" cy="1692275"/>
            </a:xfrm>
            <a:custGeom>
              <a:avLst/>
              <a:gdLst>
                <a:gd name="T0" fmla="*/ 9410 w 9792"/>
                <a:gd name="T1" fmla="*/ 0 h 6452"/>
                <a:gd name="T2" fmla="*/ 0 w 9792"/>
                <a:gd name="T3" fmla="*/ 0 h 6452"/>
                <a:gd name="T4" fmla="*/ 0 w 9792"/>
                <a:gd name="T5" fmla="*/ 5845 h 6452"/>
                <a:gd name="T6" fmla="*/ 607 w 9792"/>
                <a:gd name="T7" fmla="*/ 6452 h 6452"/>
                <a:gd name="T8" fmla="*/ 9185 w 9792"/>
                <a:gd name="T9" fmla="*/ 6452 h 6452"/>
                <a:gd name="T10" fmla="*/ 9792 w 9792"/>
                <a:gd name="T11" fmla="*/ 5845 h 6452"/>
                <a:gd name="T12" fmla="*/ 9792 w 9792"/>
                <a:gd name="T13" fmla="*/ 558 h 6452"/>
                <a:gd name="T14" fmla="*/ 9410 w 9792"/>
                <a:gd name="T15" fmla="*/ 0 h 6452"/>
                <a:gd name="T16" fmla="*/ 6140 w 9792"/>
                <a:gd name="T17" fmla="*/ 2937 h 6452"/>
                <a:gd name="T18" fmla="*/ 4406 w 9792"/>
                <a:gd name="T19" fmla="*/ 5415 h 6452"/>
                <a:gd name="T20" fmla="*/ 4338 w 9792"/>
                <a:gd name="T21" fmla="*/ 5454 h 6452"/>
                <a:gd name="T22" fmla="*/ 4299 w 9792"/>
                <a:gd name="T23" fmla="*/ 5444 h 6452"/>
                <a:gd name="T24" fmla="*/ 4260 w 9792"/>
                <a:gd name="T25" fmla="*/ 5346 h 6452"/>
                <a:gd name="T26" fmla="*/ 4710 w 9792"/>
                <a:gd name="T27" fmla="*/ 3867 h 6452"/>
                <a:gd name="T28" fmla="*/ 3701 w 9792"/>
                <a:gd name="T29" fmla="*/ 3867 h 6452"/>
                <a:gd name="T30" fmla="*/ 3623 w 9792"/>
                <a:gd name="T31" fmla="*/ 3818 h 6452"/>
                <a:gd name="T32" fmla="*/ 3633 w 9792"/>
                <a:gd name="T33" fmla="*/ 3730 h 6452"/>
                <a:gd name="T34" fmla="*/ 5317 w 9792"/>
                <a:gd name="T35" fmla="*/ 1282 h 6452"/>
                <a:gd name="T36" fmla="*/ 5386 w 9792"/>
                <a:gd name="T37" fmla="*/ 1243 h 6452"/>
                <a:gd name="T38" fmla="*/ 5425 w 9792"/>
                <a:gd name="T39" fmla="*/ 1253 h 6452"/>
                <a:gd name="T40" fmla="*/ 5464 w 9792"/>
                <a:gd name="T41" fmla="*/ 1351 h 6452"/>
                <a:gd name="T42" fmla="*/ 5033 w 9792"/>
                <a:gd name="T43" fmla="*/ 2800 h 6452"/>
                <a:gd name="T44" fmla="*/ 6071 w 9792"/>
                <a:gd name="T45" fmla="*/ 2800 h 6452"/>
                <a:gd name="T46" fmla="*/ 6159 w 9792"/>
                <a:gd name="T47" fmla="*/ 2888 h 6452"/>
                <a:gd name="T48" fmla="*/ 6140 w 9792"/>
                <a:gd name="T49" fmla="*/ 2937 h 6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92" h="6452">
                  <a:moveTo>
                    <a:pt x="9410" y="0"/>
                  </a:moveTo>
                  <a:lnTo>
                    <a:pt x="0" y="0"/>
                  </a:lnTo>
                  <a:lnTo>
                    <a:pt x="0" y="5845"/>
                  </a:lnTo>
                  <a:cubicBezTo>
                    <a:pt x="0" y="6178"/>
                    <a:pt x="274" y="6452"/>
                    <a:pt x="607" y="6452"/>
                  </a:cubicBezTo>
                  <a:lnTo>
                    <a:pt x="9185" y="6452"/>
                  </a:lnTo>
                  <a:cubicBezTo>
                    <a:pt x="9518" y="6452"/>
                    <a:pt x="9792" y="6178"/>
                    <a:pt x="9792" y="5845"/>
                  </a:cubicBezTo>
                  <a:lnTo>
                    <a:pt x="9792" y="558"/>
                  </a:lnTo>
                  <a:cubicBezTo>
                    <a:pt x="9792" y="313"/>
                    <a:pt x="9635" y="97"/>
                    <a:pt x="9410" y="0"/>
                  </a:cubicBezTo>
                  <a:close/>
                  <a:moveTo>
                    <a:pt x="6140" y="2937"/>
                  </a:moveTo>
                  <a:lnTo>
                    <a:pt x="4406" y="5415"/>
                  </a:lnTo>
                  <a:cubicBezTo>
                    <a:pt x="4387" y="5434"/>
                    <a:pt x="4367" y="5454"/>
                    <a:pt x="4338" y="5454"/>
                  </a:cubicBezTo>
                  <a:cubicBezTo>
                    <a:pt x="4328" y="5454"/>
                    <a:pt x="4309" y="5454"/>
                    <a:pt x="4299" y="5444"/>
                  </a:cubicBezTo>
                  <a:cubicBezTo>
                    <a:pt x="4260" y="5424"/>
                    <a:pt x="4240" y="5385"/>
                    <a:pt x="4260" y="5346"/>
                  </a:cubicBezTo>
                  <a:lnTo>
                    <a:pt x="4710" y="3867"/>
                  </a:lnTo>
                  <a:lnTo>
                    <a:pt x="3701" y="3867"/>
                  </a:lnTo>
                  <a:cubicBezTo>
                    <a:pt x="3672" y="3867"/>
                    <a:pt x="3643" y="3848"/>
                    <a:pt x="3623" y="3818"/>
                  </a:cubicBezTo>
                  <a:cubicBezTo>
                    <a:pt x="3613" y="3789"/>
                    <a:pt x="3613" y="3760"/>
                    <a:pt x="3633" y="3730"/>
                  </a:cubicBezTo>
                  <a:lnTo>
                    <a:pt x="5317" y="1282"/>
                  </a:lnTo>
                  <a:cubicBezTo>
                    <a:pt x="5337" y="1263"/>
                    <a:pt x="5356" y="1243"/>
                    <a:pt x="5386" y="1243"/>
                  </a:cubicBezTo>
                  <a:cubicBezTo>
                    <a:pt x="5395" y="1243"/>
                    <a:pt x="5405" y="1243"/>
                    <a:pt x="5425" y="1253"/>
                  </a:cubicBezTo>
                  <a:cubicBezTo>
                    <a:pt x="5464" y="1273"/>
                    <a:pt x="5484" y="1312"/>
                    <a:pt x="5464" y="1351"/>
                  </a:cubicBezTo>
                  <a:lnTo>
                    <a:pt x="5033" y="2800"/>
                  </a:lnTo>
                  <a:lnTo>
                    <a:pt x="6071" y="2800"/>
                  </a:lnTo>
                  <a:cubicBezTo>
                    <a:pt x="6120" y="2800"/>
                    <a:pt x="6159" y="2839"/>
                    <a:pt x="6159" y="2888"/>
                  </a:cubicBezTo>
                  <a:cubicBezTo>
                    <a:pt x="6159" y="2908"/>
                    <a:pt x="6149" y="2918"/>
                    <a:pt x="6140" y="2937"/>
                  </a:cubicBezTo>
                  <a:close/>
                </a:path>
              </a:pathLst>
            </a:custGeom>
            <a:solidFill>
              <a:srgbClr val="59B4D9"/>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sp>
        <p:nvSpPr>
          <p:cNvPr id="68" name="Right Arrow 67"/>
          <p:cNvSpPr/>
          <p:nvPr/>
        </p:nvSpPr>
        <p:spPr>
          <a:xfrm>
            <a:off x="5093629" y="3633965"/>
            <a:ext cx="1465247" cy="320492"/>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kern="0">
              <a:solidFill>
                <a:sysClr val="windowText" lastClr="000000"/>
              </a:solidFill>
            </a:endParaRPr>
          </a:p>
        </p:txBody>
      </p:sp>
      <p:sp>
        <p:nvSpPr>
          <p:cNvPr id="80" name="Rectangle 79"/>
          <p:cNvSpPr/>
          <p:nvPr/>
        </p:nvSpPr>
        <p:spPr>
          <a:xfrm>
            <a:off x="8606774" y="3240865"/>
            <a:ext cx="1417810" cy="13190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b" anchorCtr="0" forceAA="0" compatLnSpc="1">
            <a:prstTxWarp prst="textNoShape">
              <a:avLst/>
            </a:prstTxWarp>
            <a:noAutofit/>
          </a:bodyPr>
          <a:lstStyle/>
          <a:p>
            <a:pPr algn="ctr" defTabSz="932597">
              <a:defRPr/>
            </a:pPr>
            <a:r>
              <a:rPr lang="en-US" sz="1122" kern="0" dirty="0">
                <a:solidFill>
                  <a:schemeClr val="tx1"/>
                </a:solidFill>
              </a:rPr>
              <a:t>DW (many instances)</a:t>
            </a:r>
          </a:p>
        </p:txBody>
      </p:sp>
      <p:grpSp>
        <p:nvGrpSpPr>
          <p:cNvPr id="81" name="Group 80"/>
          <p:cNvGrpSpPr/>
          <p:nvPr/>
        </p:nvGrpSpPr>
        <p:grpSpPr>
          <a:xfrm>
            <a:off x="9015732" y="3391664"/>
            <a:ext cx="558472" cy="683998"/>
            <a:chOff x="-3084513" y="3390510"/>
            <a:chExt cx="2716213" cy="3363913"/>
          </a:xfrm>
          <a:solidFill>
            <a:schemeClr val="tx1"/>
          </a:solidFill>
        </p:grpSpPr>
        <p:sp>
          <p:nvSpPr>
            <p:cNvPr id="82"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304">
                <a:defRPr/>
              </a:pPr>
              <a:endParaRPr lang="en-US" sz="1873" kern="0">
                <a:solidFill>
                  <a:srgbClr val="FFFFFF"/>
                </a:solidFill>
              </a:endParaRPr>
            </a:p>
          </p:txBody>
        </p:sp>
        <p:sp>
          <p:nvSpPr>
            <p:cNvPr id="83"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304">
                <a:defRPr/>
              </a:pPr>
              <a:endParaRPr lang="en-US" sz="1873" kern="0">
                <a:solidFill>
                  <a:srgbClr val="FFFFFF"/>
                </a:solidFill>
              </a:endParaRPr>
            </a:p>
          </p:txBody>
        </p:sp>
      </p:grpSp>
      <p:sp>
        <p:nvSpPr>
          <p:cNvPr id="86" name="Rectangle 85"/>
          <p:cNvSpPr/>
          <p:nvPr/>
        </p:nvSpPr>
        <p:spPr>
          <a:xfrm>
            <a:off x="8520477" y="4680282"/>
            <a:ext cx="1770548" cy="7511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1122" kern="0" dirty="0">
                <a:solidFill>
                  <a:schemeClr val="tx1"/>
                </a:solidFill>
              </a:rPr>
              <a:t>Data is portioned into multiple SQL DWs (one per data consumer. Several hundred consumers)</a:t>
            </a:r>
          </a:p>
        </p:txBody>
      </p:sp>
      <p:sp>
        <p:nvSpPr>
          <p:cNvPr id="87" name="Rectangle 86"/>
          <p:cNvSpPr/>
          <p:nvPr/>
        </p:nvSpPr>
        <p:spPr>
          <a:xfrm>
            <a:off x="10291025" y="533441"/>
            <a:ext cx="2056666" cy="6364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dirty="0">
                <a:solidFill>
                  <a:schemeClr val="tx1"/>
                </a:solidFill>
              </a:rPr>
              <a:t>CONSUMPTION</a:t>
            </a:r>
          </a:p>
        </p:txBody>
      </p:sp>
      <p:sp>
        <p:nvSpPr>
          <p:cNvPr id="90" name="Rectangle 89"/>
          <p:cNvSpPr/>
          <p:nvPr/>
        </p:nvSpPr>
        <p:spPr>
          <a:xfrm>
            <a:off x="6278143" y="4971629"/>
            <a:ext cx="1621691" cy="268407"/>
          </a:xfrm>
          <a:prstGeom prst="rect">
            <a:avLst/>
          </a:prstGeom>
        </p:spPr>
        <p:txBody>
          <a:bodyPr wrap="square">
            <a:spAutoFit/>
          </a:bodyPr>
          <a:lstStyle/>
          <a:p>
            <a:pPr defTabSz="951304">
              <a:defRPr/>
            </a:pPr>
            <a:r>
              <a:rPr lang="en-US" sz="1144" b="1" kern="0" dirty="0">
                <a:solidFill>
                  <a:sysClr val="windowText" lastClr="000000"/>
                </a:solidFill>
                <a:cs typeface="Segoe UI Semilight" panose="020B0402040204020203" pitchFamily="34" charset="0"/>
              </a:rPr>
              <a:t>Machine Learning</a:t>
            </a:r>
          </a:p>
        </p:txBody>
      </p:sp>
      <p:sp>
        <p:nvSpPr>
          <p:cNvPr id="93" name="Rectangle 92"/>
          <p:cNvSpPr/>
          <p:nvPr/>
        </p:nvSpPr>
        <p:spPr>
          <a:xfrm>
            <a:off x="6264364" y="5293042"/>
            <a:ext cx="1782653" cy="3723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1122" kern="0" dirty="0">
                <a:solidFill>
                  <a:schemeClr val="tx1"/>
                </a:solidFill>
              </a:rPr>
              <a:t>Do ML at Scale (Customer Segmentation &amp; Fraud Detection)</a:t>
            </a:r>
          </a:p>
        </p:txBody>
      </p:sp>
      <p:sp>
        <p:nvSpPr>
          <p:cNvPr id="98" name="Freeform 5"/>
          <p:cNvSpPr>
            <a:spLocks noEditPoints="1"/>
          </p:cNvSpPr>
          <p:nvPr/>
        </p:nvSpPr>
        <p:spPr bwMode="auto">
          <a:xfrm>
            <a:off x="10807782" y="1586223"/>
            <a:ext cx="671928" cy="592592"/>
          </a:xfrm>
          <a:custGeom>
            <a:avLst/>
            <a:gdLst>
              <a:gd name="T0" fmla="*/ 111 w 145"/>
              <a:gd name="T1" fmla="*/ 115 h 128"/>
              <a:gd name="T2" fmla="*/ 72 w 145"/>
              <a:gd name="T3" fmla="*/ 128 h 128"/>
              <a:gd name="T4" fmla="*/ 21 w 145"/>
              <a:gd name="T5" fmla="*/ 103 h 128"/>
              <a:gd name="T6" fmla="*/ 34 w 145"/>
              <a:gd name="T7" fmla="*/ 14 h 128"/>
              <a:gd name="T8" fmla="*/ 72 w 145"/>
              <a:gd name="T9" fmla="*/ 0 h 128"/>
              <a:gd name="T10" fmla="*/ 123 w 145"/>
              <a:gd name="T11" fmla="*/ 26 h 128"/>
              <a:gd name="T12" fmla="*/ 111 w 145"/>
              <a:gd name="T13" fmla="*/ 115 h 128"/>
              <a:gd name="T14" fmla="*/ 117 w 145"/>
              <a:gd name="T15" fmla="*/ 30 h 128"/>
              <a:gd name="T16" fmla="*/ 116 w 145"/>
              <a:gd name="T17" fmla="*/ 29 h 128"/>
              <a:gd name="T18" fmla="*/ 81 w 145"/>
              <a:gd name="T19" fmla="*/ 39 h 128"/>
              <a:gd name="T20" fmla="*/ 99 w 145"/>
              <a:gd name="T21" fmla="*/ 57 h 128"/>
              <a:gd name="T22" fmla="*/ 114 w 145"/>
              <a:gd name="T23" fmla="*/ 60 h 128"/>
              <a:gd name="T24" fmla="*/ 117 w 145"/>
              <a:gd name="T25" fmla="*/ 71 h 128"/>
              <a:gd name="T26" fmla="*/ 126 w 145"/>
              <a:gd name="T27" fmla="*/ 79 h 128"/>
              <a:gd name="T28" fmla="*/ 117 w 145"/>
              <a:gd name="T29" fmla="*/ 30 h 128"/>
              <a:gd name="T30" fmla="*/ 119 w 145"/>
              <a:gd name="T31" fmla="*/ 95 h 128"/>
              <a:gd name="T32" fmla="*/ 125 w 145"/>
              <a:gd name="T33" fmla="*/ 83 h 128"/>
              <a:gd name="T34" fmla="*/ 114 w 145"/>
              <a:gd name="T35" fmla="*/ 76 h 128"/>
              <a:gd name="T36" fmla="*/ 113 w 145"/>
              <a:gd name="T37" fmla="*/ 76 h 128"/>
              <a:gd name="T38" fmla="*/ 96 w 145"/>
              <a:gd name="T39" fmla="*/ 74 h 128"/>
              <a:gd name="T40" fmla="*/ 95 w 145"/>
              <a:gd name="T41" fmla="*/ 60 h 128"/>
              <a:gd name="T42" fmla="*/ 73 w 145"/>
              <a:gd name="T43" fmla="*/ 42 h 128"/>
              <a:gd name="T44" fmla="*/ 58 w 145"/>
              <a:gd name="T45" fmla="*/ 54 h 128"/>
              <a:gd name="T46" fmla="*/ 56 w 145"/>
              <a:gd name="T47" fmla="*/ 56 h 128"/>
              <a:gd name="T48" fmla="*/ 56 w 145"/>
              <a:gd name="T49" fmla="*/ 73 h 128"/>
              <a:gd name="T50" fmla="*/ 59 w 145"/>
              <a:gd name="T51" fmla="*/ 76 h 128"/>
              <a:gd name="T52" fmla="*/ 75 w 145"/>
              <a:gd name="T53" fmla="*/ 86 h 128"/>
              <a:gd name="T54" fmla="*/ 89 w 145"/>
              <a:gd name="T55" fmla="*/ 89 h 128"/>
              <a:gd name="T56" fmla="*/ 91 w 145"/>
              <a:gd name="T57" fmla="*/ 94 h 128"/>
              <a:gd name="T58" fmla="*/ 119 w 145"/>
              <a:gd name="T59" fmla="*/ 95 h 128"/>
              <a:gd name="T60" fmla="*/ 73 w 145"/>
              <a:gd name="T61" fmla="*/ 9 h 128"/>
              <a:gd name="T62" fmla="*/ 56 w 145"/>
              <a:gd name="T63" fmla="*/ 11 h 128"/>
              <a:gd name="T64" fmla="*/ 72 w 145"/>
              <a:gd name="T65" fmla="*/ 28 h 128"/>
              <a:gd name="T66" fmla="*/ 109 w 145"/>
              <a:gd name="T67" fmla="*/ 22 h 128"/>
              <a:gd name="T68" fmla="*/ 73 w 145"/>
              <a:gd name="T69" fmla="*/ 9 h 128"/>
              <a:gd name="T70" fmla="*/ 32 w 145"/>
              <a:gd name="T71" fmla="*/ 25 h 128"/>
              <a:gd name="T72" fmla="*/ 36 w 145"/>
              <a:gd name="T73" fmla="*/ 49 h 128"/>
              <a:gd name="T74" fmla="*/ 45 w 145"/>
              <a:gd name="T75" fmla="*/ 48 h 128"/>
              <a:gd name="T76" fmla="*/ 47 w 145"/>
              <a:gd name="T77" fmla="*/ 46 h 128"/>
              <a:gd name="T78" fmla="*/ 63 w 145"/>
              <a:gd name="T79" fmla="*/ 33 h 128"/>
              <a:gd name="T80" fmla="*/ 48 w 145"/>
              <a:gd name="T81" fmla="*/ 14 h 128"/>
              <a:gd name="T82" fmla="*/ 38 w 145"/>
              <a:gd name="T83" fmla="*/ 20 h 128"/>
              <a:gd name="T84" fmla="*/ 32 w 145"/>
              <a:gd name="T85" fmla="*/ 25 h 128"/>
              <a:gd name="T86" fmla="*/ 27 w 145"/>
              <a:gd name="T87" fmla="*/ 96 h 128"/>
              <a:gd name="T88" fmla="*/ 31 w 145"/>
              <a:gd name="T89" fmla="*/ 77 h 128"/>
              <a:gd name="T90" fmla="*/ 29 w 145"/>
              <a:gd name="T91" fmla="*/ 75 h 128"/>
              <a:gd name="T92" fmla="*/ 29 w 145"/>
              <a:gd name="T93" fmla="*/ 55 h 128"/>
              <a:gd name="T94" fmla="*/ 27 w 145"/>
              <a:gd name="T95" fmla="*/ 33 h 128"/>
              <a:gd name="T96" fmla="*/ 27 w 145"/>
              <a:gd name="T97" fmla="*/ 96 h 128"/>
              <a:gd name="T98" fmla="*/ 111 w 145"/>
              <a:gd name="T99" fmla="*/ 104 h 128"/>
              <a:gd name="T100" fmla="*/ 89 w 145"/>
              <a:gd name="T101" fmla="*/ 102 h 128"/>
              <a:gd name="T102" fmla="*/ 88 w 145"/>
              <a:gd name="T103" fmla="*/ 104 h 128"/>
              <a:gd name="T104" fmla="*/ 72 w 145"/>
              <a:gd name="T105" fmla="*/ 102 h 128"/>
              <a:gd name="T106" fmla="*/ 69 w 145"/>
              <a:gd name="T107" fmla="*/ 94 h 128"/>
              <a:gd name="T108" fmla="*/ 53 w 145"/>
              <a:gd name="T109" fmla="*/ 84 h 128"/>
              <a:gd name="T110" fmla="*/ 48 w 145"/>
              <a:gd name="T111" fmla="*/ 81 h 128"/>
              <a:gd name="T112" fmla="*/ 40 w 145"/>
              <a:gd name="T113" fmla="*/ 82 h 128"/>
              <a:gd name="T114" fmla="*/ 37 w 145"/>
              <a:gd name="T115" fmla="*/ 107 h 128"/>
              <a:gd name="T116" fmla="*/ 72 w 145"/>
              <a:gd name="T117" fmla="*/ 120 h 128"/>
              <a:gd name="T118" fmla="*/ 106 w 145"/>
              <a:gd name="T119" fmla="*/ 109 h 128"/>
              <a:gd name="T120" fmla="*/ 111 w 145"/>
              <a:gd name="T121" fmla="*/ 10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5" h="128">
                <a:moveTo>
                  <a:pt x="111" y="115"/>
                </a:moveTo>
                <a:cubicBezTo>
                  <a:pt x="100" y="125"/>
                  <a:pt x="86" y="128"/>
                  <a:pt x="72" y="128"/>
                </a:cubicBezTo>
                <a:cubicBezTo>
                  <a:pt x="53" y="128"/>
                  <a:pt x="34" y="120"/>
                  <a:pt x="21" y="103"/>
                </a:cubicBezTo>
                <a:cubicBezTo>
                  <a:pt x="0" y="75"/>
                  <a:pt x="6" y="35"/>
                  <a:pt x="34" y="14"/>
                </a:cubicBezTo>
                <a:cubicBezTo>
                  <a:pt x="45" y="4"/>
                  <a:pt x="58" y="0"/>
                  <a:pt x="72" y="0"/>
                </a:cubicBezTo>
                <a:cubicBezTo>
                  <a:pt x="91" y="0"/>
                  <a:pt x="111" y="9"/>
                  <a:pt x="123" y="26"/>
                </a:cubicBezTo>
                <a:cubicBezTo>
                  <a:pt x="145" y="54"/>
                  <a:pt x="139" y="94"/>
                  <a:pt x="111" y="115"/>
                </a:cubicBezTo>
                <a:close/>
                <a:moveTo>
                  <a:pt x="117" y="30"/>
                </a:moveTo>
                <a:cubicBezTo>
                  <a:pt x="117" y="30"/>
                  <a:pt x="116" y="30"/>
                  <a:pt x="116" y="29"/>
                </a:cubicBezTo>
                <a:cubicBezTo>
                  <a:pt x="114" y="29"/>
                  <a:pt x="100" y="29"/>
                  <a:pt x="81" y="39"/>
                </a:cubicBezTo>
                <a:cubicBezTo>
                  <a:pt x="87" y="45"/>
                  <a:pt x="94" y="51"/>
                  <a:pt x="99" y="57"/>
                </a:cubicBezTo>
                <a:cubicBezTo>
                  <a:pt x="104" y="54"/>
                  <a:pt x="111" y="54"/>
                  <a:pt x="114" y="60"/>
                </a:cubicBezTo>
                <a:cubicBezTo>
                  <a:pt x="117" y="63"/>
                  <a:pt x="118" y="68"/>
                  <a:pt x="117" y="71"/>
                </a:cubicBezTo>
                <a:cubicBezTo>
                  <a:pt x="121" y="75"/>
                  <a:pt x="124" y="77"/>
                  <a:pt x="126" y="79"/>
                </a:cubicBezTo>
                <a:cubicBezTo>
                  <a:pt x="130" y="62"/>
                  <a:pt x="128" y="45"/>
                  <a:pt x="117" y="30"/>
                </a:cubicBezTo>
                <a:close/>
                <a:moveTo>
                  <a:pt x="119" y="95"/>
                </a:moveTo>
                <a:cubicBezTo>
                  <a:pt x="122" y="91"/>
                  <a:pt x="124" y="87"/>
                  <a:pt x="125" y="83"/>
                </a:cubicBezTo>
                <a:cubicBezTo>
                  <a:pt x="123" y="82"/>
                  <a:pt x="119" y="79"/>
                  <a:pt x="114" y="76"/>
                </a:cubicBezTo>
                <a:cubicBezTo>
                  <a:pt x="114" y="76"/>
                  <a:pt x="114" y="76"/>
                  <a:pt x="113" y="76"/>
                </a:cubicBezTo>
                <a:cubicBezTo>
                  <a:pt x="108" y="80"/>
                  <a:pt x="100" y="79"/>
                  <a:pt x="96" y="74"/>
                </a:cubicBezTo>
                <a:cubicBezTo>
                  <a:pt x="94" y="70"/>
                  <a:pt x="93" y="65"/>
                  <a:pt x="95" y="60"/>
                </a:cubicBezTo>
                <a:cubicBezTo>
                  <a:pt x="88" y="54"/>
                  <a:pt x="80" y="48"/>
                  <a:pt x="73" y="42"/>
                </a:cubicBezTo>
                <a:cubicBezTo>
                  <a:pt x="69" y="45"/>
                  <a:pt x="63" y="49"/>
                  <a:pt x="58" y="54"/>
                </a:cubicBezTo>
                <a:cubicBezTo>
                  <a:pt x="58" y="55"/>
                  <a:pt x="57" y="56"/>
                  <a:pt x="56" y="56"/>
                </a:cubicBezTo>
                <a:cubicBezTo>
                  <a:pt x="59" y="62"/>
                  <a:pt x="59" y="68"/>
                  <a:pt x="56" y="73"/>
                </a:cubicBezTo>
                <a:cubicBezTo>
                  <a:pt x="57" y="74"/>
                  <a:pt x="58" y="75"/>
                  <a:pt x="59" y="76"/>
                </a:cubicBezTo>
                <a:cubicBezTo>
                  <a:pt x="64" y="80"/>
                  <a:pt x="69" y="83"/>
                  <a:pt x="75" y="86"/>
                </a:cubicBezTo>
                <a:cubicBezTo>
                  <a:pt x="79" y="84"/>
                  <a:pt x="86" y="85"/>
                  <a:pt x="89" y="89"/>
                </a:cubicBezTo>
                <a:cubicBezTo>
                  <a:pt x="90" y="91"/>
                  <a:pt x="91" y="93"/>
                  <a:pt x="91" y="94"/>
                </a:cubicBezTo>
                <a:cubicBezTo>
                  <a:pt x="105" y="98"/>
                  <a:pt x="115" y="96"/>
                  <a:pt x="119" y="95"/>
                </a:cubicBezTo>
                <a:close/>
                <a:moveTo>
                  <a:pt x="73" y="9"/>
                </a:moveTo>
                <a:cubicBezTo>
                  <a:pt x="67" y="9"/>
                  <a:pt x="61" y="9"/>
                  <a:pt x="56" y="11"/>
                </a:cubicBezTo>
                <a:cubicBezTo>
                  <a:pt x="61" y="17"/>
                  <a:pt x="66" y="23"/>
                  <a:pt x="72" y="28"/>
                </a:cubicBezTo>
                <a:cubicBezTo>
                  <a:pt x="86" y="20"/>
                  <a:pt x="100" y="20"/>
                  <a:pt x="109" y="22"/>
                </a:cubicBezTo>
                <a:cubicBezTo>
                  <a:pt x="97" y="14"/>
                  <a:pt x="85" y="9"/>
                  <a:pt x="73" y="9"/>
                </a:cubicBezTo>
                <a:close/>
                <a:moveTo>
                  <a:pt x="32" y="25"/>
                </a:moveTo>
                <a:cubicBezTo>
                  <a:pt x="31" y="30"/>
                  <a:pt x="31" y="39"/>
                  <a:pt x="36" y="49"/>
                </a:cubicBezTo>
                <a:cubicBezTo>
                  <a:pt x="39" y="48"/>
                  <a:pt x="42" y="48"/>
                  <a:pt x="45" y="48"/>
                </a:cubicBezTo>
                <a:cubicBezTo>
                  <a:pt x="46" y="48"/>
                  <a:pt x="47" y="47"/>
                  <a:pt x="47" y="46"/>
                </a:cubicBezTo>
                <a:cubicBezTo>
                  <a:pt x="53" y="41"/>
                  <a:pt x="58" y="37"/>
                  <a:pt x="63" y="33"/>
                </a:cubicBezTo>
                <a:cubicBezTo>
                  <a:pt x="57" y="27"/>
                  <a:pt x="52" y="21"/>
                  <a:pt x="48" y="14"/>
                </a:cubicBezTo>
                <a:cubicBezTo>
                  <a:pt x="44" y="17"/>
                  <a:pt x="41" y="18"/>
                  <a:pt x="38" y="20"/>
                </a:cubicBezTo>
                <a:cubicBezTo>
                  <a:pt x="36" y="22"/>
                  <a:pt x="35" y="23"/>
                  <a:pt x="32" y="25"/>
                </a:cubicBezTo>
                <a:close/>
                <a:moveTo>
                  <a:pt x="27" y="96"/>
                </a:moveTo>
                <a:cubicBezTo>
                  <a:pt x="28" y="90"/>
                  <a:pt x="29" y="83"/>
                  <a:pt x="31" y="77"/>
                </a:cubicBezTo>
                <a:cubicBezTo>
                  <a:pt x="30" y="76"/>
                  <a:pt x="30" y="76"/>
                  <a:pt x="29" y="75"/>
                </a:cubicBezTo>
                <a:cubicBezTo>
                  <a:pt x="25" y="70"/>
                  <a:pt x="25" y="61"/>
                  <a:pt x="29" y="55"/>
                </a:cubicBezTo>
                <a:cubicBezTo>
                  <a:pt x="25" y="46"/>
                  <a:pt x="26" y="38"/>
                  <a:pt x="27" y="33"/>
                </a:cubicBezTo>
                <a:cubicBezTo>
                  <a:pt x="14" y="51"/>
                  <a:pt x="13" y="77"/>
                  <a:pt x="27" y="96"/>
                </a:cubicBezTo>
                <a:close/>
                <a:moveTo>
                  <a:pt x="111" y="104"/>
                </a:moveTo>
                <a:cubicBezTo>
                  <a:pt x="106" y="104"/>
                  <a:pt x="98" y="104"/>
                  <a:pt x="89" y="102"/>
                </a:cubicBezTo>
                <a:cubicBezTo>
                  <a:pt x="89" y="102"/>
                  <a:pt x="88" y="103"/>
                  <a:pt x="88" y="104"/>
                </a:cubicBezTo>
                <a:cubicBezTo>
                  <a:pt x="83" y="108"/>
                  <a:pt x="75" y="107"/>
                  <a:pt x="72" y="102"/>
                </a:cubicBezTo>
                <a:cubicBezTo>
                  <a:pt x="70" y="100"/>
                  <a:pt x="69" y="97"/>
                  <a:pt x="69" y="94"/>
                </a:cubicBezTo>
                <a:cubicBezTo>
                  <a:pt x="64" y="92"/>
                  <a:pt x="59" y="88"/>
                  <a:pt x="53" y="84"/>
                </a:cubicBezTo>
                <a:cubicBezTo>
                  <a:pt x="51" y="83"/>
                  <a:pt x="49" y="82"/>
                  <a:pt x="48" y="81"/>
                </a:cubicBezTo>
                <a:cubicBezTo>
                  <a:pt x="45" y="82"/>
                  <a:pt x="43" y="82"/>
                  <a:pt x="40" y="82"/>
                </a:cubicBezTo>
                <a:cubicBezTo>
                  <a:pt x="37" y="91"/>
                  <a:pt x="36" y="101"/>
                  <a:pt x="37" y="107"/>
                </a:cubicBezTo>
                <a:cubicBezTo>
                  <a:pt x="47" y="116"/>
                  <a:pt x="60" y="120"/>
                  <a:pt x="72" y="120"/>
                </a:cubicBezTo>
                <a:cubicBezTo>
                  <a:pt x="84" y="120"/>
                  <a:pt x="96" y="116"/>
                  <a:pt x="106" y="109"/>
                </a:cubicBezTo>
                <a:cubicBezTo>
                  <a:pt x="109" y="107"/>
                  <a:pt x="109" y="106"/>
                  <a:pt x="111" y="104"/>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9" name="Rectangle 98"/>
          <p:cNvSpPr/>
          <p:nvPr/>
        </p:nvSpPr>
        <p:spPr>
          <a:xfrm>
            <a:off x="10584688" y="2201430"/>
            <a:ext cx="1189456" cy="3723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122" kern="0" dirty="0">
                <a:solidFill>
                  <a:schemeClr val="tx1"/>
                </a:solidFill>
              </a:rPr>
              <a:t>Web Portals</a:t>
            </a:r>
          </a:p>
        </p:txBody>
      </p:sp>
      <p:sp>
        <p:nvSpPr>
          <p:cNvPr id="100" name="Freeform 99"/>
          <p:cNvSpPr>
            <a:spLocks/>
          </p:cNvSpPr>
          <p:nvPr/>
        </p:nvSpPr>
        <p:spPr bwMode="auto">
          <a:xfrm>
            <a:off x="10934917" y="2723123"/>
            <a:ext cx="353594" cy="635382"/>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chemeClr val="tx1"/>
          </a:solidFill>
          <a:ln>
            <a:noFill/>
          </a:ln>
        </p:spPr>
        <p:txBody>
          <a:bodyPr vert="horz" wrap="square" lIns="95117" tIns="47558" rIns="95117" bIns="47558" numCol="1" anchor="t" anchorCtr="0" compatLnSpc="1">
            <a:prstTxWarp prst="textNoShape">
              <a:avLst/>
            </a:prstTxWarp>
            <a:noAutofit/>
          </a:bodyPr>
          <a:lstStyle/>
          <a:p>
            <a:pPr defTabSz="951304">
              <a:defRPr/>
            </a:pPr>
            <a:endParaRPr lang="en-US" sz="1873" kern="0">
              <a:solidFill>
                <a:schemeClr val="bg1"/>
              </a:solidFill>
            </a:endParaRPr>
          </a:p>
        </p:txBody>
      </p:sp>
      <p:sp>
        <p:nvSpPr>
          <p:cNvPr id="101" name="Rectangle 100"/>
          <p:cNvSpPr/>
          <p:nvPr/>
        </p:nvSpPr>
        <p:spPr>
          <a:xfrm>
            <a:off x="10580584" y="3404566"/>
            <a:ext cx="1189456" cy="3723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122" kern="0" dirty="0">
                <a:solidFill>
                  <a:schemeClr val="tx1"/>
                </a:solidFill>
              </a:rPr>
              <a:t>Mobile Apps</a:t>
            </a:r>
          </a:p>
        </p:txBody>
      </p:sp>
      <p:sp>
        <p:nvSpPr>
          <p:cNvPr id="102" name="Rectangle 101"/>
          <p:cNvSpPr/>
          <p:nvPr/>
        </p:nvSpPr>
        <p:spPr>
          <a:xfrm>
            <a:off x="10611940" y="4858400"/>
            <a:ext cx="1238876" cy="2702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r>
              <a:rPr lang="en-US" sz="1122" kern="0" dirty="0">
                <a:solidFill>
                  <a:schemeClr val="tx1"/>
                </a:solidFill>
              </a:rPr>
              <a:t>Power BI</a:t>
            </a:r>
          </a:p>
        </p:txBody>
      </p:sp>
      <p:grpSp>
        <p:nvGrpSpPr>
          <p:cNvPr id="103" name="Group 102"/>
          <p:cNvGrpSpPr/>
          <p:nvPr/>
        </p:nvGrpSpPr>
        <p:grpSpPr>
          <a:xfrm>
            <a:off x="10941750" y="4350282"/>
            <a:ext cx="638908" cy="408358"/>
            <a:chOff x="7884058" y="5368509"/>
            <a:chExt cx="324905" cy="207663"/>
          </a:xfrm>
          <a:solidFill>
            <a:schemeClr val="tx1"/>
          </a:solidFill>
        </p:grpSpPr>
        <p:sp>
          <p:nvSpPr>
            <p:cNvPr id="104"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93247" tIns="46623" rIns="93247" bIns="46623" numCol="1" anchor="t" anchorCtr="0" compatLnSpc="1">
              <a:prstTxWarp prst="textNoShape">
                <a:avLst/>
              </a:prstTxWarp>
            </a:bodyPr>
            <a:lstStyle/>
            <a:p>
              <a:pPr defTabSz="951304">
                <a:defRPr/>
              </a:pPr>
              <a:endParaRPr lang="en-US" sz="1836" kern="0">
                <a:solidFill>
                  <a:srgbClr val="FFFFFF"/>
                </a:solidFill>
              </a:endParaRPr>
            </a:p>
          </p:txBody>
        </p:sp>
        <p:sp>
          <p:nvSpPr>
            <p:cNvPr id="105"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93247" tIns="46623" rIns="93247" bIns="46623" numCol="1" anchor="t" anchorCtr="0" compatLnSpc="1">
              <a:prstTxWarp prst="textNoShape">
                <a:avLst/>
              </a:prstTxWarp>
            </a:bodyPr>
            <a:lstStyle/>
            <a:p>
              <a:pPr defTabSz="951304">
                <a:defRPr/>
              </a:pPr>
              <a:endParaRPr lang="en-US" sz="1836" kern="0">
                <a:solidFill>
                  <a:srgbClr val="FFFFFF"/>
                </a:solidFill>
              </a:endParaRPr>
            </a:p>
          </p:txBody>
        </p:sp>
        <p:sp>
          <p:nvSpPr>
            <p:cNvPr id="106"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93247" tIns="46623" rIns="93247" bIns="46623" numCol="1" anchor="t" anchorCtr="0" compatLnSpc="1">
              <a:prstTxWarp prst="textNoShape">
                <a:avLst/>
              </a:prstTxWarp>
            </a:bodyPr>
            <a:lstStyle/>
            <a:p>
              <a:pPr defTabSz="951304">
                <a:defRPr/>
              </a:pPr>
              <a:endParaRPr lang="en-US" sz="1836" kern="0">
                <a:solidFill>
                  <a:srgbClr val="FFFFFF"/>
                </a:solidFill>
              </a:endParaRPr>
            </a:p>
          </p:txBody>
        </p:sp>
        <p:sp>
          <p:nvSpPr>
            <p:cNvPr id="107"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93247" tIns="46623" rIns="93247" bIns="46623" numCol="1" anchor="t" anchorCtr="0" compatLnSpc="1">
              <a:prstTxWarp prst="textNoShape">
                <a:avLst/>
              </a:prstTxWarp>
            </a:bodyPr>
            <a:lstStyle/>
            <a:p>
              <a:pPr defTabSz="951304">
                <a:defRPr/>
              </a:pPr>
              <a:endParaRPr lang="en-US" sz="1836" kern="0">
                <a:solidFill>
                  <a:srgbClr val="FFFFFF"/>
                </a:solidFill>
              </a:endParaRPr>
            </a:p>
          </p:txBody>
        </p:sp>
        <p:sp>
          <p:nvSpPr>
            <p:cNvPr id="108"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93247" tIns="46623" rIns="93247" bIns="46623" numCol="1" anchor="t" anchorCtr="0" compatLnSpc="1">
              <a:prstTxWarp prst="textNoShape">
                <a:avLst/>
              </a:prstTxWarp>
            </a:bodyPr>
            <a:lstStyle/>
            <a:p>
              <a:pPr defTabSz="951304">
                <a:defRPr/>
              </a:pPr>
              <a:endParaRPr lang="en-US" sz="1836" kern="0">
                <a:solidFill>
                  <a:srgbClr val="FFFFFF"/>
                </a:solidFill>
              </a:endParaRPr>
            </a:p>
          </p:txBody>
        </p:sp>
      </p:grpSp>
      <p:sp>
        <p:nvSpPr>
          <p:cNvPr id="109" name="Right Brace 108"/>
          <p:cNvSpPr/>
          <p:nvPr/>
        </p:nvSpPr>
        <p:spPr>
          <a:xfrm rot="16200000">
            <a:off x="6558030" y="-2013118"/>
            <a:ext cx="396102" cy="6650925"/>
          </a:xfrm>
          <a:prstGeom prst="rightBrace">
            <a:avLst>
              <a:gd name="adj1" fmla="val 37139"/>
              <a:gd name="adj2" fmla="val 49416"/>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kern="0">
              <a:solidFill>
                <a:sysClr val="windowText" lastClr="000000"/>
              </a:solidFill>
            </a:endParaRPr>
          </a:p>
        </p:txBody>
      </p:sp>
      <p:sp>
        <p:nvSpPr>
          <p:cNvPr id="110" name="Right Brace 109"/>
          <p:cNvSpPr/>
          <p:nvPr/>
        </p:nvSpPr>
        <p:spPr>
          <a:xfrm rot="16200000">
            <a:off x="1492283" y="79592"/>
            <a:ext cx="371309" cy="2440714"/>
          </a:xfrm>
          <a:prstGeom prst="rightBrace">
            <a:avLst>
              <a:gd name="adj1" fmla="val 37139"/>
              <a:gd name="adj2" fmla="val 49416"/>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kern="0" dirty="0">
              <a:solidFill>
                <a:sysClr val="windowText" lastClr="000000"/>
              </a:solidFill>
            </a:endParaRPr>
          </a:p>
        </p:txBody>
      </p:sp>
      <p:sp>
        <p:nvSpPr>
          <p:cNvPr id="111" name="Right Brace 110"/>
          <p:cNvSpPr/>
          <p:nvPr/>
        </p:nvSpPr>
        <p:spPr>
          <a:xfrm rot="16200000">
            <a:off x="11058971" y="537179"/>
            <a:ext cx="371309" cy="1525540"/>
          </a:xfrm>
          <a:prstGeom prst="rightBrace">
            <a:avLst>
              <a:gd name="adj1" fmla="val 37139"/>
              <a:gd name="adj2" fmla="val 49416"/>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kern="0" dirty="0">
              <a:solidFill>
                <a:sysClr val="windowText" lastClr="000000"/>
              </a:solidFill>
            </a:endParaRPr>
          </a:p>
        </p:txBody>
      </p:sp>
      <p:sp>
        <p:nvSpPr>
          <p:cNvPr id="112" name="Rectangle 111"/>
          <p:cNvSpPr/>
          <p:nvPr/>
        </p:nvSpPr>
        <p:spPr>
          <a:xfrm>
            <a:off x="3932262" y="4960286"/>
            <a:ext cx="1409038" cy="268407"/>
          </a:xfrm>
          <a:prstGeom prst="rect">
            <a:avLst/>
          </a:prstGeom>
        </p:spPr>
        <p:txBody>
          <a:bodyPr wrap="square">
            <a:spAutoFit/>
          </a:bodyPr>
          <a:lstStyle/>
          <a:p>
            <a:pPr defTabSz="951304">
              <a:defRPr/>
            </a:pPr>
            <a:r>
              <a:rPr lang="en-US" sz="1144" b="1" kern="0" dirty="0">
                <a:solidFill>
                  <a:sysClr val="windowText" lastClr="000000"/>
                </a:solidFill>
                <a:cs typeface="Segoe UI Semilight" panose="020B0402040204020203" pitchFamily="34" charset="0"/>
              </a:rPr>
              <a:t>Experimentation</a:t>
            </a:r>
          </a:p>
        </p:txBody>
      </p:sp>
      <p:sp>
        <p:nvSpPr>
          <p:cNvPr id="113" name="Rectangle 112"/>
          <p:cNvSpPr/>
          <p:nvPr/>
        </p:nvSpPr>
        <p:spPr>
          <a:xfrm>
            <a:off x="3962649" y="5202396"/>
            <a:ext cx="2072729" cy="7057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1122" kern="0" dirty="0">
                <a:solidFill>
                  <a:schemeClr val="tx1"/>
                </a:solidFill>
              </a:rPr>
              <a:t>A/B testing at scale. Drive changes based on actual</a:t>
            </a:r>
          </a:p>
          <a:p>
            <a:pPr defTabSz="932597">
              <a:defRPr/>
            </a:pPr>
            <a:r>
              <a:rPr lang="en-US" sz="1122" kern="0" dirty="0">
                <a:solidFill>
                  <a:schemeClr val="tx1"/>
                </a:solidFill>
              </a:rPr>
              <a:t>Customer behavior</a:t>
            </a:r>
          </a:p>
        </p:txBody>
      </p:sp>
      <p:sp>
        <p:nvSpPr>
          <p:cNvPr id="2" name="Rectangle 1"/>
          <p:cNvSpPr/>
          <p:nvPr/>
        </p:nvSpPr>
        <p:spPr>
          <a:xfrm>
            <a:off x="882" y="-9400"/>
            <a:ext cx="12434711" cy="59118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3200" kern="0" dirty="0">
                <a:solidFill>
                  <a:schemeClr val="tx1"/>
                </a:solidFill>
              </a:rPr>
              <a:t>Retail Scenario Implementation</a:t>
            </a:r>
          </a:p>
        </p:txBody>
      </p:sp>
      <p:sp>
        <p:nvSpPr>
          <p:cNvPr id="89" name="Freeform 5"/>
          <p:cNvSpPr>
            <a:spLocks noEditPoints="1"/>
          </p:cNvSpPr>
          <p:nvPr/>
        </p:nvSpPr>
        <p:spPr bwMode="auto">
          <a:xfrm>
            <a:off x="10861174" y="5431424"/>
            <a:ext cx="671928" cy="592592"/>
          </a:xfrm>
          <a:custGeom>
            <a:avLst/>
            <a:gdLst>
              <a:gd name="T0" fmla="*/ 111 w 145"/>
              <a:gd name="T1" fmla="*/ 115 h 128"/>
              <a:gd name="T2" fmla="*/ 72 w 145"/>
              <a:gd name="T3" fmla="*/ 128 h 128"/>
              <a:gd name="T4" fmla="*/ 21 w 145"/>
              <a:gd name="T5" fmla="*/ 103 h 128"/>
              <a:gd name="T6" fmla="*/ 34 w 145"/>
              <a:gd name="T7" fmla="*/ 14 h 128"/>
              <a:gd name="T8" fmla="*/ 72 w 145"/>
              <a:gd name="T9" fmla="*/ 0 h 128"/>
              <a:gd name="T10" fmla="*/ 123 w 145"/>
              <a:gd name="T11" fmla="*/ 26 h 128"/>
              <a:gd name="T12" fmla="*/ 111 w 145"/>
              <a:gd name="T13" fmla="*/ 115 h 128"/>
              <a:gd name="T14" fmla="*/ 117 w 145"/>
              <a:gd name="T15" fmla="*/ 30 h 128"/>
              <a:gd name="T16" fmla="*/ 116 w 145"/>
              <a:gd name="T17" fmla="*/ 29 h 128"/>
              <a:gd name="T18" fmla="*/ 81 w 145"/>
              <a:gd name="T19" fmla="*/ 39 h 128"/>
              <a:gd name="T20" fmla="*/ 99 w 145"/>
              <a:gd name="T21" fmla="*/ 57 h 128"/>
              <a:gd name="T22" fmla="*/ 114 w 145"/>
              <a:gd name="T23" fmla="*/ 60 h 128"/>
              <a:gd name="T24" fmla="*/ 117 w 145"/>
              <a:gd name="T25" fmla="*/ 71 h 128"/>
              <a:gd name="T26" fmla="*/ 126 w 145"/>
              <a:gd name="T27" fmla="*/ 79 h 128"/>
              <a:gd name="T28" fmla="*/ 117 w 145"/>
              <a:gd name="T29" fmla="*/ 30 h 128"/>
              <a:gd name="T30" fmla="*/ 119 w 145"/>
              <a:gd name="T31" fmla="*/ 95 h 128"/>
              <a:gd name="T32" fmla="*/ 125 w 145"/>
              <a:gd name="T33" fmla="*/ 83 h 128"/>
              <a:gd name="T34" fmla="*/ 114 w 145"/>
              <a:gd name="T35" fmla="*/ 76 h 128"/>
              <a:gd name="T36" fmla="*/ 113 w 145"/>
              <a:gd name="T37" fmla="*/ 76 h 128"/>
              <a:gd name="T38" fmla="*/ 96 w 145"/>
              <a:gd name="T39" fmla="*/ 74 h 128"/>
              <a:gd name="T40" fmla="*/ 95 w 145"/>
              <a:gd name="T41" fmla="*/ 60 h 128"/>
              <a:gd name="T42" fmla="*/ 73 w 145"/>
              <a:gd name="T43" fmla="*/ 42 h 128"/>
              <a:gd name="T44" fmla="*/ 58 w 145"/>
              <a:gd name="T45" fmla="*/ 54 h 128"/>
              <a:gd name="T46" fmla="*/ 56 w 145"/>
              <a:gd name="T47" fmla="*/ 56 h 128"/>
              <a:gd name="T48" fmla="*/ 56 w 145"/>
              <a:gd name="T49" fmla="*/ 73 h 128"/>
              <a:gd name="T50" fmla="*/ 59 w 145"/>
              <a:gd name="T51" fmla="*/ 76 h 128"/>
              <a:gd name="T52" fmla="*/ 75 w 145"/>
              <a:gd name="T53" fmla="*/ 86 h 128"/>
              <a:gd name="T54" fmla="*/ 89 w 145"/>
              <a:gd name="T55" fmla="*/ 89 h 128"/>
              <a:gd name="T56" fmla="*/ 91 w 145"/>
              <a:gd name="T57" fmla="*/ 94 h 128"/>
              <a:gd name="T58" fmla="*/ 119 w 145"/>
              <a:gd name="T59" fmla="*/ 95 h 128"/>
              <a:gd name="T60" fmla="*/ 73 w 145"/>
              <a:gd name="T61" fmla="*/ 9 h 128"/>
              <a:gd name="T62" fmla="*/ 56 w 145"/>
              <a:gd name="T63" fmla="*/ 11 h 128"/>
              <a:gd name="T64" fmla="*/ 72 w 145"/>
              <a:gd name="T65" fmla="*/ 28 h 128"/>
              <a:gd name="T66" fmla="*/ 109 w 145"/>
              <a:gd name="T67" fmla="*/ 22 h 128"/>
              <a:gd name="T68" fmla="*/ 73 w 145"/>
              <a:gd name="T69" fmla="*/ 9 h 128"/>
              <a:gd name="T70" fmla="*/ 32 w 145"/>
              <a:gd name="T71" fmla="*/ 25 h 128"/>
              <a:gd name="T72" fmla="*/ 36 w 145"/>
              <a:gd name="T73" fmla="*/ 49 h 128"/>
              <a:gd name="T74" fmla="*/ 45 w 145"/>
              <a:gd name="T75" fmla="*/ 48 h 128"/>
              <a:gd name="T76" fmla="*/ 47 w 145"/>
              <a:gd name="T77" fmla="*/ 46 h 128"/>
              <a:gd name="T78" fmla="*/ 63 w 145"/>
              <a:gd name="T79" fmla="*/ 33 h 128"/>
              <a:gd name="T80" fmla="*/ 48 w 145"/>
              <a:gd name="T81" fmla="*/ 14 h 128"/>
              <a:gd name="T82" fmla="*/ 38 w 145"/>
              <a:gd name="T83" fmla="*/ 20 h 128"/>
              <a:gd name="T84" fmla="*/ 32 w 145"/>
              <a:gd name="T85" fmla="*/ 25 h 128"/>
              <a:gd name="T86" fmla="*/ 27 w 145"/>
              <a:gd name="T87" fmla="*/ 96 h 128"/>
              <a:gd name="T88" fmla="*/ 31 w 145"/>
              <a:gd name="T89" fmla="*/ 77 h 128"/>
              <a:gd name="T90" fmla="*/ 29 w 145"/>
              <a:gd name="T91" fmla="*/ 75 h 128"/>
              <a:gd name="T92" fmla="*/ 29 w 145"/>
              <a:gd name="T93" fmla="*/ 55 h 128"/>
              <a:gd name="T94" fmla="*/ 27 w 145"/>
              <a:gd name="T95" fmla="*/ 33 h 128"/>
              <a:gd name="T96" fmla="*/ 27 w 145"/>
              <a:gd name="T97" fmla="*/ 96 h 128"/>
              <a:gd name="T98" fmla="*/ 111 w 145"/>
              <a:gd name="T99" fmla="*/ 104 h 128"/>
              <a:gd name="T100" fmla="*/ 89 w 145"/>
              <a:gd name="T101" fmla="*/ 102 h 128"/>
              <a:gd name="T102" fmla="*/ 88 w 145"/>
              <a:gd name="T103" fmla="*/ 104 h 128"/>
              <a:gd name="T104" fmla="*/ 72 w 145"/>
              <a:gd name="T105" fmla="*/ 102 h 128"/>
              <a:gd name="T106" fmla="*/ 69 w 145"/>
              <a:gd name="T107" fmla="*/ 94 h 128"/>
              <a:gd name="T108" fmla="*/ 53 w 145"/>
              <a:gd name="T109" fmla="*/ 84 h 128"/>
              <a:gd name="T110" fmla="*/ 48 w 145"/>
              <a:gd name="T111" fmla="*/ 81 h 128"/>
              <a:gd name="T112" fmla="*/ 40 w 145"/>
              <a:gd name="T113" fmla="*/ 82 h 128"/>
              <a:gd name="T114" fmla="*/ 37 w 145"/>
              <a:gd name="T115" fmla="*/ 107 h 128"/>
              <a:gd name="T116" fmla="*/ 72 w 145"/>
              <a:gd name="T117" fmla="*/ 120 h 128"/>
              <a:gd name="T118" fmla="*/ 106 w 145"/>
              <a:gd name="T119" fmla="*/ 109 h 128"/>
              <a:gd name="T120" fmla="*/ 111 w 145"/>
              <a:gd name="T121" fmla="*/ 10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5" h="128">
                <a:moveTo>
                  <a:pt x="111" y="115"/>
                </a:moveTo>
                <a:cubicBezTo>
                  <a:pt x="100" y="125"/>
                  <a:pt x="86" y="128"/>
                  <a:pt x="72" y="128"/>
                </a:cubicBezTo>
                <a:cubicBezTo>
                  <a:pt x="53" y="128"/>
                  <a:pt x="34" y="120"/>
                  <a:pt x="21" y="103"/>
                </a:cubicBezTo>
                <a:cubicBezTo>
                  <a:pt x="0" y="75"/>
                  <a:pt x="6" y="35"/>
                  <a:pt x="34" y="14"/>
                </a:cubicBezTo>
                <a:cubicBezTo>
                  <a:pt x="45" y="4"/>
                  <a:pt x="58" y="0"/>
                  <a:pt x="72" y="0"/>
                </a:cubicBezTo>
                <a:cubicBezTo>
                  <a:pt x="91" y="0"/>
                  <a:pt x="111" y="9"/>
                  <a:pt x="123" y="26"/>
                </a:cubicBezTo>
                <a:cubicBezTo>
                  <a:pt x="145" y="54"/>
                  <a:pt x="139" y="94"/>
                  <a:pt x="111" y="115"/>
                </a:cubicBezTo>
                <a:close/>
                <a:moveTo>
                  <a:pt x="117" y="30"/>
                </a:moveTo>
                <a:cubicBezTo>
                  <a:pt x="117" y="30"/>
                  <a:pt x="116" y="30"/>
                  <a:pt x="116" y="29"/>
                </a:cubicBezTo>
                <a:cubicBezTo>
                  <a:pt x="114" y="29"/>
                  <a:pt x="100" y="29"/>
                  <a:pt x="81" y="39"/>
                </a:cubicBezTo>
                <a:cubicBezTo>
                  <a:pt x="87" y="45"/>
                  <a:pt x="94" y="51"/>
                  <a:pt x="99" y="57"/>
                </a:cubicBezTo>
                <a:cubicBezTo>
                  <a:pt x="104" y="54"/>
                  <a:pt x="111" y="54"/>
                  <a:pt x="114" y="60"/>
                </a:cubicBezTo>
                <a:cubicBezTo>
                  <a:pt x="117" y="63"/>
                  <a:pt x="118" y="68"/>
                  <a:pt x="117" y="71"/>
                </a:cubicBezTo>
                <a:cubicBezTo>
                  <a:pt x="121" y="75"/>
                  <a:pt x="124" y="77"/>
                  <a:pt x="126" y="79"/>
                </a:cubicBezTo>
                <a:cubicBezTo>
                  <a:pt x="130" y="62"/>
                  <a:pt x="128" y="45"/>
                  <a:pt x="117" y="30"/>
                </a:cubicBezTo>
                <a:close/>
                <a:moveTo>
                  <a:pt x="119" y="95"/>
                </a:moveTo>
                <a:cubicBezTo>
                  <a:pt x="122" y="91"/>
                  <a:pt x="124" y="87"/>
                  <a:pt x="125" y="83"/>
                </a:cubicBezTo>
                <a:cubicBezTo>
                  <a:pt x="123" y="82"/>
                  <a:pt x="119" y="79"/>
                  <a:pt x="114" y="76"/>
                </a:cubicBezTo>
                <a:cubicBezTo>
                  <a:pt x="114" y="76"/>
                  <a:pt x="114" y="76"/>
                  <a:pt x="113" y="76"/>
                </a:cubicBezTo>
                <a:cubicBezTo>
                  <a:pt x="108" y="80"/>
                  <a:pt x="100" y="79"/>
                  <a:pt x="96" y="74"/>
                </a:cubicBezTo>
                <a:cubicBezTo>
                  <a:pt x="94" y="70"/>
                  <a:pt x="93" y="65"/>
                  <a:pt x="95" y="60"/>
                </a:cubicBezTo>
                <a:cubicBezTo>
                  <a:pt x="88" y="54"/>
                  <a:pt x="80" y="48"/>
                  <a:pt x="73" y="42"/>
                </a:cubicBezTo>
                <a:cubicBezTo>
                  <a:pt x="69" y="45"/>
                  <a:pt x="63" y="49"/>
                  <a:pt x="58" y="54"/>
                </a:cubicBezTo>
                <a:cubicBezTo>
                  <a:pt x="58" y="55"/>
                  <a:pt x="57" y="56"/>
                  <a:pt x="56" y="56"/>
                </a:cubicBezTo>
                <a:cubicBezTo>
                  <a:pt x="59" y="62"/>
                  <a:pt x="59" y="68"/>
                  <a:pt x="56" y="73"/>
                </a:cubicBezTo>
                <a:cubicBezTo>
                  <a:pt x="57" y="74"/>
                  <a:pt x="58" y="75"/>
                  <a:pt x="59" y="76"/>
                </a:cubicBezTo>
                <a:cubicBezTo>
                  <a:pt x="64" y="80"/>
                  <a:pt x="69" y="83"/>
                  <a:pt x="75" y="86"/>
                </a:cubicBezTo>
                <a:cubicBezTo>
                  <a:pt x="79" y="84"/>
                  <a:pt x="86" y="85"/>
                  <a:pt x="89" y="89"/>
                </a:cubicBezTo>
                <a:cubicBezTo>
                  <a:pt x="90" y="91"/>
                  <a:pt x="91" y="93"/>
                  <a:pt x="91" y="94"/>
                </a:cubicBezTo>
                <a:cubicBezTo>
                  <a:pt x="105" y="98"/>
                  <a:pt x="115" y="96"/>
                  <a:pt x="119" y="95"/>
                </a:cubicBezTo>
                <a:close/>
                <a:moveTo>
                  <a:pt x="73" y="9"/>
                </a:moveTo>
                <a:cubicBezTo>
                  <a:pt x="67" y="9"/>
                  <a:pt x="61" y="9"/>
                  <a:pt x="56" y="11"/>
                </a:cubicBezTo>
                <a:cubicBezTo>
                  <a:pt x="61" y="17"/>
                  <a:pt x="66" y="23"/>
                  <a:pt x="72" y="28"/>
                </a:cubicBezTo>
                <a:cubicBezTo>
                  <a:pt x="86" y="20"/>
                  <a:pt x="100" y="20"/>
                  <a:pt x="109" y="22"/>
                </a:cubicBezTo>
                <a:cubicBezTo>
                  <a:pt x="97" y="14"/>
                  <a:pt x="85" y="9"/>
                  <a:pt x="73" y="9"/>
                </a:cubicBezTo>
                <a:close/>
                <a:moveTo>
                  <a:pt x="32" y="25"/>
                </a:moveTo>
                <a:cubicBezTo>
                  <a:pt x="31" y="30"/>
                  <a:pt x="31" y="39"/>
                  <a:pt x="36" y="49"/>
                </a:cubicBezTo>
                <a:cubicBezTo>
                  <a:pt x="39" y="48"/>
                  <a:pt x="42" y="48"/>
                  <a:pt x="45" y="48"/>
                </a:cubicBezTo>
                <a:cubicBezTo>
                  <a:pt x="46" y="48"/>
                  <a:pt x="47" y="47"/>
                  <a:pt x="47" y="46"/>
                </a:cubicBezTo>
                <a:cubicBezTo>
                  <a:pt x="53" y="41"/>
                  <a:pt x="58" y="37"/>
                  <a:pt x="63" y="33"/>
                </a:cubicBezTo>
                <a:cubicBezTo>
                  <a:pt x="57" y="27"/>
                  <a:pt x="52" y="21"/>
                  <a:pt x="48" y="14"/>
                </a:cubicBezTo>
                <a:cubicBezTo>
                  <a:pt x="44" y="17"/>
                  <a:pt x="41" y="18"/>
                  <a:pt x="38" y="20"/>
                </a:cubicBezTo>
                <a:cubicBezTo>
                  <a:pt x="36" y="22"/>
                  <a:pt x="35" y="23"/>
                  <a:pt x="32" y="25"/>
                </a:cubicBezTo>
                <a:close/>
                <a:moveTo>
                  <a:pt x="27" y="96"/>
                </a:moveTo>
                <a:cubicBezTo>
                  <a:pt x="28" y="90"/>
                  <a:pt x="29" y="83"/>
                  <a:pt x="31" y="77"/>
                </a:cubicBezTo>
                <a:cubicBezTo>
                  <a:pt x="30" y="76"/>
                  <a:pt x="30" y="76"/>
                  <a:pt x="29" y="75"/>
                </a:cubicBezTo>
                <a:cubicBezTo>
                  <a:pt x="25" y="70"/>
                  <a:pt x="25" y="61"/>
                  <a:pt x="29" y="55"/>
                </a:cubicBezTo>
                <a:cubicBezTo>
                  <a:pt x="25" y="46"/>
                  <a:pt x="26" y="38"/>
                  <a:pt x="27" y="33"/>
                </a:cubicBezTo>
                <a:cubicBezTo>
                  <a:pt x="14" y="51"/>
                  <a:pt x="13" y="77"/>
                  <a:pt x="27" y="96"/>
                </a:cubicBezTo>
                <a:close/>
                <a:moveTo>
                  <a:pt x="111" y="104"/>
                </a:moveTo>
                <a:cubicBezTo>
                  <a:pt x="106" y="104"/>
                  <a:pt x="98" y="104"/>
                  <a:pt x="89" y="102"/>
                </a:cubicBezTo>
                <a:cubicBezTo>
                  <a:pt x="89" y="102"/>
                  <a:pt x="88" y="103"/>
                  <a:pt x="88" y="104"/>
                </a:cubicBezTo>
                <a:cubicBezTo>
                  <a:pt x="83" y="108"/>
                  <a:pt x="75" y="107"/>
                  <a:pt x="72" y="102"/>
                </a:cubicBezTo>
                <a:cubicBezTo>
                  <a:pt x="70" y="100"/>
                  <a:pt x="69" y="97"/>
                  <a:pt x="69" y="94"/>
                </a:cubicBezTo>
                <a:cubicBezTo>
                  <a:pt x="64" y="92"/>
                  <a:pt x="59" y="88"/>
                  <a:pt x="53" y="84"/>
                </a:cubicBezTo>
                <a:cubicBezTo>
                  <a:pt x="51" y="83"/>
                  <a:pt x="49" y="82"/>
                  <a:pt x="48" y="81"/>
                </a:cubicBezTo>
                <a:cubicBezTo>
                  <a:pt x="45" y="82"/>
                  <a:pt x="43" y="82"/>
                  <a:pt x="40" y="82"/>
                </a:cubicBezTo>
                <a:cubicBezTo>
                  <a:pt x="37" y="91"/>
                  <a:pt x="36" y="101"/>
                  <a:pt x="37" y="107"/>
                </a:cubicBezTo>
                <a:cubicBezTo>
                  <a:pt x="47" y="116"/>
                  <a:pt x="60" y="120"/>
                  <a:pt x="72" y="120"/>
                </a:cubicBezTo>
                <a:cubicBezTo>
                  <a:pt x="84" y="120"/>
                  <a:pt x="96" y="116"/>
                  <a:pt x="106" y="109"/>
                </a:cubicBezTo>
                <a:cubicBezTo>
                  <a:pt x="109" y="107"/>
                  <a:pt x="109" y="106"/>
                  <a:pt x="111" y="104"/>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4" name="Rectangle 93"/>
          <p:cNvSpPr/>
          <p:nvPr/>
        </p:nvSpPr>
        <p:spPr>
          <a:xfrm>
            <a:off x="10638081" y="6046631"/>
            <a:ext cx="1189456" cy="3723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122" kern="0" dirty="0" err="1">
                <a:solidFill>
                  <a:schemeClr val="tx1"/>
                </a:solidFill>
              </a:rPr>
              <a:t>Jupyter</a:t>
            </a:r>
            <a:r>
              <a:rPr lang="en-US" sz="1122" kern="0" dirty="0">
                <a:solidFill>
                  <a:schemeClr val="tx1"/>
                </a:solidFill>
              </a:rPr>
              <a:t> </a:t>
            </a:r>
          </a:p>
          <a:p>
            <a:pPr algn="ctr" defTabSz="932597">
              <a:defRPr/>
            </a:pPr>
            <a:r>
              <a:rPr lang="en-US" sz="1122" kern="0" dirty="0">
                <a:solidFill>
                  <a:schemeClr val="tx1"/>
                </a:solidFill>
              </a:rPr>
              <a:t>Notebooks</a:t>
            </a:r>
          </a:p>
        </p:txBody>
      </p:sp>
      <p:sp>
        <p:nvSpPr>
          <p:cNvPr id="117" name="Right Arrow 17"/>
          <p:cNvSpPr/>
          <p:nvPr/>
        </p:nvSpPr>
        <p:spPr>
          <a:xfrm>
            <a:off x="7936744" y="3622524"/>
            <a:ext cx="888493" cy="320492"/>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kern="0">
              <a:solidFill>
                <a:sysClr val="windowText" lastClr="000000"/>
              </a:solidFill>
            </a:endParaRPr>
          </a:p>
        </p:txBody>
      </p:sp>
    </p:spTree>
    <p:extLst>
      <p:ext uri="{BB962C8B-B14F-4D97-AF65-F5344CB8AC3E}">
        <p14:creationId xmlns:p14="http://schemas.microsoft.com/office/powerpoint/2010/main" val="22460593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66" name="Rectangle 65"/>
          <p:cNvSpPr/>
          <p:nvPr/>
        </p:nvSpPr>
        <p:spPr>
          <a:xfrm>
            <a:off x="509866" y="3809481"/>
            <a:ext cx="1417609" cy="1197685"/>
          </a:xfrm>
          <a:prstGeom prst="rect">
            <a:avLst/>
          </a:prstGeom>
          <a:noFill/>
          <a:ln w="10795" cap="flat" cmpd="sng" algn="ctr">
            <a:noFill/>
            <a:prstDash val="solid"/>
          </a:ln>
          <a:effectLst/>
        </p:spPr>
        <p:txBody>
          <a:bodyPr rtlCol="0" anchor="b"/>
          <a:lstStyle/>
          <a:p>
            <a:pPr algn="ctr" defTabSz="932418">
              <a:defRPr/>
            </a:pPr>
            <a:r>
              <a:rPr lang="en-US" sz="2000" kern="0" dirty="0">
                <a:latin typeface="Segoe UI"/>
              </a:rPr>
              <a:t>Event data</a:t>
            </a:r>
          </a:p>
        </p:txBody>
      </p:sp>
      <p:sp>
        <p:nvSpPr>
          <p:cNvPr id="67" name="Right Arrow 17"/>
          <p:cNvSpPr/>
          <p:nvPr/>
        </p:nvSpPr>
        <p:spPr>
          <a:xfrm>
            <a:off x="1820780" y="4120071"/>
            <a:ext cx="609239" cy="311687"/>
          </a:xfrm>
          <a:prstGeom prst="rightArrow">
            <a:avLst/>
          </a:prstGeom>
          <a:solidFill>
            <a:schemeClr val="tx1">
              <a:lumMod val="75000"/>
              <a:lumOff val="25000"/>
            </a:schemeClr>
          </a:solidFill>
          <a:ln w="10795" cap="flat" cmpd="sng" algn="ctr">
            <a:noFill/>
            <a:prstDash val="solid"/>
          </a:ln>
          <a:effectLst/>
        </p:spPr>
        <p:txBody>
          <a:bodyPr rtlCol="0" anchor="ctr"/>
          <a:lstStyle/>
          <a:p>
            <a:pPr algn="ctr" defTabSz="932418">
              <a:defRPr/>
            </a:pPr>
            <a:endParaRPr lang="en-US" sz="2000" kern="0" dirty="0">
              <a:latin typeface="Segoe UI"/>
            </a:endParaRPr>
          </a:p>
        </p:txBody>
      </p:sp>
      <p:sp>
        <p:nvSpPr>
          <p:cNvPr id="68" name="Rectangle 67"/>
          <p:cNvSpPr/>
          <p:nvPr/>
        </p:nvSpPr>
        <p:spPr>
          <a:xfrm>
            <a:off x="6252085" y="4464965"/>
            <a:ext cx="1417609" cy="497197"/>
          </a:xfrm>
          <a:prstGeom prst="rect">
            <a:avLst/>
          </a:prstGeom>
          <a:noFill/>
          <a:ln w="10795" cap="flat" cmpd="sng" algn="ctr">
            <a:noFill/>
            <a:prstDash val="solid"/>
          </a:ln>
          <a:effectLst/>
        </p:spPr>
        <p:txBody>
          <a:bodyPr rot="0" spcFirstLastPara="0" vertOverflow="overflow" horzOverflow="overflow" vert="horz" wrap="square" lIns="93247" tIns="46623" rIns="93247" bIns="46623" numCol="1" spcCol="0" rtlCol="0" fromWordArt="0" anchor="b" anchorCtr="0" forceAA="0" compatLnSpc="1">
            <a:prstTxWarp prst="textNoShape">
              <a:avLst/>
            </a:prstTxWarp>
            <a:noAutofit/>
          </a:bodyPr>
          <a:lstStyle/>
          <a:p>
            <a:pPr algn="ctr" defTabSz="932418">
              <a:defRPr/>
            </a:pPr>
            <a:r>
              <a:rPr lang="en-US" sz="2000" kern="0" dirty="0">
                <a:latin typeface="Segoe UI"/>
              </a:rPr>
              <a:t>Data Lake</a:t>
            </a:r>
          </a:p>
          <a:p>
            <a:pPr algn="ctr" defTabSz="932418">
              <a:defRPr/>
            </a:pPr>
            <a:r>
              <a:rPr lang="en-US" sz="2000" kern="0" dirty="0">
                <a:latin typeface="Segoe UI"/>
              </a:rPr>
              <a:t>Store</a:t>
            </a:r>
          </a:p>
        </p:txBody>
      </p:sp>
      <p:sp>
        <p:nvSpPr>
          <p:cNvPr id="69" name="Right Arrow 67"/>
          <p:cNvSpPr/>
          <p:nvPr/>
        </p:nvSpPr>
        <p:spPr>
          <a:xfrm>
            <a:off x="5073153" y="4120072"/>
            <a:ext cx="692486" cy="294512"/>
          </a:xfrm>
          <a:prstGeom prst="rightArrow">
            <a:avLst/>
          </a:prstGeom>
          <a:solidFill>
            <a:schemeClr val="tx1">
              <a:lumMod val="75000"/>
              <a:lumOff val="25000"/>
            </a:schemeClr>
          </a:solidFill>
          <a:ln w="10795" cap="flat" cmpd="sng" algn="ctr">
            <a:noFill/>
            <a:prstDash val="solid"/>
          </a:ln>
          <a:effectLst/>
        </p:spPr>
        <p:txBody>
          <a:bodyPr rtlCol="0" anchor="ctr"/>
          <a:lstStyle/>
          <a:p>
            <a:pPr algn="ctr" defTabSz="932418">
              <a:defRPr/>
            </a:pPr>
            <a:endParaRPr lang="en-US" sz="2000" kern="0" dirty="0">
              <a:latin typeface="Segoe UI"/>
            </a:endParaRPr>
          </a:p>
        </p:txBody>
      </p:sp>
      <p:sp>
        <p:nvSpPr>
          <p:cNvPr id="70" name="Down Arrow 83"/>
          <p:cNvSpPr/>
          <p:nvPr/>
        </p:nvSpPr>
        <p:spPr>
          <a:xfrm rot="16200000">
            <a:off x="8300414" y="3235331"/>
            <a:ext cx="346527" cy="535282"/>
          </a:xfrm>
          <a:prstGeom prst="downArrow">
            <a:avLst/>
          </a:prstGeom>
          <a:solidFill>
            <a:schemeClr val="tx1">
              <a:lumMod val="75000"/>
              <a:lumOff val="25000"/>
            </a:schemeClr>
          </a:solidFill>
          <a:ln w="10795" cap="flat" cmpd="sng" algn="ctr">
            <a:noFill/>
            <a:prstDash val="solid"/>
          </a:ln>
          <a:effectLst/>
        </p:spPr>
        <p:txBody>
          <a:bodyPr rtlCol="0" anchor="ctr"/>
          <a:lstStyle/>
          <a:p>
            <a:pPr algn="ctr" defTabSz="932418">
              <a:defRPr/>
            </a:pPr>
            <a:endParaRPr lang="en-US" sz="2000" kern="0" dirty="0">
              <a:latin typeface="Segoe UI"/>
            </a:endParaRPr>
          </a:p>
        </p:txBody>
      </p:sp>
      <p:sp>
        <p:nvSpPr>
          <p:cNvPr id="71" name="Right Arrow 17"/>
          <p:cNvSpPr/>
          <p:nvPr/>
        </p:nvSpPr>
        <p:spPr>
          <a:xfrm>
            <a:off x="10049884" y="2548567"/>
            <a:ext cx="464516" cy="441036"/>
          </a:xfrm>
          <a:prstGeom prst="rightArrow">
            <a:avLst/>
          </a:prstGeom>
          <a:solidFill>
            <a:schemeClr val="tx1">
              <a:lumMod val="75000"/>
              <a:lumOff val="25000"/>
            </a:schemeClr>
          </a:solidFill>
          <a:ln w="10795" cap="flat" cmpd="sng" algn="ctr">
            <a:noFill/>
            <a:prstDash val="solid"/>
          </a:ln>
          <a:effectLst/>
        </p:spPr>
        <p:txBody>
          <a:bodyPr rtlCol="0" anchor="ctr"/>
          <a:lstStyle/>
          <a:p>
            <a:pPr algn="ctr" defTabSz="932418">
              <a:defRPr/>
            </a:pPr>
            <a:endParaRPr lang="en-US" sz="2000" kern="0" dirty="0">
              <a:latin typeface="Segoe UI"/>
            </a:endParaRPr>
          </a:p>
        </p:txBody>
      </p:sp>
      <p:sp>
        <p:nvSpPr>
          <p:cNvPr id="72" name="Freeform 41"/>
          <p:cNvSpPr>
            <a:spLocks noChangeAspect="1"/>
          </p:cNvSpPr>
          <p:nvPr/>
        </p:nvSpPr>
        <p:spPr bwMode="black">
          <a:xfrm>
            <a:off x="1034599" y="4211241"/>
            <a:ext cx="368142" cy="371411"/>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000" kern="0" dirty="0">
              <a:ea typeface="Segoe UI" pitchFamily="34" charset="0"/>
              <a:cs typeface="Segoe UI" pitchFamily="34" charset="0"/>
            </a:endParaRPr>
          </a:p>
        </p:txBody>
      </p:sp>
      <p:sp>
        <p:nvSpPr>
          <p:cNvPr id="76" name="Right Arrow 67"/>
          <p:cNvSpPr/>
          <p:nvPr/>
        </p:nvSpPr>
        <p:spPr>
          <a:xfrm>
            <a:off x="3399238" y="4165441"/>
            <a:ext cx="661227" cy="249143"/>
          </a:xfrm>
          <a:prstGeom prst="rightArrow">
            <a:avLst/>
          </a:prstGeom>
          <a:solidFill>
            <a:schemeClr val="tx1">
              <a:lumMod val="75000"/>
              <a:lumOff val="25000"/>
            </a:schemeClr>
          </a:solidFill>
          <a:ln w="10795" cap="flat" cmpd="sng" algn="ctr">
            <a:noFill/>
            <a:prstDash val="solid"/>
          </a:ln>
          <a:effectLst/>
        </p:spPr>
        <p:txBody>
          <a:bodyPr rtlCol="0" anchor="ctr"/>
          <a:lstStyle/>
          <a:p>
            <a:pPr algn="ctr" defTabSz="932418">
              <a:defRPr/>
            </a:pPr>
            <a:endParaRPr lang="en-US" sz="2000" kern="0" dirty="0">
              <a:latin typeface="Segoe UI"/>
            </a:endParaRPr>
          </a:p>
        </p:txBody>
      </p:sp>
      <p:pic>
        <p:nvPicPr>
          <p:cNvPr id="77" name="Graphic 9"/>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41065" y="3546067"/>
            <a:ext cx="761892" cy="761892"/>
          </a:xfrm>
          <a:prstGeom prst="rect">
            <a:avLst/>
          </a:prstGeom>
        </p:spPr>
      </p:pic>
      <p:sp>
        <p:nvSpPr>
          <p:cNvPr id="78" name="Rectangle 77"/>
          <p:cNvSpPr/>
          <p:nvPr/>
        </p:nvSpPr>
        <p:spPr>
          <a:xfrm>
            <a:off x="9030290" y="3100092"/>
            <a:ext cx="840295" cy="400110"/>
          </a:xfrm>
          <a:prstGeom prst="rect">
            <a:avLst/>
          </a:prstGeom>
        </p:spPr>
        <p:txBody>
          <a:bodyPr wrap="none">
            <a:spAutoFit/>
          </a:bodyPr>
          <a:lstStyle/>
          <a:p>
            <a:pPr algn="ctr" defTabSz="932418">
              <a:defRPr/>
            </a:pPr>
            <a:r>
              <a:rPr lang="en-US" sz="2000" kern="0" dirty="0"/>
              <a:t>HDI R</a:t>
            </a:r>
          </a:p>
        </p:txBody>
      </p:sp>
      <p:pic>
        <p:nvPicPr>
          <p:cNvPr id="79" name="Graphic 45"/>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132977" y="2435649"/>
            <a:ext cx="595228" cy="595228"/>
          </a:xfrm>
          <a:prstGeom prst="rect">
            <a:avLst/>
          </a:prstGeom>
        </p:spPr>
      </p:pic>
      <p:pic>
        <p:nvPicPr>
          <p:cNvPr id="80" name="Picture 79"/>
          <p:cNvPicPr>
            <a:picLocks noChangeAspect="1"/>
          </p:cNvPicPr>
          <p:nvPr/>
        </p:nvPicPr>
        <p:blipFill rotWithShape="1">
          <a:blip r:embed="rId7"/>
          <a:srcRect t="7492"/>
          <a:stretch/>
        </p:blipFill>
        <p:spPr>
          <a:xfrm>
            <a:off x="9113427" y="3481170"/>
            <a:ext cx="570309" cy="527506"/>
          </a:xfrm>
          <a:prstGeom prst="rect">
            <a:avLst/>
          </a:prstGeom>
        </p:spPr>
      </p:pic>
      <p:sp>
        <p:nvSpPr>
          <p:cNvPr id="81" name="Freeform 5"/>
          <p:cNvSpPr>
            <a:spLocks noEditPoints="1"/>
          </p:cNvSpPr>
          <p:nvPr/>
        </p:nvSpPr>
        <p:spPr bwMode="auto">
          <a:xfrm>
            <a:off x="10857599" y="2566899"/>
            <a:ext cx="671832" cy="592508"/>
          </a:xfrm>
          <a:custGeom>
            <a:avLst/>
            <a:gdLst>
              <a:gd name="T0" fmla="*/ 111 w 145"/>
              <a:gd name="T1" fmla="*/ 115 h 128"/>
              <a:gd name="T2" fmla="*/ 72 w 145"/>
              <a:gd name="T3" fmla="*/ 128 h 128"/>
              <a:gd name="T4" fmla="*/ 21 w 145"/>
              <a:gd name="T5" fmla="*/ 103 h 128"/>
              <a:gd name="T6" fmla="*/ 34 w 145"/>
              <a:gd name="T7" fmla="*/ 14 h 128"/>
              <a:gd name="T8" fmla="*/ 72 w 145"/>
              <a:gd name="T9" fmla="*/ 0 h 128"/>
              <a:gd name="T10" fmla="*/ 123 w 145"/>
              <a:gd name="T11" fmla="*/ 26 h 128"/>
              <a:gd name="T12" fmla="*/ 111 w 145"/>
              <a:gd name="T13" fmla="*/ 115 h 128"/>
              <a:gd name="T14" fmla="*/ 117 w 145"/>
              <a:gd name="T15" fmla="*/ 30 h 128"/>
              <a:gd name="T16" fmla="*/ 116 w 145"/>
              <a:gd name="T17" fmla="*/ 29 h 128"/>
              <a:gd name="T18" fmla="*/ 81 w 145"/>
              <a:gd name="T19" fmla="*/ 39 h 128"/>
              <a:gd name="T20" fmla="*/ 99 w 145"/>
              <a:gd name="T21" fmla="*/ 57 h 128"/>
              <a:gd name="T22" fmla="*/ 114 w 145"/>
              <a:gd name="T23" fmla="*/ 60 h 128"/>
              <a:gd name="T24" fmla="*/ 117 w 145"/>
              <a:gd name="T25" fmla="*/ 71 h 128"/>
              <a:gd name="T26" fmla="*/ 126 w 145"/>
              <a:gd name="T27" fmla="*/ 79 h 128"/>
              <a:gd name="T28" fmla="*/ 117 w 145"/>
              <a:gd name="T29" fmla="*/ 30 h 128"/>
              <a:gd name="T30" fmla="*/ 119 w 145"/>
              <a:gd name="T31" fmla="*/ 95 h 128"/>
              <a:gd name="T32" fmla="*/ 125 w 145"/>
              <a:gd name="T33" fmla="*/ 83 h 128"/>
              <a:gd name="T34" fmla="*/ 114 w 145"/>
              <a:gd name="T35" fmla="*/ 76 h 128"/>
              <a:gd name="T36" fmla="*/ 113 w 145"/>
              <a:gd name="T37" fmla="*/ 76 h 128"/>
              <a:gd name="T38" fmla="*/ 96 w 145"/>
              <a:gd name="T39" fmla="*/ 74 h 128"/>
              <a:gd name="T40" fmla="*/ 95 w 145"/>
              <a:gd name="T41" fmla="*/ 60 h 128"/>
              <a:gd name="T42" fmla="*/ 73 w 145"/>
              <a:gd name="T43" fmla="*/ 42 h 128"/>
              <a:gd name="T44" fmla="*/ 58 w 145"/>
              <a:gd name="T45" fmla="*/ 54 h 128"/>
              <a:gd name="T46" fmla="*/ 56 w 145"/>
              <a:gd name="T47" fmla="*/ 56 h 128"/>
              <a:gd name="T48" fmla="*/ 56 w 145"/>
              <a:gd name="T49" fmla="*/ 73 h 128"/>
              <a:gd name="T50" fmla="*/ 59 w 145"/>
              <a:gd name="T51" fmla="*/ 76 h 128"/>
              <a:gd name="T52" fmla="*/ 75 w 145"/>
              <a:gd name="T53" fmla="*/ 86 h 128"/>
              <a:gd name="T54" fmla="*/ 89 w 145"/>
              <a:gd name="T55" fmla="*/ 89 h 128"/>
              <a:gd name="T56" fmla="*/ 91 w 145"/>
              <a:gd name="T57" fmla="*/ 94 h 128"/>
              <a:gd name="T58" fmla="*/ 119 w 145"/>
              <a:gd name="T59" fmla="*/ 95 h 128"/>
              <a:gd name="T60" fmla="*/ 73 w 145"/>
              <a:gd name="T61" fmla="*/ 9 h 128"/>
              <a:gd name="T62" fmla="*/ 56 w 145"/>
              <a:gd name="T63" fmla="*/ 11 h 128"/>
              <a:gd name="T64" fmla="*/ 72 w 145"/>
              <a:gd name="T65" fmla="*/ 28 h 128"/>
              <a:gd name="T66" fmla="*/ 109 w 145"/>
              <a:gd name="T67" fmla="*/ 22 h 128"/>
              <a:gd name="T68" fmla="*/ 73 w 145"/>
              <a:gd name="T69" fmla="*/ 9 h 128"/>
              <a:gd name="T70" fmla="*/ 32 w 145"/>
              <a:gd name="T71" fmla="*/ 25 h 128"/>
              <a:gd name="T72" fmla="*/ 36 w 145"/>
              <a:gd name="T73" fmla="*/ 49 h 128"/>
              <a:gd name="T74" fmla="*/ 45 w 145"/>
              <a:gd name="T75" fmla="*/ 48 h 128"/>
              <a:gd name="T76" fmla="*/ 47 w 145"/>
              <a:gd name="T77" fmla="*/ 46 h 128"/>
              <a:gd name="T78" fmla="*/ 63 w 145"/>
              <a:gd name="T79" fmla="*/ 33 h 128"/>
              <a:gd name="T80" fmla="*/ 48 w 145"/>
              <a:gd name="T81" fmla="*/ 14 h 128"/>
              <a:gd name="T82" fmla="*/ 38 w 145"/>
              <a:gd name="T83" fmla="*/ 20 h 128"/>
              <a:gd name="T84" fmla="*/ 32 w 145"/>
              <a:gd name="T85" fmla="*/ 25 h 128"/>
              <a:gd name="T86" fmla="*/ 27 w 145"/>
              <a:gd name="T87" fmla="*/ 96 h 128"/>
              <a:gd name="T88" fmla="*/ 31 w 145"/>
              <a:gd name="T89" fmla="*/ 77 h 128"/>
              <a:gd name="T90" fmla="*/ 29 w 145"/>
              <a:gd name="T91" fmla="*/ 75 h 128"/>
              <a:gd name="T92" fmla="*/ 29 w 145"/>
              <a:gd name="T93" fmla="*/ 55 h 128"/>
              <a:gd name="T94" fmla="*/ 27 w 145"/>
              <a:gd name="T95" fmla="*/ 33 h 128"/>
              <a:gd name="T96" fmla="*/ 27 w 145"/>
              <a:gd name="T97" fmla="*/ 96 h 128"/>
              <a:gd name="T98" fmla="*/ 111 w 145"/>
              <a:gd name="T99" fmla="*/ 104 h 128"/>
              <a:gd name="T100" fmla="*/ 89 w 145"/>
              <a:gd name="T101" fmla="*/ 102 h 128"/>
              <a:gd name="T102" fmla="*/ 88 w 145"/>
              <a:gd name="T103" fmla="*/ 104 h 128"/>
              <a:gd name="T104" fmla="*/ 72 w 145"/>
              <a:gd name="T105" fmla="*/ 102 h 128"/>
              <a:gd name="T106" fmla="*/ 69 w 145"/>
              <a:gd name="T107" fmla="*/ 94 h 128"/>
              <a:gd name="T108" fmla="*/ 53 w 145"/>
              <a:gd name="T109" fmla="*/ 84 h 128"/>
              <a:gd name="T110" fmla="*/ 48 w 145"/>
              <a:gd name="T111" fmla="*/ 81 h 128"/>
              <a:gd name="T112" fmla="*/ 40 w 145"/>
              <a:gd name="T113" fmla="*/ 82 h 128"/>
              <a:gd name="T114" fmla="*/ 37 w 145"/>
              <a:gd name="T115" fmla="*/ 107 h 128"/>
              <a:gd name="T116" fmla="*/ 72 w 145"/>
              <a:gd name="T117" fmla="*/ 120 h 128"/>
              <a:gd name="T118" fmla="*/ 106 w 145"/>
              <a:gd name="T119" fmla="*/ 109 h 128"/>
              <a:gd name="T120" fmla="*/ 111 w 145"/>
              <a:gd name="T121" fmla="*/ 10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5" h="128">
                <a:moveTo>
                  <a:pt x="111" y="115"/>
                </a:moveTo>
                <a:cubicBezTo>
                  <a:pt x="100" y="125"/>
                  <a:pt x="86" y="128"/>
                  <a:pt x="72" y="128"/>
                </a:cubicBezTo>
                <a:cubicBezTo>
                  <a:pt x="53" y="128"/>
                  <a:pt x="34" y="120"/>
                  <a:pt x="21" y="103"/>
                </a:cubicBezTo>
                <a:cubicBezTo>
                  <a:pt x="0" y="75"/>
                  <a:pt x="6" y="35"/>
                  <a:pt x="34" y="14"/>
                </a:cubicBezTo>
                <a:cubicBezTo>
                  <a:pt x="45" y="4"/>
                  <a:pt x="58" y="0"/>
                  <a:pt x="72" y="0"/>
                </a:cubicBezTo>
                <a:cubicBezTo>
                  <a:pt x="91" y="0"/>
                  <a:pt x="111" y="9"/>
                  <a:pt x="123" y="26"/>
                </a:cubicBezTo>
                <a:cubicBezTo>
                  <a:pt x="145" y="54"/>
                  <a:pt x="139" y="94"/>
                  <a:pt x="111" y="115"/>
                </a:cubicBezTo>
                <a:close/>
                <a:moveTo>
                  <a:pt x="117" y="30"/>
                </a:moveTo>
                <a:cubicBezTo>
                  <a:pt x="117" y="30"/>
                  <a:pt x="116" y="30"/>
                  <a:pt x="116" y="29"/>
                </a:cubicBezTo>
                <a:cubicBezTo>
                  <a:pt x="114" y="29"/>
                  <a:pt x="100" y="29"/>
                  <a:pt x="81" y="39"/>
                </a:cubicBezTo>
                <a:cubicBezTo>
                  <a:pt x="87" y="45"/>
                  <a:pt x="94" y="51"/>
                  <a:pt x="99" y="57"/>
                </a:cubicBezTo>
                <a:cubicBezTo>
                  <a:pt x="104" y="54"/>
                  <a:pt x="111" y="54"/>
                  <a:pt x="114" y="60"/>
                </a:cubicBezTo>
                <a:cubicBezTo>
                  <a:pt x="117" y="63"/>
                  <a:pt x="118" y="68"/>
                  <a:pt x="117" y="71"/>
                </a:cubicBezTo>
                <a:cubicBezTo>
                  <a:pt x="121" y="75"/>
                  <a:pt x="124" y="77"/>
                  <a:pt x="126" y="79"/>
                </a:cubicBezTo>
                <a:cubicBezTo>
                  <a:pt x="130" y="62"/>
                  <a:pt x="128" y="45"/>
                  <a:pt x="117" y="30"/>
                </a:cubicBezTo>
                <a:close/>
                <a:moveTo>
                  <a:pt x="119" y="95"/>
                </a:moveTo>
                <a:cubicBezTo>
                  <a:pt x="122" y="91"/>
                  <a:pt x="124" y="87"/>
                  <a:pt x="125" y="83"/>
                </a:cubicBezTo>
                <a:cubicBezTo>
                  <a:pt x="123" y="82"/>
                  <a:pt x="119" y="79"/>
                  <a:pt x="114" y="76"/>
                </a:cubicBezTo>
                <a:cubicBezTo>
                  <a:pt x="114" y="76"/>
                  <a:pt x="114" y="76"/>
                  <a:pt x="113" y="76"/>
                </a:cubicBezTo>
                <a:cubicBezTo>
                  <a:pt x="108" y="80"/>
                  <a:pt x="100" y="79"/>
                  <a:pt x="96" y="74"/>
                </a:cubicBezTo>
                <a:cubicBezTo>
                  <a:pt x="94" y="70"/>
                  <a:pt x="93" y="65"/>
                  <a:pt x="95" y="60"/>
                </a:cubicBezTo>
                <a:cubicBezTo>
                  <a:pt x="88" y="54"/>
                  <a:pt x="80" y="48"/>
                  <a:pt x="73" y="42"/>
                </a:cubicBezTo>
                <a:cubicBezTo>
                  <a:pt x="69" y="45"/>
                  <a:pt x="63" y="49"/>
                  <a:pt x="58" y="54"/>
                </a:cubicBezTo>
                <a:cubicBezTo>
                  <a:pt x="58" y="55"/>
                  <a:pt x="57" y="56"/>
                  <a:pt x="56" y="56"/>
                </a:cubicBezTo>
                <a:cubicBezTo>
                  <a:pt x="59" y="62"/>
                  <a:pt x="59" y="68"/>
                  <a:pt x="56" y="73"/>
                </a:cubicBezTo>
                <a:cubicBezTo>
                  <a:pt x="57" y="74"/>
                  <a:pt x="58" y="75"/>
                  <a:pt x="59" y="76"/>
                </a:cubicBezTo>
                <a:cubicBezTo>
                  <a:pt x="64" y="80"/>
                  <a:pt x="69" y="83"/>
                  <a:pt x="75" y="86"/>
                </a:cubicBezTo>
                <a:cubicBezTo>
                  <a:pt x="79" y="84"/>
                  <a:pt x="86" y="85"/>
                  <a:pt x="89" y="89"/>
                </a:cubicBezTo>
                <a:cubicBezTo>
                  <a:pt x="90" y="91"/>
                  <a:pt x="91" y="93"/>
                  <a:pt x="91" y="94"/>
                </a:cubicBezTo>
                <a:cubicBezTo>
                  <a:pt x="105" y="98"/>
                  <a:pt x="115" y="96"/>
                  <a:pt x="119" y="95"/>
                </a:cubicBezTo>
                <a:close/>
                <a:moveTo>
                  <a:pt x="73" y="9"/>
                </a:moveTo>
                <a:cubicBezTo>
                  <a:pt x="67" y="9"/>
                  <a:pt x="61" y="9"/>
                  <a:pt x="56" y="11"/>
                </a:cubicBezTo>
                <a:cubicBezTo>
                  <a:pt x="61" y="17"/>
                  <a:pt x="66" y="23"/>
                  <a:pt x="72" y="28"/>
                </a:cubicBezTo>
                <a:cubicBezTo>
                  <a:pt x="86" y="20"/>
                  <a:pt x="100" y="20"/>
                  <a:pt x="109" y="22"/>
                </a:cubicBezTo>
                <a:cubicBezTo>
                  <a:pt x="97" y="14"/>
                  <a:pt x="85" y="9"/>
                  <a:pt x="73" y="9"/>
                </a:cubicBezTo>
                <a:close/>
                <a:moveTo>
                  <a:pt x="32" y="25"/>
                </a:moveTo>
                <a:cubicBezTo>
                  <a:pt x="31" y="30"/>
                  <a:pt x="31" y="39"/>
                  <a:pt x="36" y="49"/>
                </a:cubicBezTo>
                <a:cubicBezTo>
                  <a:pt x="39" y="48"/>
                  <a:pt x="42" y="48"/>
                  <a:pt x="45" y="48"/>
                </a:cubicBezTo>
                <a:cubicBezTo>
                  <a:pt x="46" y="48"/>
                  <a:pt x="47" y="47"/>
                  <a:pt x="47" y="46"/>
                </a:cubicBezTo>
                <a:cubicBezTo>
                  <a:pt x="53" y="41"/>
                  <a:pt x="58" y="37"/>
                  <a:pt x="63" y="33"/>
                </a:cubicBezTo>
                <a:cubicBezTo>
                  <a:pt x="57" y="27"/>
                  <a:pt x="52" y="21"/>
                  <a:pt x="48" y="14"/>
                </a:cubicBezTo>
                <a:cubicBezTo>
                  <a:pt x="44" y="17"/>
                  <a:pt x="41" y="18"/>
                  <a:pt x="38" y="20"/>
                </a:cubicBezTo>
                <a:cubicBezTo>
                  <a:pt x="36" y="22"/>
                  <a:pt x="35" y="23"/>
                  <a:pt x="32" y="25"/>
                </a:cubicBezTo>
                <a:close/>
                <a:moveTo>
                  <a:pt x="27" y="96"/>
                </a:moveTo>
                <a:cubicBezTo>
                  <a:pt x="28" y="90"/>
                  <a:pt x="29" y="83"/>
                  <a:pt x="31" y="77"/>
                </a:cubicBezTo>
                <a:cubicBezTo>
                  <a:pt x="30" y="76"/>
                  <a:pt x="30" y="76"/>
                  <a:pt x="29" y="75"/>
                </a:cubicBezTo>
                <a:cubicBezTo>
                  <a:pt x="25" y="70"/>
                  <a:pt x="25" y="61"/>
                  <a:pt x="29" y="55"/>
                </a:cubicBezTo>
                <a:cubicBezTo>
                  <a:pt x="25" y="46"/>
                  <a:pt x="26" y="38"/>
                  <a:pt x="27" y="33"/>
                </a:cubicBezTo>
                <a:cubicBezTo>
                  <a:pt x="14" y="51"/>
                  <a:pt x="13" y="77"/>
                  <a:pt x="27" y="96"/>
                </a:cubicBezTo>
                <a:close/>
                <a:moveTo>
                  <a:pt x="111" y="104"/>
                </a:moveTo>
                <a:cubicBezTo>
                  <a:pt x="106" y="104"/>
                  <a:pt x="98" y="104"/>
                  <a:pt x="89" y="102"/>
                </a:cubicBezTo>
                <a:cubicBezTo>
                  <a:pt x="89" y="102"/>
                  <a:pt x="88" y="103"/>
                  <a:pt x="88" y="104"/>
                </a:cubicBezTo>
                <a:cubicBezTo>
                  <a:pt x="83" y="108"/>
                  <a:pt x="75" y="107"/>
                  <a:pt x="72" y="102"/>
                </a:cubicBezTo>
                <a:cubicBezTo>
                  <a:pt x="70" y="100"/>
                  <a:pt x="69" y="97"/>
                  <a:pt x="69" y="94"/>
                </a:cubicBezTo>
                <a:cubicBezTo>
                  <a:pt x="64" y="92"/>
                  <a:pt x="59" y="88"/>
                  <a:pt x="53" y="84"/>
                </a:cubicBezTo>
                <a:cubicBezTo>
                  <a:pt x="51" y="83"/>
                  <a:pt x="49" y="82"/>
                  <a:pt x="48" y="81"/>
                </a:cubicBezTo>
                <a:cubicBezTo>
                  <a:pt x="45" y="82"/>
                  <a:pt x="43" y="82"/>
                  <a:pt x="40" y="82"/>
                </a:cubicBezTo>
                <a:cubicBezTo>
                  <a:pt x="37" y="91"/>
                  <a:pt x="36" y="101"/>
                  <a:pt x="37" y="107"/>
                </a:cubicBezTo>
                <a:cubicBezTo>
                  <a:pt x="47" y="116"/>
                  <a:pt x="60" y="120"/>
                  <a:pt x="72" y="120"/>
                </a:cubicBezTo>
                <a:cubicBezTo>
                  <a:pt x="84" y="120"/>
                  <a:pt x="96" y="116"/>
                  <a:pt x="106" y="109"/>
                </a:cubicBezTo>
                <a:cubicBezTo>
                  <a:pt x="109" y="107"/>
                  <a:pt x="109" y="106"/>
                  <a:pt x="111" y="104"/>
                </a:cubicBezTo>
                <a:close/>
              </a:path>
            </a:pathLst>
          </a:custGeom>
          <a:solidFill>
            <a:srgbClr val="505050"/>
          </a:solidFill>
          <a:ln>
            <a:noFill/>
          </a:ln>
        </p:spPr>
        <p:txBody>
          <a:bodyPr vert="horz" wrap="square" lIns="93247" tIns="46623" rIns="93247" bIns="46623" numCol="1" anchor="t" anchorCtr="0" compatLnSpc="1">
            <a:prstTxWarp prst="textNoShape">
              <a:avLst/>
            </a:prstTxWarp>
          </a:bodyPr>
          <a:lstStyle/>
          <a:p>
            <a:pPr defTabSz="932418">
              <a:defRPr/>
            </a:pPr>
            <a:endParaRPr lang="en-US" sz="2000" kern="0" dirty="0"/>
          </a:p>
        </p:txBody>
      </p:sp>
      <p:sp>
        <p:nvSpPr>
          <p:cNvPr id="82" name="Rectangle 81"/>
          <p:cNvSpPr/>
          <p:nvPr/>
        </p:nvSpPr>
        <p:spPr>
          <a:xfrm>
            <a:off x="10457338" y="3216647"/>
            <a:ext cx="1508514" cy="372323"/>
          </a:xfrm>
          <a:prstGeom prst="rect">
            <a:avLst/>
          </a:prstGeom>
          <a:noFill/>
          <a:ln w="10795" cap="flat" cmpd="sng" algn="ctr">
            <a:noFill/>
            <a:prstDash val="solid"/>
          </a:ln>
          <a:effectLst/>
        </p:spPr>
        <p:txBody>
          <a:bodyPr rtlCol="0" anchor="ctr"/>
          <a:lstStyle/>
          <a:p>
            <a:pPr algn="ctr" defTabSz="932418">
              <a:defRPr/>
            </a:pPr>
            <a:r>
              <a:rPr lang="en-US" sz="2000" kern="0" dirty="0" err="1">
                <a:latin typeface="Segoe UI"/>
              </a:rPr>
              <a:t>Jupyter</a:t>
            </a:r>
            <a:endParaRPr lang="en-US" sz="2000" kern="0" dirty="0">
              <a:latin typeface="Segoe UI"/>
            </a:endParaRPr>
          </a:p>
        </p:txBody>
      </p:sp>
      <p:sp>
        <p:nvSpPr>
          <p:cNvPr id="83" name="Rectangle 82"/>
          <p:cNvSpPr/>
          <p:nvPr/>
        </p:nvSpPr>
        <p:spPr>
          <a:xfrm>
            <a:off x="4100938" y="3530252"/>
            <a:ext cx="1236237" cy="400110"/>
          </a:xfrm>
          <a:prstGeom prst="rect">
            <a:avLst/>
          </a:prstGeom>
        </p:spPr>
        <p:txBody>
          <a:bodyPr wrap="none">
            <a:spAutoFit/>
          </a:bodyPr>
          <a:lstStyle/>
          <a:p>
            <a:pPr algn="ctr" defTabSz="932418">
              <a:defRPr/>
            </a:pPr>
            <a:r>
              <a:rPr lang="en-US" sz="2000" kern="0" dirty="0"/>
              <a:t>Enriching</a:t>
            </a:r>
          </a:p>
        </p:txBody>
      </p:sp>
      <p:pic>
        <p:nvPicPr>
          <p:cNvPr id="84" name="Graphic 55"/>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736969" y="5824468"/>
            <a:ext cx="595228" cy="595228"/>
          </a:xfrm>
          <a:prstGeom prst="rect">
            <a:avLst/>
          </a:prstGeom>
        </p:spPr>
      </p:pic>
      <p:pic>
        <p:nvPicPr>
          <p:cNvPr id="85" name="Picture 84"/>
          <p:cNvPicPr>
            <a:picLocks noChangeAspect="1"/>
          </p:cNvPicPr>
          <p:nvPr/>
        </p:nvPicPr>
        <p:blipFill>
          <a:blip r:embed="rId8"/>
          <a:stretch>
            <a:fillRect/>
          </a:stretch>
        </p:blipFill>
        <p:spPr>
          <a:xfrm>
            <a:off x="7474330" y="5833791"/>
            <a:ext cx="640645" cy="576581"/>
          </a:xfrm>
          <a:prstGeom prst="rect">
            <a:avLst/>
          </a:prstGeom>
        </p:spPr>
      </p:pic>
      <p:pic>
        <p:nvPicPr>
          <p:cNvPr id="87" name="Graphic 7"/>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51910" y="4051920"/>
            <a:ext cx="595229" cy="595228"/>
          </a:xfrm>
          <a:prstGeom prst="rect">
            <a:avLst/>
          </a:prstGeom>
        </p:spPr>
      </p:pic>
      <p:pic>
        <p:nvPicPr>
          <p:cNvPr id="88" name="Picture 87"/>
          <p:cNvPicPr>
            <a:picLocks noChangeAspect="1"/>
          </p:cNvPicPr>
          <p:nvPr/>
        </p:nvPicPr>
        <p:blipFill>
          <a:blip r:embed="rId9"/>
          <a:stretch>
            <a:fillRect/>
          </a:stretch>
        </p:blipFill>
        <p:spPr>
          <a:xfrm>
            <a:off x="4105054" y="4681501"/>
            <a:ext cx="979537" cy="359164"/>
          </a:xfrm>
          <a:prstGeom prst="rect">
            <a:avLst/>
          </a:prstGeom>
        </p:spPr>
      </p:pic>
      <p:sp>
        <p:nvSpPr>
          <p:cNvPr id="89" name="Rectangle 88"/>
          <p:cNvSpPr/>
          <p:nvPr/>
        </p:nvSpPr>
        <p:spPr>
          <a:xfrm>
            <a:off x="478174" y="5225625"/>
            <a:ext cx="1417609" cy="1197685"/>
          </a:xfrm>
          <a:prstGeom prst="rect">
            <a:avLst/>
          </a:prstGeom>
          <a:noFill/>
          <a:ln w="10795" cap="flat" cmpd="sng" algn="ctr">
            <a:noFill/>
            <a:prstDash val="solid"/>
          </a:ln>
          <a:effectLst/>
        </p:spPr>
        <p:txBody>
          <a:bodyPr rtlCol="0" anchor="b"/>
          <a:lstStyle/>
          <a:p>
            <a:pPr algn="ctr" defTabSz="932418">
              <a:defRPr/>
            </a:pPr>
            <a:r>
              <a:rPr lang="en-US" sz="2000" kern="0" dirty="0">
                <a:latin typeface="Segoe UI"/>
              </a:rPr>
              <a:t>Event data</a:t>
            </a:r>
          </a:p>
        </p:txBody>
      </p:sp>
      <p:sp>
        <p:nvSpPr>
          <p:cNvPr id="90" name="Freeform 41"/>
          <p:cNvSpPr>
            <a:spLocks noChangeAspect="1"/>
          </p:cNvSpPr>
          <p:nvPr/>
        </p:nvSpPr>
        <p:spPr bwMode="black">
          <a:xfrm>
            <a:off x="1032400" y="5639395"/>
            <a:ext cx="368142" cy="371411"/>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000" kern="0" dirty="0">
              <a:ea typeface="Segoe UI" pitchFamily="34" charset="0"/>
              <a:cs typeface="Segoe UI" pitchFamily="34" charset="0"/>
            </a:endParaRPr>
          </a:p>
        </p:txBody>
      </p:sp>
      <p:sp>
        <p:nvSpPr>
          <p:cNvPr id="91" name="Rectangle 90"/>
          <p:cNvSpPr/>
          <p:nvPr/>
        </p:nvSpPr>
        <p:spPr>
          <a:xfrm>
            <a:off x="478174" y="2532690"/>
            <a:ext cx="1417609" cy="1197685"/>
          </a:xfrm>
          <a:prstGeom prst="rect">
            <a:avLst/>
          </a:prstGeom>
          <a:noFill/>
          <a:ln w="10795" cap="flat" cmpd="sng" algn="ctr">
            <a:noFill/>
            <a:prstDash val="solid"/>
          </a:ln>
          <a:effectLst/>
        </p:spPr>
        <p:txBody>
          <a:bodyPr rtlCol="0" anchor="b"/>
          <a:lstStyle/>
          <a:p>
            <a:pPr algn="ctr" defTabSz="932418">
              <a:defRPr/>
            </a:pPr>
            <a:r>
              <a:rPr lang="en-US" sz="2000" kern="0" dirty="0">
                <a:latin typeface="Segoe UI"/>
              </a:rPr>
              <a:t>Event data</a:t>
            </a:r>
          </a:p>
        </p:txBody>
      </p:sp>
      <p:sp>
        <p:nvSpPr>
          <p:cNvPr id="92" name="Freeform 41"/>
          <p:cNvSpPr>
            <a:spLocks noChangeAspect="1"/>
          </p:cNvSpPr>
          <p:nvPr/>
        </p:nvSpPr>
        <p:spPr bwMode="black">
          <a:xfrm>
            <a:off x="1002907" y="2934450"/>
            <a:ext cx="368142" cy="371411"/>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000" kern="0" dirty="0">
              <a:ea typeface="Segoe UI" pitchFamily="34" charset="0"/>
              <a:cs typeface="Segoe UI" pitchFamily="34" charset="0"/>
            </a:endParaRPr>
          </a:p>
        </p:txBody>
      </p:sp>
      <p:pic>
        <p:nvPicPr>
          <p:cNvPr id="94" name="Picture 93"/>
          <p:cNvPicPr>
            <a:picLocks noChangeAspect="1"/>
          </p:cNvPicPr>
          <p:nvPr/>
        </p:nvPicPr>
        <p:blipFill>
          <a:blip r:embed="rId10"/>
          <a:stretch>
            <a:fillRect/>
          </a:stretch>
        </p:blipFill>
        <p:spPr>
          <a:xfrm>
            <a:off x="2679976" y="3413186"/>
            <a:ext cx="457097" cy="713072"/>
          </a:xfrm>
          <a:prstGeom prst="rect">
            <a:avLst/>
          </a:prstGeom>
        </p:spPr>
      </p:pic>
      <p:sp>
        <p:nvSpPr>
          <p:cNvPr id="95" name="Rectangle 94"/>
          <p:cNvSpPr/>
          <p:nvPr/>
        </p:nvSpPr>
        <p:spPr>
          <a:xfrm>
            <a:off x="2537348" y="4186549"/>
            <a:ext cx="801823" cy="400110"/>
          </a:xfrm>
          <a:prstGeom prst="rect">
            <a:avLst/>
          </a:prstGeom>
        </p:spPr>
        <p:txBody>
          <a:bodyPr wrap="none">
            <a:spAutoFit/>
          </a:bodyPr>
          <a:lstStyle/>
          <a:p>
            <a:pPr algn="ctr" defTabSz="932418">
              <a:defRPr/>
            </a:pPr>
            <a:r>
              <a:rPr lang="en-US" sz="2000" kern="0" dirty="0"/>
              <a:t>Kafka</a:t>
            </a:r>
          </a:p>
        </p:txBody>
      </p:sp>
      <p:pic>
        <p:nvPicPr>
          <p:cNvPr id="97" name="Graphic 78"/>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669936" y="4834962"/>
            <a:ext cx="466302" cy="466302"/>
          </a:xfrm>
          <a:prstGeom prst="rect">
            <a:avLst/>
          </a:prstGeom>
        </p:spPr>
      </p:pic>
      <p:sp>
        <p:nvSpPr>
          <p:cNvPr id="98" name="Rectangle 97"/>
          <p:cNvSpPr/>
          <p:nvPr/>
        </p:nvSpPr>
        <p:spPr>
          <a:xfrm>
            <a:off x="2248140" y="5375945"/>
            <a:ext cx="1393330" cy="400110"/>
          </a:xfrm>
          <a:prstGeom prst="rect">
            <a:avLst/>
          </a:prstGeom>
        </p:spPr>
        <p:txBody>
          <a:bodyPr wrap="none">
            <a:spAutoFit/>
          </a:bodyPr>
          <a:lstStyle/>
          <a:p>
            <a:pPr algn="ctr" defTabSz="951156">
              <a:defRPr/>
            </a:pPr>
            <a:r>
              <a:rPr lang="en-US" sz="2000" kern="0" dirty="0"/>
              <a:t>EventHubs</a:t>
            </a:r>
          </a:p>
        </p:txBody>
      </p:sp>
      <p:pic>
        <p:nvPicPr>
          <p:cNvPr id="99" name="Picture 2" descr="http://www.ebaytechblog.com/wp-content/uploads/2014/05/spark_logo.png"/>
          <p:cNvPicPr>
            <a:picLocks noChangeAspect="1" noChangeArrowheads="1"/>
          </p:cNvPicPr>
          <p:nvPr/>
        </p:nvPicPr>
        <p:blipFill>
          <a:blip r:embed="rId13" cstate="print">
            <a:duotone>
              <a:srgbClr val="0078D7">
                <a:shade val="45000"/>
                <a:satMod val="135000"/>
              </a:srgbClr>
              <a:prstClr val="white"/>
            </a:duotone>
            <a:extLst>
              <a:ext uri="{BEBA8EAE-BF5A-486C-A8C5-ECC9F3942E4B}">
                <a14:imgProps xmlns:a14="http://schemas.microsoft.com/office/drawing/2010/main">
                  <a14:imgLayer r:embed="rId1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268025" y="5103828"/>
            <a:ext cx="709778" cy="3768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0" name="Picture 2" descr="http://www.ebaytechblog.com/wp-content/uploads/2014/05/spark_logo.png"/>
          <p:cNvPicPr>
            <a:picLocks noChangeAspect="1" noChangeArrowheads="1"/>
          </p:cNvPicPr>
          <p:nvPr/>
        </p:nvPicPr>
        <p:blipFill>
          <a:blip r:embed="rId13" cstate="print">
            <a:duotone>
              <a:srgbClr val="0078D7">
                <a:shade val="45000"/>
                <a:satMod val="135000"/>
              </a:srgbClr>
              <a:prstClr val="white"/>
            </a:duotone>
            <a:extLst>
              <a:ext uri="{BEBA8EAE-BF5A-486C-A8C5-ECC9F3942E4B}">
                <a14:imgProps xmlns:a14="http://schemas.microsoft.com/office/drawing/2010/main">
                  <a14:imgLayer r:embed="rId1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9272020" y="5079122"/>
            <a:ext cx="709778" cy="376845"/>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02" name="Rectangle 101"/>
          <p:cNvSpPr/>
          <p:nvPr/>
        </p:nvSpPr>
        <p:spPr>
          <a:xfrm>
            <a:off x="10611317" y="5555714"/>
            <a:ext cx="1238700" cy="270247"/>
          </a:xfrm>
          <a:prstGeom prst="rect">
            <a:avLst/>
          </a:prstGeom>
          <a:noFill/>
          <a:ln w="10795" cap="flat" cmpd="sng" algn="ctr">
            <a:noFill/>
            <a:prstDash val="soli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418">
              <a:defRPr/>
            </a:pPr>
            <a:r>
              <a:rPr lang="en-US" sz="2000" kern="0" dirty="0">
                <a:latin typeface="Segoe UI"/>
              </a:rPr>
              <a:t>Power BI</a:t>
            </a:r>
          </a:p>
        </p:txBody>
      </p:sp>
      <p:grpSp>
        <p:nvGrpSpPr>
          <p:cNvPr id="103" name="Group 102"/>
          <p:cNvGrpSpPr/>
          <p:nvPr/>
        </p:nvGrpSpPr>
        <p:grpSpPr>
          <a:xfrm>
            <a:off x="10874106" y="5047667"/>
            <a:ext cx="638817" cy="408300"/>
            <a:chOff x="7884058" y="5368509"/>
            <a:chExt cx="324905" cy="207663"/>
          </a:xfrm>
          <a:solidFill>
            <a:srgbClr val="505050"/>
          </a:solidFill>
        </p:grpSpPr>
        <p:sp>
          <p:nvSpPr>
            <p:cNvPr id="104"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93234" tIns="46616" rIns="93234" bIns="46616" numCol="1" anchor="t" anchorCtr="0" compatLnSpc="1">
              <a:prstTxWarp prst="textNoShape">
                <a:avLst/>
              </a:prstTxWarp>
            </a:bodyPr>
            <a:lstStyle/>
            <a:p>
              <a:pPr defTabSz="951121">
                <a:defRPr/>
              </a:pPr>
              <a:endParaRPr lang="en-US" sz="2000" kern="0" dirty="0"/>
            </a:p>
          </p:txBody>
        </p:sp>
        <p:sp>
          <p:nvSpPr>
            <p:cNvPr id="105"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93234" tIns="46616" rIns="93234" bIns="46616" numCol="1" anchor="t" anchorCtr="0" compatLnSpc="1">
              <a:prstTxWarp prst="textNoShape">
                <a:avLst/>
              </a:prstTxWarp>
            </a:bodyPr>
            <a:lstStyle/>
            <a:p>
              <a:pPr defTabSz="951121">
                <a:defRPr/>
              </a:pPr>
              <a:endParaRPr lang="en-US" sz="2000" kern="0" dirty="0"/>
            </a:p>
          </p:txBody>
        </p:sp>
        <p:sp>
          <p:nvSpPr>
            <p:cNvPr id="106"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93234" tIns="46616" rIns="93234" bIns="46616" numCol="1" anchor="t" anchorCtr="0" compatLnSpc="1">
              <a:prstTxWarp prst="textNoShape">
                <a:avLst/>
              </a:prstTxWarp>
            </a:bodyPr>
            <a:lstStyle/>
            <a:p>
              <a:pPr defTabSz="951121">
                <a:defRPr/>
              </a:pPr>
              <a:endParaRPr lang="en-US" sz="2000" kern="0" dirty="0"/>
            </a:p>
          </p:txBody>
        </p:sp>
        <p:sp>
          <p:nvSpPr>
            <p:cNvPr id="107"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93234" tIns="46616" rIns="93234" bIns="46616" numCol="1" anchor="t" anchorCtr="0" compatLnSpc="1">
              <a:prstTxWarp prst="textNoShape">
                <a:avLst/>
              </a:prstTxWarp>
            </a:bodyPr>
            <a:lstStyle/>
            <a:p>
              <a:pPr defTabSz="951121">
                <a:defRPr/>
              </a:pPr>
              <a:endParaRPr lang="en-US" sz="2000" kern="0" dirty="0"/>
            </a:p>
          </p:txBody>
        </p:sp>
        <p:sp>
          <p:nvSpPr>
            <p:cNvPr id="108"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93234" tIns="46616" rIns="93234" bIns="46616" numCol="1" anchor="t" anchorCtr="0" compatLnSpc="1">
              <a:prstTxWarp prst="textNoShape">
                <a:avLst/>
              </a:prstTxWarp>
            </a:bodyPr>
            <a:lstStyle/>
            <a:p>
              <a:pPr defTabSz="951121">
                <a:defRPr/>
              </a:pPr>
              <a:endParaRPr lang="en-US" sz="2000" kern="0" dirty="0"/>
            </a:p>
          </p:txBody>
        </p:sp>
      </p:grpSp>
      <p:sp>
        <p:nvSpPr>
          <p:cNvPr id="109" name="Right Arrow 17"/>
          <p:cNvSpPr/>
          <p:nvPr/>
        </p:nvSpPr>
        <p:spPr>
          <a:xfrm>
            <a:off x="10195695" y="5080742"/>
            <a:ext cx="464516" cy="441036"/>
          </a:xfrm>
          <a:prstGeom prst="rightArrow">
            <a:avLst/>
          </a:prstGeom>
          <a:solidFill>
            <a:schemeClr val="tx1">
              <a:lumMod val="75000"/>
              <a:lumOff val="25000"/>
            </a:schemeClr>
          </a:solidFill>
          <a:ln w="10795" cap="flat" cmpd="sng" algn="ctr">
            <a:noFill/>
            <a:prstDash val="solid"/>
          </a:ln>
          <a:effectLst/>
        </p:spPr>
        <p:txBody>
          <a:bodyPr rtlCol="0" anchor="ctr"/>
          <a:lstStyle/>
          <a:p>
            <a:pPr algn="ctr" defTabSz="932418">
              <a:defRPr/>
            </a:pPr>
            <a:endParaRPr lang="en-US" sz="2000" kern="0" dirty="0">
              <a:latin typeface="Segoe UI"/>
            </a:endParaRPr>
          </a:p>
        </p:txBody>
      </p:sp>
      <p:sp>
        <p:nvSpPr>
          <p:cNvPr id="110" name="Down Arrow 83"/>
          <p:cNvSpPr/>
          <p:nvPr/>
        </p:nvSpPr>
        <p:spPr>
          <a:xfrm rot="16200000">
            <a:off x="8355700" y="4661971"/>
            <a:ext cx="346527" cy="535282"/>
          </a:xfrm>
          <a:prstGeom prst="downArrow">
            <a:avLst/>
          </a:prstGeom>
          <a:solidFill>
            <a:schemeClr val="tx1">
              <a:lumMod val="75000"/>
              <a:lumOff val="25000"/>
            </a:schemeClr>
          </a:solidFill>
          <a:ln w="10795" cap="flat" cmpd="sng" algn="ctr">
            <a:noFill/>
            <a:prstDash val="solid"/>
          </a:ln>
          <a:effectLst/>
        </p:spPr>
        <p:txBody>
          <a:bodyPr rtlCol="0" anchor="ctr"/>
          <a:lstStyle/>
          <a:p>
            <a:pPr algn="ctr" defTabSz="932418">
              <a:defRPr/>
            </a:pPr>
            <a:endParaRPr lang="en-US" sz="2000" kern="0" dirty="0">
              <a:latin typeface="Segoe UI"/>
            </a:endParaRPr>
          </a:p>
        </p:txBody>
      </p:sp>
      <p:pic>
        <p:nvPicPr>
          <p:cNvPr id="111" name="Picture 2" descr="http://www.ebaytechblog.com/wp-content/uploads/2014/05/spark_logo.png"/>
          <p:cNvPicPr>
            <a:picLocks noChangeAspect="1" noChangeArrowheads="1"/>
          </p:cNvPicPr>
          <p:nvPr/>
        </p:nvPicPr>
        <p:blipFill>
          <a:blip r:embed="rId13" cstate="print">
            <a:duotone>
              <a:srgbClr val="0078D7">
                <a:shade val="45000"/>
                <a:satMod val="135000"/>
              </a:srgbClr>
              <a:prstClr val="white"/>
            </a:duotone>
            <a:extLst>
              <a:ext uri="{BEBA8EAE-BF5A-486C-A8C5-ECC9F3942E4B}">
                <a14:imgProps xmlns:a14="http://schemas.microsoft.com/office/drawing/2010/main">
                  <a14:imgLayer r:embed="rId1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5765638" y="5933660"/>
            <a:ext cx="709778" cy="376845"/>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113" name="Group 112"/>
          <p:cNvGrpSpPr/>
          <p:nvPr/>
        </p:nvGrpSpPr>
        <p:grpSpPr>
          <a:xfrm>
            <a:off x="6582476" y="2012079"/>
            <a:ext cx="702209" cy="699194"/>
            <a:chOff x="2148168" y="645460"/>
            <a:chExt cx="2587625" cy="2576512"/>
          </a:xfrm>
        </p:grpSpPr>
        <p:sp>
          <p:nvSpPr>
            <p:cNvPr id="115" name="Freeform 19"/>
            <p:cNvSpPr>
              <a:spLocks noEditPoints="1"/>
            </p:cNvSpPr>
            <p:nvPr/>
          </p:nvSpPr>
          <p:spPr bwMode="auto">
            <a:xfrm>
              <a:off x="2364068" y="861360"/>
              <a:ext cx="2154238" cy="2149475"/>
            </a:xfrm>
            <a:custGeom>
              <a:avLst/>
              <a:gdLst>
                <a:gd name="T0" fmla="*/ 14609 w 16392"/>
                <a:gd name="T1" fmla="*/ 16392 h 16392"/>
                <a:gd name="T2" fmla="*/ 1782 w 16392"/>
                <a:gd name="T3" fmla="*/ 16392 h 16392"/>
                <a:gd name="T4" fmla="*/ 0 w 16392"/>
                <a:gd name="T5" fmla="*/ 14610 h 16392"/>
                <a:gd name="T6" fmla="*/ 0 w 16392"/>
                <a:gd name="T7" fmla="*/ 1782 h 16392"/>
                <a:gd name="T8" fmla="*/ 1782 w 16392"/>
                <a:gd name="T9" fmla="*/ 0 h 16392"/>
                <a:gd name="T10" fmla="*/ 14609 w 16392"/>
                <a:gd name="T11" fmla="*/ 0 h 16392"/>
                <a:gd name="T12" fmla="*/ 16392 w 16392"/>
                <a:gd name="T13" fmla="*/ 1782 h 16392"/>
                <a:gd name="T14" fmla="*/ 16392 w 16392"/>
                <a:gd name="T15" fmla="*/ 14610 h 16392"/>
                <a:gd name="T16" fmla="*/ 14609 w 16392"/>
                <a:gd name="T17" fmla="*/ 16392 h 16392"/>
                <a:gd name="T18" fmla="*/ 1782 w 16392"/>
                <a:gd name="T19" fmla="*/ 1175 h 16392"/>
                <a:gd name="T20" fmla="*/ 1194 w 16392"/>
                <a:gd name="T21" fmla="*/ 1763 h 16392"/>
                <a:gd name="T22" fmla="*/ 1194 w 16392"/>
                <a:gd name="T23" fmla="*/ 14590 h 16392"/>
                <a:gd name="T24" fmla="*/ 1782 w 16392"/>
                <a:gd name="T25" fmla="*/ 15178 h 16392"/>
                <a:gd name="T26" fmla="*/ 14609 w 16392"/>
                <a:gd name="T27" fmla="*/ 15178 h 16392"/>
                <a:gd name="T28" fmla="*/ 15197 w 16392"/>
                <a:gd name="T29" fmla="*/ 14590 h 16392"/>
                <a:gd name="T30" fmla="*/ 15197 w 16392"/>
                <a:gd name="T31" fmla="*/ 1763 h 16392"/>
                <a:gd name="T32" fmla="*/ 14609 w 16392"/>
                <a:gd name="T33" fmla="*/ 1175 h 16392"/>
                <a:gd name="T34" fmla="*/ 1782 w 16392"/>
                <a:gd name="T35" fmla="*/ 1175 h 16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2" h="16392">
                  <a:moveTo>
                    <a:pt x="14609" y="16392"/>
                  </a:moveTo>
                  <a:lnTo>
                    <a:pt x="1782" y="16392"/>
                  </a:lnTo>
                  <a:cubicBezTo>
                    <a:pt x="803" y="16392"/>
                    <a:pt x="0" y="15589"/>
                    <a:pt x="0" y="14610"/>
                  </a:cubicBezTo>
                  <a:lnTo>
                    <a:pt x="0" y="1782"/>
                  </a:lnTo>
                  <a:cubicBezTo>
                    <a:pt x="0" y="803"/>
                    <a:pt x="803" y="0"/>
                    <a:pt x="1782" y="0"/>
                  </a:cubicBezTo>
                  <a:lnTo>
                    <a:pt x="14609" y="0"/>
                  </a:lnTo>
                  <a:cubicBezTo>
                    <a:pt x="15589" y="0"/>
                    <a:pt x="16392" y="803"/>
                    <a:pt x="16392" y="1782"/>
                  </a:cubicBezTo>
                  <a:lnTo>
                    <a:pt x="16392" y="14610"/>
                  </a:lnTo>
                  <a:cubicBezTo>
                    <a:pt x="16392" y="15589"/>
                    <a:pt x="15589" y="16392"/>
                    <a:pt x="14609" y="16392"/>
                  </a:cubicBezTo>
                  <a:close/>
                  <a:moveTo>
                    <a:pt x="1782" y="1175"/>
                  </a:moveTo>
                  <a:cubicBezTo>
                    <a:pt x="1449" y="1175"/>
                    <a:pt x="1194" y="1449"/>
                    <a:pt x="1194" y="1763"/>
                  </a:cubicBezTo>
                  <a:lnTo>
                    <a:pt x="1194" y="14590"/>
                  </a:lnTo>
                  <a:cubicBezTo>
                    <a:pt x="1194" y="14923"/>
                    <a:pt x="1469" y="15178"/>
                    <a:pt x="1782" y="15178"/>
                  </a:cubicBezTo>
                  <a:lnTo>
                    <a:pt x="14609" y="15178"/>
                  </a:lnTo>
                  <a:cubicBezTo>
                    <a:pt x="14942" y="15178"/>
                    <a:pt x="15197" y="14904"/>
                    <a:pt x="15197" y="14590"/>
                  </a:cubicBezTo>
                  <a:lnTo>
                    <a:pt x="15197" y="1763"/>
                  </a:lnTo>
                  <a:cubicBezTo>
                    <a:pt x="15197" y="1430"/>
                    <a:pt x="14923" y="1175"/>
                    <a:pt x="14609" y="1175"/>
                  </a:cubicBezTo>
                  <a:lnTo>
                    <a:pt x="1782" y="1175"/>
                  </a:lnTo>
                  <a:close/>
                </a:path>
              </a:pathLst>
            </a:custGeom>
            <a:solidFill>
              <a:srgbClr val="A0A1A2"/>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000" kern="0" dirty="0"/>
            </a:p>
          </p:txBody>
        </p:sp>
        <p:sp>
          <p:nvSpPr>
            <p:cNvPr id="116" name="Freeform 20"/>
            <p:cNvSpPr>
              <a:spLocks/>
            </p:cNvSpPr>
            <p:nvPr/>
          </p:nvSpPr>
          <p:spPr bwMode="auto">
            <a:xfrm>
              <a:off x="2860955" y="645460"/>
              <a:ext cx="758825" cy="220662"/>
            </a:xfrm>
            <a:custGeom>
              <a:avLst/>
              <a:gdLst>
                <a:gd name="T0" fmla="*/ 2683 w 5778"/>
                <a:gd name="T1" fmla="*/ 235 h 1684"/>
                <a:gd name="T2" fmla="*/ 1293 w 5778"/>
                <a:gd name="T3" fmla="*/ 176 h 1684"/>
                <a:gd name="T4" fmla="*/ 275 w 5778"/>
                <a:gd name="T5" fmla="*/ 1116 h 1684"/>
                <a:gd name="T6" fmla="*/ 0 w 5778"/>
                <a:gd name="T7" fmla="*/ 1684 h 1684"/>
                <a:gd name="T8" fmla="*/ 5778 w 5778"/>
                <a:gd name="T9" fmla="*/ 1684 h 1684"/>
                <a:gd name="T10" fmla="*/ 2683 w 5778"/>
                <a:gd name="T11" fmla="*/ 235 h 1684"/>
              </a:gdLst>
              <a:ahLst/>
              <a:cxnLst>
                <a:cxn ang="0">
                  <a:pos x="T0" y="T1"/>
                </a:cxn>
                <a:cxn ang="0">
                  <a:pos x="T2" y="T3"/>
                </a:cxn>
                <a:cxn ang="0">
                  <a:pos x="T4" y="T5"/>
                </a:cxn>
                <a:cxn ang="0">
                  <a:pos x="T6" y="T7"/>
                </a:cxn>
                <a:cxn ang="0">
                  <a:pos x="T8" y="T9"/>
                </a:cxn>
                <a:cxn ang="0">
                  <a:pos x="T10" y="T11"/>
                </a:cxn>
              </a:cxnLst>
              <a:rect l="0" t="0" r="r" b="b"/>
              <a:pathLst>
                <a:path w="5778" h="1684">
                  <a:moveTo>
                    <a:pt x="2683" y="235"/>
                  </a:moveTo>
                  <a:cubicBezTo>
                    <a:pt x="2253" y="39"/>
                    <a:pt x="1743" y="0"/>
                    <a:pt x="1293" y="176"/>
                  </a:cubicBezTo>
                  <a:cubicBezTo>
                    <a:pt x="843" y="333"/>
                    <a:pt x="471" y="666"/>
                    <a:pt x="275" y="1116"/>
                  </a:cubicBezTo>
                  <a:lnTo>
                    <a:pt x="0" y="1684"/>
                  </a:lnTo>
                  <a:lnTo>
                    <a:pt x="5778" y="1684"/>
                  </a:lnTo>
                  <a:lnTo>
                    <a:pt x="2683" y="235"/>
                  </a:ln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000" kern="0" dirty="0"/>
            </a:p>
          </p:txBody>
        </p:sp>
        <p:sp>
          <p:nvSpPr>
            <p:cNvPr id="117" name="Freeform 21"/>
            <p:cNvSpPr>
              <a:spLocks/>
            </p:cNvSpPr>
            <p:nvPr/>
          </p:nvSpPr>
          <p:spPr bwMode="auto">
            <a:xfrm>
              <a:off x="4515130" y="1356660"/>
              <a:ext cx="220663" cy="760412"/>
            </a:xfrm>
            <a:custGeom>
              <a:avLst/>
              <a:gdLst>
                <a:gd name="T0" fmla="*/ 1508 w 1684"/>
                <a:gd name="T1" fmla="*/ 1292 h 5797"/>
                <a:gd name="T2" fmla="*/ 568 w 1684"/>
                <a:gd name="T3" fmla="*/ 274 h 5797"/>
                <a:gd name="T4" fmla="*/ 0 w 1684"/>
                <a:gd name="T5" fmla="*/ 0 h 5797"/>
                <a:gd name="T6" fmla="*/ 0 w 1684"/>
                <a:gd name="T7" fmla="*/ 5797 h 5797"/>
                <a:gd name="T8" fmla="*/ 1449 w 1684"/>
                <a:gd name="T9" fmla="*/ 2702 h 5797"/>
                <a:gd name="T10" fmla="*/ 1508 w 1684"/>
                <a:gd name="T11" fmla="*/ 1292 h 5797"/>
              </a:gdLst>
              <a:ahLst/>
              <a:cxnLst>
                <a:cxn ang="0">
                  <a:pos x="T0" y="T1"/>
                </a:cxn>
                <a:cxn ang="0">
                  <a:pos x="T2" y="T3"/>
                </a:cxn>
                <a:cxn ang="0">
                  <a:pos x="T4" y="T5"/>
                </a:cxn>
                <a:cxn ang="0">
                  <a:pos x="T6" y="T7"/>
                </a:cxn>
                <a:cxn ang="0">
                  <a:pos x="T8" y="T9"/>
                </a:cxn>
                <a:cxn ang="0">
                  <a:pos x="T10" y="T11"/>
                </a:cxn>
              </a:cxnLst>
              <a:rect l="0" t="0" r="r" b="b"/>
              <a:pathLst>
                <a:path w="1684" h="5797">
                  <a:moveTo>
                    <a:pt x="1508" y="1292"/>
                  </a:moveTo>
                  <a:cubicBezTo>
                    <a:pt x="1351" y="842"/>
                    <a:pt x="1018" y="470"/>
                    <a:pt x="568" y="274"/>
                  </a:cubicBezTo>
                  <a:lnTo>
                    <a:pt x="0" y="0"/>
                  </a:lnTo>
                  <a:lnTo>
                    <a:pt x="0" y="5797"/>
                  </a:lnTo>
                  <a:lnTo>
                    <a:pt x="1449" y="2702"/>
                  </a:lnTo>
                  <a:cubicBezTo>
                    <a:pt x="1665" y="2252"/>
                    <a:pt x="1684" y="1762"/>
                    <a:pt x="1508" y="1292"/>
                  </a:cubicBez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000" kern="0" dirty="0"/>
            </a:p>
          </p:txBody>
        </p:sp>
        <p:sp>
          <p:nvSpPr>
            <p:cNvPr id="118" name="Freeform 22"/>
            <p:cNvSpPr>
              <a:spLocks/>
            </p:cNvSpPr>
            <p:nvPr/>
          </p:nvSpPr>
          <p:spPr bwMode="auto">
            <a:xfrm>
              <a:off x="2148168" y="1934510"/>
              <a:ext cx="222250" cy="758825"/>
            </a:xfrm>
            <a:custGeom>
              <a:avLst/>
              <a:gdLst>
                <a:gd name="T0" fmla="*/ 235 w 1684"/>
                <a:gd name="T1" fmla="*/ 3095 h 5778"/>
                <a:gd name="T2" fmla="*/ 176 w 1684"/>
                <a:gd name="T3" fmla="*/ 4485 h 5778"/>
                <a:gd name="T4" fmla="*/ 1116 w 1684"/>
                <a:gd name="T5" fmla="*/ 5503 h 5778"/>
                <a:gd name="T6" fmla="*/ 1684 w 1684"/>
                <a:gd name="T7" fmla="*/ 5778 h 5778"/>
                <a:gd name="T8" fmla="*/ 1684 w 1684"/>
                <a:gd name="T9" fmla="*/ 0 h 5778"/>
                <a:gd name="T10" fmla="*/ 235 w 1684"/>
                <a:gd name="T11" fmla="*/ 3095 h 5778"/>
              </a:gdLst>
              <a:ahLst/>
              <a:cxnLst>
                <a:cxn ang="0">
                  <a:pos x="T0" y="T1"/>
                </a:cxn>
                <a:cxn ang="0">
                  <a:pos x="T2" y="T3"/>
                </a:cxn>
                <a:cxn ang="0">
                  <a:pos x="T4" y="T5"/>
                </a:cxn>
                <a:cxn ang="0">
                  <a:pos x="T6" y="T7"/>
                </a:cxn>
                <a:cxn ang="0">
                  <a:pos x="T8" y="T9"/>
                </a:cxn>
                <a:cxn ang="0">
                  <a:pos x="T10" y="T11"/>
                </a:cxn>
              </a:cxnLst>
              <a:rect l="0" t="0" r="r" b="b"/>
              <a:pathLst>
                <a:path w="1684" h="5778">
                  <a:moveTo>
                    <a:pt x="235" y="3095"/>
                  </a:moveTo>
                  <a:cubicBezTo>
                    <a:pt x="39" y="3525"/>
                    <a:pt x="0" y="4035"/>
                    <a:pt x="176" y="4485"/>
                  </a:cubicBezTo>
                  <a:cubicBezTo>
                    <a:pt x="333" y="4935"/>
                    <a:pt x="666" y="5308"/>
                    <a:pt x="1116" y="5503"/>
                  </a:cubicBezTo>
                  <a:lnTo>
                    <a:pt x="1684" y="5778"/>
                  </a:lnTo>
                  <a:lnTo>
                    <a:pt x="1684" y="0"/>
                  </a:lnTo>
                  <a:lnTo>
                    <a:pt x="235" y="3095"/>
                  </a:ln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000" kern="0" dirty="0"/>
            </a:p>
          </p:txBody>
        </p:sp>
        <p:sp>
          <p:nvSpPr>
            <p:cNvPr id="119" name="Freeform 23"/>
            <p:cNvSpPr>
              <a:spLocks/>
            </p:cNvSpPr>
            <p:nvPr/>
          </p:nvSpPr>
          <p:spPr bwMode="auto">
            <a:xfrm>
              <a:off x="3440393" y="3009247"/>
              <a:ext cx="758825" cy="212725"/>
            </a:xfrm>
            <a:custGeom>
              <a:avLst/>
              <a:gdLst>
                <a:gd name="T0" fmla="*/ 3094 w 5777"/>
                <a:gd name="T1" fmla="*/ 1450 h 1626"/>
                <a:gd name="T2" fmla="*/ 3858 w 5777"/>
                <a:gd name="T3" fmla="*/ 1626 h 1626"/>
                <a:gd name="T4" fmla="*/ 4485 w 5777"/>
                <a:gd name="T5" fmla="*/ 1508 h 1626"/>
                <a:gd name="T6" fmla="*/ 5503 w 5777"/>
                <a:gd name="T7" fmla="*/ 568 h 1626"/>
                <a:gd name="T8" fmla="*/ 5777 w 5777"/>
                <a:gd name="T9" fmla="*/ 0 h 1626"/>
                <a:gd name="T10" fmla="*/ 0 w 5777"/>
                <a:gd name="T11" fmla="*/ 0 h 1626"/>
                <a:gd name="T12" fmla="*/ 3094 w 5777"/>
                <a:gd name="T13" fmla="*/ 1450 h 1626"/>
              </a:gdLst>
              <a:ahLst/>
              <a:cxnLst>
                <a:cxn ang="0">
                  <a:pos x="T0" y="T1"/>
                </a:cxn>
                <a:cxn ang="0">
                  <a:pos x="T2" y="T3"/>
                </a:cxn>
                <a:cxn ang="0">
                  <a:pos x="T4" y="T5"/>
                </a:cxn>
                <a:cxn ang="0">
                  <a:pos x="T6" y="T7"/>
                </a:cxn>
                <a:cxn ang="0">
                  <a:pos x="T8" y="T9"/>
                </a:cxn>
                <a:cxn ang="0">
                  <a:pos x="T10" y="T11"/>
                </a:cxn>
                <a:cxn ang="0">
                  <a:pos x="T12" y="T13"/>
                </a:cxn>
              </a:cxnLst>
              <a:rect l="0" t="0" r="r" b="b"/>
              <a:pathLst>
                <a:path w="5777" h="1626">
                  <a:moveTo>
                    <a:pt x="3094" y="1450"/>
                  </a:moveTo>
                  <a:cubicBezTo>
                    <a:pt x="3329" y="1567"/>
                    <a:pt x="3603" y="1626"/>
                    <a:pt x="3858" y="1626"/>
                  </a:cubicBezTo>
                  <a:cubicBezTo>
                    <a:pt x="4073" y="1626"/>
                    <a:pt x="4269" y="1587"/>
                    <a:pt x="4485" y="1508"/>
                  </a:cubicBezTo>
                  <a:cubicBezTo>
                    <a:pt x="4935" y="1352"/>
                    <a:pt x="5307" y="1019"/>
                    <a:pt x="5503" y="568"/>
                  </a:cubicBezTo>
                  <a:lnTo>
                    <a:pt x="5777" y="0"/>
                  </a:lnTo>
                  <a:lnTo>
                    <a:pt x="0" y="0"/>
                  </a:lnTo>
                  <a:lnTo>
                    <a:pt x="3094" y="1450"/>
                  </a:lnTo>
                  <a:close/>
                </a:path>
              </a:pathLst>
            </a:custGeom>
            <a:solidFill>
              <a:srgbClr val="7A7A7A"/>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000" kern="0" dirty="0"/>
            </a:p>
          </p:txBody>
        </p:sp>
        <p:sp>
          <p:nvSpPr>
            <p:cNvPr id="120" name="Freeform 24"/>
            <p:cNvSpPr>
              <a:spLocks/>
            </p:cNvSpPr>
            <p:nvPr/>
          </p:nvSpPr>
          <p:spPr bwMode="auto">
            <a:xfrm>
              <a:off x="2521230" y="1015347"/>
              <a:ext cx="1839913" cy="1836737"/>
            </a:xfrm>
            <a:custGeom>
              <a:avLst/>
              <a:gdLst>
                <a:gd name="T0" fmla="*/ 588 w 14003"/>
                <a:gd name="T1" fmla="*/ 0 h 14003"/>
                <a:gd name="T2" fmla="*/ 0 w 14003"/>
                <a:gd name="T3" fmla="*/ 588 h 14003"/>
                <a:gd name="T4" fmla="*/ 0 w 14003"/>
                <a:gd name="T5" fmla="*/ 13415 h 14003"/>
                <a:gd name="T6" fmla="*/ 588 w 14003"/>
                <a:gd name="T7" fmla="*/ 14003 h 14003"/>
                <a:gd name="T8" fmla="*/ 13415 w 14003"/>
                <a:gd name="T9" fmla="*/ 14003 h 14003"/>
                <a:gd name="T10" fmla="*/ 14003 w 14003"/>
                <a:gd name="T11" fmla="*/ 13415 h 14003"/>
                <a:gd name="T12" fmla="*/ 14003 w 14003"/>
                <a:gd name="T13" fmla="*/ 588 h 14003"/>
                <a:gd name="T14" fmla="*/ 13415 w 14003"/>
                <a:gd name="T15" fmla="*/ 0 h 14003"/>
                <a:gd name="T16" fmla="*/ 588 w 14003"/>
                <a:gd name="T17" fmla="*/ 0 h 14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03" h="14003">
                  <a:moveTo>
                    <a:pt x="588" y="0"/>
                  </a:moveTo>
                  <a:cubicBezTo>
                    <a:pt x="255" y="0"/>
                    <a:pt x="0" y="274"/>
                    <a:pt x="0" y="588"/>
                  </a:cubicBezTo>
                  <a:lnTo>
                    <a:pt x="0" y="13415"/>
                  </a:lnTo>
                  <a:cubicBezTo>
                    <a:pt x="0" y="13748"/>
                    <a:pt x="275" y="14003"/>
                    <a:pt x="588" y="14003"/>
                  </a:cubicBezTo>
                  <a:lnTo>
                    <a:pt x="13415" y="14003"/>
                  </a:lnTo>
                  <a:cubicBezTo>
                    <a:pt x="13748" y="14003"/>
                    <a:pt x="14003" y="13729"/>
                    <a:pt x="14003" y="13415"/>
                  </a:cubicBezTo>
                  <a:lnTo>
                    <a:pt x="14003" y="588"/>
                  </a:lnTo>
                  <a:cubicBezTo>
                    <a:pt x="14003" y="255"/>
                    <a:pt x="13729" y="0"/>
                    <a:pt x="13415" y="0"/>
                  </a:cubicBezTo>
                  <a:lnTo>
                    <a:pt x="588" y="0"/>
                  </a:lnTo>
                  <a:close/>
                </a:path>
              </a:pathLst>
            </a:custGeom>
            <a:solidFill>
              <a:srgbClr val="FFFFFF"/>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000" kern="0" dirty="0"/>
            </a:p>
          </p:txBody>
        </p:sp>
        <p:sp>
          <p:nvSpPr>
            <p:cNvPr id="121" name="Freeform 25"/>
            <p:cNvSpPr>
              <a:spLocks/>
            </p:cNvSpPr>
            <p:nvPr/>
          </p:nvSpPr>
          <p:spPr bwMode="auto">
            <a:xfrm>
              <a:off x="3046693" y="1288397"/>
              <a:ext cx="792163" cy="1311275"/>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rgbClr val="59B4D9"/>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sz="2000" kern="0" dirty="0"/>
            </a:p>
          </p:txBody>
        </p:sp>
      </p:grpSp>
      <p:sp>
        <p:nvSpPr>
          <p:cNvPr id="114" name="Rectangle 113"/>
          <p:cNvSpPr/>
          <p:nvPr/>
        </p:nvSpPr>
        <p:spPr>
          <a:xfrm>
            <a:off x="6188073" y="1534265"/>
            <a:ext cx="1417609" cy="418077"/>
          </a:xfrm>
          <a:prstGeom prst="rect">
            <a:avLst/>
          </a:prstGeom>
          <a:noFill/>
          <a:ln w="10795" cap="flat" cmpd="sng" algn="ctr">
            <a:noFill/>
            <a:prstDash val="solid"/>
          </a:ln>
          <a:effectLst/>
        </p:spPr>
        <p:txBody>
          <a:bodyPr rot="0" spcFirstLastPara="0" vertOverflow="overflow" horzOverflow="overflow" vert="horz" wrap="square" lIns="93247" tIns="46623" rIns="93247" bIns="46623" numCol="1" spcCol="0" rtlCol="0" fromWordArt="0" anchor="b" anchorCtr="0" forceAA="0" compatLnSpc="1">
            <a:prstTxWarp prst="textNoShape">
              <a:avLst/>
            </a:prstTxWarp>
            <a:noAutofit/>
          </a:bodyPr>
          <a:lstStyle/>
          <a:p>
            <a:pPr algn="ctr" defTabSz="932418">
              <a:defRPr/>
            </a:pPr>
            <a:r>
              <a:rPr lang="en-US" sz="2000" kern="0" dirty="0">
                <a:latin typeface="Segoe UI"/>
              </a:rPr>
              <a:t>Data Lake Analytics</a:t>
            </a:r>
          </a:p>
        </p:txBody>
      </p:sp>
      <p:sp>
        <p:nvSpPr>
          <p:cNvPr id="122" name="Rectangle 121"/>
          <p:cNvSpPr/>
          <p:nvPr/>
        </p:nvSpPr>
        <p:spPr>
          <a:xfrm>
            <a:off x="3811454" y="504385"/>
            <a:ext cx="5762275" cy="636349"/>
          </a:xfrm>
          <a:prstGeom prst="rect">
            <a:avLst/>
          </a:prstGeom>
          <a:noFill/>
          <a:ln w="10795" cap="flat" cmpd="sng" algn="ctr">
            <a:noFill/>
            <a:prstDash val="solid"/>
          </a:ln>
          <a:effectLst/>
        </p:spPr>
        <p:txBody>
          <a:bodyPr rtlCol="0" anchor="ctr"/>
          <a:lstStyle/>
          <a:p>
            <a:pPr algn="ctr" defTabSz="932418">
              <a:defRPr/>
            </a:pPr>
            <a:r>
              <a:rPr lang="en-US" sz="2448" kern="0" dirty="0">
                <a:latin typeface="Segoe UI"/>
              </a:rPr>
              <a:t>CLOUD</a:t>
            </a:r>
          </a:p>
        </p:txBody>
      </p:sp>
      <p:sp>
        <p:nvSpPr>
          <p:cNvPr id="123" name="Rectangle 122"/>
          <p:cNvSpPr/>
          <p:nvPr/>
        </p:nvSpPr>
        <p:spPr>
          <a:xfrm>
            <a:off x="9573729" y="504385"/>
            <a:ext cx="2773094" cy="636349"/>
          </a:xfrm>
          <a:prstGeom prst="rect">
            <a:avLst/>
          </a:prstGeom>
          <a:noFill/>
          <a:ln w="10795" cap="flat" cmpd="sng" algn="ctr">
            <a:noFill/>
            <a:prstDash val="solid"/>
          </a:ln>
          <a:effectLst/>
        </p:spPr>
        <p:txBody>
          <a:bodyPr rtlCol="0" anchor="ctr"/>
          <a:lstStyle/>
          <a:p>
            <a:pPr algn="ctr" defTabSz="932418">
              <a:defRPr/>
            </a:pPr>
            <a:r>
              <a:rPr lang="en-US" sz="2448" kern="0" dirty="0">
                <a:latin typeface="Segoe UI"/>
              </a:rPr>
              <a:t>CONSUMPTION</a:t>
            </a:r>
          </a:p>
        </p:txBody>
      </p:sp>
      <p:sp>
        <p:nvSpPr>
          <p:cNvPr id="124" name="Right Brace 123"/>
          <p:cNvSpPr/>
          <p:nvPr/>
        </p:nvSpPr>
        <p:spPr>
          <a:xfrm rot="16200000">
            <a:off x="6570297" y="-2142043"/>
            <a:ext cx="371256" cy="6650144"/>
          </a:xfrm>
          <a:prstGeom prst="rightBrace">
            <a:avLst>
              <a:gd name="adj1" fmla="val 37139"/>
              <a:gd name="adj2" fmla="val 49416"/>
            </a:avLst>
          </a:prstGeom>
          <a:noFill/>
          <a:ln w="9525" cap="flat" cmpd="sng" algn="ctr">
            <a:solidFill>
              <a:srgbClr val="505050"/>
            </a:solidFill>
            <a:prstDash val="solid"/>
          </a:ln>
          <a:effectLst/>
        </p:spPr>
        <p:txBody>
          <a:bodyPr rtlCol="0" anchor="ctr"/>
          <a:lstStyle/>
          <a:p>
            <a:pPr algn="ctr" defTabSz="932418">
              <a:defRPr/>
            </a:pPr>
            <a:endParaRPr lang="en-US" sz="2000" kern="0" dirty="0">
              <a:latin typeface="Segoe UI"/>
            </a:endParaRPr>
          </a:p>
        </p:txBody>
      </p:sp>
      <p:sp>
        <p:nvSpPr>
          <p:cNvPr id="125" name="Right Brace 124"/>
          <p:cNvSpPr/>
          <p:nvPr/>
        </p:nvSpPr>
        <p:spPr>
          <a:xfrm rot="16200000">
            <a:off x="11058286" y="393479"/>
            <a:ext cx="371256" cy="1525324"/>
          </a:xfrm>
          <a:prstGeom prst="rightBrace">
            <a:avLst>
              <a:gd name="adj1" fmla="val 37139"/>
              <a:gd name="adj2" fmla="val 49416"/>
            </a:avLst>
          </a:prstGeom>
          <a:noFill/>
          <a:ln w="9525" cap="flat" cmpd="sng" algn="ctr">
            <a:solidFill>
              <a:srgbClr val="505050"/>
            </a:solidFill>
            <a:prstDash val="solid"/>
          </a:ln>
          <a:effectLst/>
        </p:spPr>
        <p:txBody>
          <a:bodyPr rtlCol="0" anchor="ctr"/>
          <a:lstStyle/>
          <a:p>
            <a:pPr algn="ctr" defTabSz="932418">
              <a:defRPr/>
            </a:pPr>
            <a:endParaRPr lang="en-US" sz="2000" kern="0" dirty="0">
              <a:latin typeface="Segoe UI"/>
            </a:endParaRPr>
          </a:p>
        </p:txBody>
      </p:sp>
      <p:sp>
        <p:nvSpPr>
          <p:cNvPr id="129" name="Rectangle 128"/>
          <p:cNvSpPr/>
          <p:nvPr/>
        </p:nvSpPr>
        <p:spPr>
          <a:xfrm>
            <a:off x="882" y="-9400"/>
            <a:ext cx="12434711" cy="59118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3200" kern="0" dirty="0">
                <a:solidFill>
                  <a:schemeClr val="tx1"/>
                </a:solidFill>
                <a:latin typeface="+mj-lt"/>
              </a:rPr>
              <a:t>Real Time Analytics</a:t>
            </a:r>
          </a:p>
        </p:txBody>
      </p:sp>
      <p:sp>
        <p:nvSpPr>
          <p:cNvPr id="2" name="Arrow: Up-Down 1"/>
          <p:cNvSpPr/>
          <p:nvPr/>
        </p:nvSpPr>
        <p:spPr>
          <a:xfrm>
            <a:off x="6782369" y="2835353"/>
            <a:ext cx="356705" cy="741786"/>
          </a:xfrm>
          <a:prstGeom prst="upDownArrow">
            <a:avLst/>
          </a:prstGeom>
          <a:solidFill>
            <a:schemeClr val="tx1">
              <a:lumMod val="75000"/>
              <a:lumOff val="25000"/>
            </a:schemeClr>
          </a:solidFill>
          <a:ln w="10795" cap="flat" cmpd="sng" algn="ctr">
            <a:noFill/>
            <a:prstDash val="solid"/>
          </a:ln>
          <a:effectLst/>
        </p:spPr>
        <p:txBody>
          <a:bodyPr rtlCol="0" anchor="ctr"/>
          <a:lstStyle/>
          <a:p>
            <a:pPr algn="ctr" defTabSz="932418"/>
            <a:endParaRPr lang="en-US" sz="2000" kern="0">
              <a:solidFill>
                <a:schemeClr val="tx1"/>
              </a:solidFill>
              <a:latin typeface="Segoe UI"/>
            </a:endParaRPr>
          </a:p>
        </p:txBody>
      </p:sp>
      <p:sp>
        <p:nvSpPr>
          <p:cNvPr id="130" name="Arrow: Up-Down 129"/>
          <p:cNvSpPr/>
          <p:nvPr/>
        </p:nvSpPr>
        <p:spPr>
          <a:xfrm>
            <a:off x="6805387" y="4986243"/>
            <a:ext cx="356705" cy="741786"/>
          </a:xfrm>
          <a:prstGeom prst="upDownArrow">
            <a:avLst/>
          </a:prstGeom>
          <a:solidFill>
            <a:schemeClr val="tx1">
              <a:lumMod val="75000"/>
              <a:lumOff val="25000"/>
            </a:schemeClr>
          </a:solidFill>
          <a:ln w="10795" cap="flat" cmpd="sng" algn="ctr">
            <a:noFill/>
            <a:prstDash val="solid"/>
          </a:ln>
          <a:effectLst/>
        </p:spPr>
        <p:txBody>
          <a:bodyPr rtlCol="0" anchor="ctr"/>
          <a:lstStyle/>
          <a:p>
            <a:pPr algn="ctr" defTabSz="932418"/>
            <a:endParaRPr lang="en-US" sz="2000" kern="0">
              <a:solidFill>
                <a:schemeClr val="tx1"/>
              </a:solidFill>
              <a:latin typeface="Segoe UI"/>
            </a:endParaRPr>
          </a:p>
        </p:txBody>
      </p:sp>
    </p:spTree>
    <p:extLst>
      <p:ext uri="{BB962C8B-B14F-4D97-AF65-F5344CB8AC3E}">
        <p14:creationId xmlns:p14="http://schemas.microsoft.com/office/powerpoint/2010/main" val="345794508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7" name="TextBox 26"/>
          <p:cNvSpPr txBox="1"/>
          <p:nvPr/>
        </p:nvSpPr>
        <p:spPr>
          <a:xfrm>
            <a:off x="9418572" y="3610336"/>
            <a:ext cx="2743200" cy="3384188"/>
          </a:xfrm>
          <a:prstGeom prst="rect">
            <a:avLst/>
          </a:prstGeom>
          <a:solidFill>
            <a:schemeClr val="bg1">
              <a:lumMod val="85000"/>
            </a:schemeClr>
          </a:solidFill>
          <a:ln>
            <a:noFill/>
          </a:ln>
        </p:spPr>
        <p:txBody>
          <a:bodyPr wrap="square" lIns="0" tIns="91440" rIns="0" bIns="0" rtlCol="0" anchor="t">
            <a:noAutofit/>
          </a:bodyPr>
          <a:lstStyle/>
          <a:p>
            <a:pPr marL="0" marR="0" lvl="0" indent="0" algn="ctr" defTabSz="93243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Segoe UI"/>
                <a:ea typeface="+mn-ea"/>
                <a:cs typeface="+mn-cs"/>
              </a:rPr>
              <a:t>Data Lake SDKs</a:t>
            </a:r>
          </a:p>
          <a:p>
            <a:pPr marL="0" marR="0" lvl="0" indent="0" algn="ctr" defTabSz="93243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Segoe UI"/>
                <a:ea typeface="+mn-ea"/>
                <a:cs typeface="+mn-cs"/>
              </a:rPr>
              <a:t>Data Lake Tools for VS</a:t>
            </a:r>
          </a:p>
          <a:p>
            <a:pPr marL="0" marR="0" lvl="0" indent="0" algn="ctr" defTabSz="93243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Segoe UI"/>
                <a:ea typeface="+mn-ea"/>
                <a:cs typeface="+mn-cs"/>
              </a:rPr>
              <a:t>Azure CLI</a:t>
            </a:r>
          </a:p>
          <a:p>
            <a:pPr marL="0" marR="0" lvl="0" indent="0" algn="ctr" defTabSz="93243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Segoe UI"/>
                <a:ea typeface="+mn-ea"/>
                <a:cs typeface="+mn-cs"/>
              </a:rPr>
              <a:t>Azure PowerShell</a:t>
            </a:r>
          </a:p>
          <a:p>
            <a:pPr marL="0" marR="0" lvl="0" indent="0" algn="ctr" defTabSz="93243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Segoe UI"/>
                <a:ea typeface="+mn-ea"/>
                <a:cs typeface="+mn-cs"/>
              </a:rPr>
              <a:t>Azure Portal</a:t>
            </a:r>
          </a:p>
        </p:txBody>
      </p:sp>
      <p:sp>
        <p:nvSpPr>
          <p:cNvPr id="106" name="TextBox 105"/>
          <p:cNvSpPr txBox="1"/>
          <p:nvPr/>
        </p:nvSpPr>
        <p:spPr>
          <a:xfrm>
            <a:off x="6279688" y="3606710"/>
            <a:ext cx="2743200" cy="3387814"/>
          </a:xfrm>
          <a:prstGeom prst="rect">
            <a:avLst/>
          </a:prstGeom>
          <a:solidFill>
            <a:schemeClr val="bg1">
              <a:lumMod val="85000"/>
            </a:schemeClr>
          </a:solidFill>
        </p:spPr>
        <p:txBody>
          <a:bodyPr wrap="square" lIns="0" tIns="91440" rIns="0" bIns="0" rtlCol="0" anchor="t">
            <a:noAutofit/>
          </a:bodyPr>
          <a:lstStyle/>
          <a:p>
            <a:pPr marL="0" marR="0" lvl="0" indent="0" algn="ctr" defTabSz="93243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Segoe UI"/>
                <a:ea typeface="+mn-ea"/>
                <a:cs typeface="+mn-cs"/>
              </a:rPr>
              <a:t>Azure Data Factory</a:t>
            </a:r>
          </a:p>
          <a:p>
            <a:pPr marL="0" marR="0" lvl="0" indent="0" algn="ctr" defTabSz="93243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Segoe UI"/>
                <a:ea typeface="+mn-ea"/>
                <a:cs typeface="+mn-cs"/>
              </a:rPr>
              <a:t>ADLS copy service</a:t>
            </a:r>
          </a:p>
          <a:p>
            <a:pPr marL="0" marR="0" lvl="0" indent="0" algn="ctr" defTabSz="93243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prstClr val="black"/>
                </a:solidFill>
                <a:effectLst/>
                <a:uLnTx/>
                <a:uFillTx/>
                <a:latin typeface="Segoe UI"/>
                <a:ea typeface="+mn-ea"/>
                <a:cs typeface="+mn-cs"/>
              </a:rPr>
              <a:t>DistCp</a:t>
            </a:r>
            <a:endParaRPr kumimoji="0" lang="en-US" sz="1600" b="0" i="0" u="none" strike="noStrike" kern="0" cap="none" spc="0" normalizeH="0" baseline="0" noProof="0" dirty="0">
              <a:ln>
                <a:noFill/>
              </a:ln>
              <a:solidFill>
                <a:prstClr val="black"/>
              </a:solidFill>
              <a:effectLst/>
              <a:uLnTx/>
              <a:uFillTx/>
              <a:latin typeface="Segoe UI"/>
              <a:ea typeface="+mn-ea"/>
              <a:cs typeface="+mn-cs"/>
            </a:endParaRPr>
          </a:p>
        </p:txBody>
      </p:sp>
      <p:sp>
        <p:nvSpPr>
          <p:cNvPr id="105" name="TextBox 104"/>
          <p:cNvSpPr txBox="1"/>
          <p:nvPr/>
        </p:nvSpPr>
        <p:spPr>
          <a:xfrm>
            <a:off x="3277195" y="3610333"/>
            <a:ext cx="2743200" cy="3384191"/>
          </a:xfrm>
          <a:prstGeom prst="rect">
            <a:avLst/>
          </a:prstGeom>
          <a:solidFill>
            <a:schemeClr val="bg1">
              <a:lumMod val="85000"/>
            </a:schemeClr>
          </a:solidFill>
        </p:spPr>
        <p:txBody>
          <a:bodyPr wrap="square" lIns="0" tIns="91440" rIns="0" bIns="0" rtlCol="0" anchor="t">
            <a:noAutofit/>
          </a:bodyPr>
          <a:lstStyle/>
          <a:p>
            <a:pPr marL="0" marR="0" lvl="0" indent="0" algn="ctr" defTabSz="932437"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Segoe UI"/>
                <a:ea typeface="+mn-ea"/>
                <a:cs typeface="+mn-cs"/>
              </a:rPr>
              <a:t>Azure Stream Analytics</a:t>
            </a:r>
          </a:p>
        </p:txBody>
      </p:sp>
      <p:sp>
        <p:nvSpPr>
          <p:cNvPr id="23" name="TextBox 22"/>
          <p:cNvSpPr txBox="1"/>
          <p:nvPr/>
        </p:nvSpPr>
        <p:spPr>
          <a:xfrm>
            <a:off x="274702" y="3610333"/>
            <a:ext cx="2743200" cy="3384192"/>
          </a:xfrm>
          <a:prstGeom prst="rect">
            <a:avLst/>
          </a:prstGeom>
          <a:solidFill>
            <a:schemeClr val="bg1">
              <a:lumMod val="85000"/>
            </a:schemeClr>
          </a:solidFill>
        </p:spPr>
        <p:txBody>
          <a:bodyPr wrap="square" lIns="0" tIns="91440" rIns="0" bIns="0" rtlCol="0" anchor="t">
            <a:noAutofit/>
          </a:bodyPr>
          <a:lstStyle>
            <a:defPPr>
              <a:defRPr lang="en-US"/>
            </a:defPPr>
            <a:lvl1pPr algn="ctr" defTabSz="932437">
              <a:spcAft>
                <a:spcPts val="600"/>
              </a:spcAft>
              <a:defRPr sz="1600" kern="0"/>
            </a:lvl1pPr>
          </a:lstStyle>
          <a:p>
            <a:pPr marL="0" marR="0" lvl="0" indent="0" algn="ctr" defTabSz="932437"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Segoe UI"/>
                <a:ea typeface="+mn-ea"/>
                <a:cs typeface="+mn-cs"/>
              </a:rPr>
              <a:t>Azure Data Factory</a:t>
            </a:r>
          </a:p>
        </p:txBody>
      </p:sp>
      <p:sp>
        <p:nvSpPr>
          <p:cNvPr id="2" name="Title 1"/>
          <p:cNvSpPr>
            <a:spLocks noGrp="1"/>
          </p:cNvSpPr>
          <p:nvPr>
            <p:ph type="title"/>
          </p:nvPr>
        </p:nvSpPr>
        <p:spPr/>
        <p:txBody>
          <a:bodyPr/>
          <a:lstStyle/>
          <a:p>
            <a:pPr algn="ctr"/>
            <a:r>
              <a:rPr lang="en-US" dirty="0"/>
              <a:t>Ingest data from a variety of sources</a:t>
            </a:r>
          </a:p>
        </p:txBody>
      </p:sp>
      <p:sp>
        <p:nvSpPr>
          <p:cNvPr id="31" name="TextBox 30"/>
          <p:cNvSpPr txBox="1"/>
          <p:nvPr/>
        </p:nvSpPr>
        <p:spPr>
          <a:xfrm>
            <a:off x="5534559" y="2535046"/>
            <a:ext cx="1367357" cy="230704"/>
          </a:xfrm>
          <a:prstGeom prst="rect">
            <a:avLst/>
          </a:prstGeom>
          <a:noFill/>
        </p:spPr>
        <p:txBody>
          <a:bodyPr wrap="square" lIns="0" tIns="0" rIns="0" bIns="0" rtlCol="0">
            <a:spAutoFit/>
          </a:bodyPr>
          <a:lstStyle/>
          <a:p>
            <a:pPr marL="0" marR="0" lvl="0" indent="0" algn="l" defTabSz="932509" rtl="0" eaLnBrk="1" fontAlgn="auto" latinLnBrk="0" hangingPunct="1">
              <a:lnSpc>
                <a:spcPct val="100000"/>
              </a:lnSpc>
              <a:spcBef>
                <a:spcPts val="0"/>
              </a:spcBef>
              <a:spcAft>
                <a:spcPts val="612"/>
              </a:spcAft>
              <a:buClrTx/>
              <a:buSzTx/>
              <a:buFontTx/>
              <a:buNone/>
              <a:tabLst/>
              <a:defRPr/>
            </a:pPr>
            <a:r>
              <a:rPr kumimoji="0" lang="en-US" sz="1499" b="0" i="0" u="none" strike="noStrike" kern="0" cap="none" spc="0" normalizeH="0" baseline="0" noProof="0" dirty="0">
                <a:ln>
                  <a:noFill/>
                </a:ln>
                <a:solidFill>
                  <a:prstClr val="black"/>
                </a:solidFill>
                <a:effectLst/>
                <a:uLnTx/>
                <a:uFillTx/>
                <a:latin typeface="Segoe UI"/>
                <a:ea typeface="+mn-ea"/>
                <a:cs typeface="+mn-cs"/>
              </a:rPr>
              <a:t>Azure Data Lake</a:t>
            </a:r>
          </a:p>
        </p:txBody>
      </p:sp>
      <p:sp>
        <p:nvSpPr>
          <p:cNvPr id="49" name="Rectangle 48"/>
          <p:cNvSpPr/>
          <p:nvPr/>
        </p:nvSpPr>
        <p:spPr>
          <a:xfrm>
            <a:off x="1770840" y="6143629"/>
            <a:ext cx="1009788" cy="184666"/>
          </a:xfrm>
          <a:prstGeom prst="rect">
            <a:avLst/>
          </a:prstGeom>
        </p:spPr>
        <p:txBody>
          <a:bodyPr wrap="square" lIns="0" tIns="0" rIns="0" bIns="0">
            <a:spAutoFit/>
          </a:bodyPr>
          <a:lstStyle/>
          <a:p>
            <a:pPr marL="0" marR="0" lvl="0" indent="0" algn="ctr" defTabSz="93216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Segoe UI"/>
                <a:ea typeface="Segoe UI" pitchFamily="34" charset="0"/>
                <a:cs typeface="Segoe UI" pitchFamily="34" charset="0"/>
              </a:rPr>
              <a:t>Azure tables</a:t>
            </a:r>
          </a:p>
        </p:txBody>
      </p:sp>
      <p:sp>
        <p:nvSpPr>
          <p:cNvPr id="91" name="Rectangle 90"/>
          <p:cNvSpPr/>
          <p:nvPr/>
        </p:nvSpPr>
        <p:spPr>
          <a:xfrm>
            <a:off x="457580" y="6143629"/>
            <a:ext cx="1231044" cy="553998"/>
          </a:xfrm>
          <a:prstGeom prst="rect">
            <a:avLst/>
          </a:prstGeom>
        </p:spPr>
        <p:txBody>
          <a:bodyPr wrap="square" lIns="0" tIns="0" rIns="0" bIns="0">
            <a:spAutoFit/>
          </a:bodyPr>
          <a:lstStyle/>
          <a:p>
            <a:pPr marL="0" marR="0" lvl="0" indent="0" algn="ctr" defTabSz="93216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Segoe UI"/>
                <a:ea typeface="Segoe UI" pitchFamily="34" charset="0"/>
                <a:cs typeface="Segoe UI" pitchFamily="34" charset="0"/>
              </a:rPr>
              <a:t>Azure SQL DB</a:t>
            </a:r>
          </a:p>
          <a:p>
            <a:pPr marL="0" marR="0" lvl="0" indent="0" algn="ctr" defTabSz="93216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Segoe UI"/>
                <a:ea typeface="Segoe UI" pitchFamily="34" charset="0"/>
                <a:cs typeface="Segoe UI" pitchFamily="34" charset="0"/>
              </a:rPr>
              <a:t>Azure SQL DW</a:t>
            </a:r>
          </a:p>
          <a:p>
            <a:pPr marL="0" marR="0" lvl="0" indent="0" algn="ctr" defTabSz="93216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Segoe UI"/>
                <a:ea typeface="Segoe UI" pitchFamily="34" charset="0"/>
                <a:cs typeface="Segoe UI" pitchFamily="34" charset="0"/>
              </a:rPr>
              <a:t>On-Prem DB</a:t>
            </a:r>
          </a:p>
        </p:txBody>
      </p:sp>
      <p:sp>
        <p:nvSpPr>
          <p:cNvPr id="101" name="Freeform 21"/>
          <p:cNvSpPr>
            <a:spLocks noChangeAspect="1" noEditPoints="1"/>
          </p:cNvSpPr>
          <p:nvPr/>
        </p:nvSpPr>
        <p:spPr bwMode="auto">
          <a:xfrm>
            <a:off x="1880288" y="5329667"/>
            <a:ext cx="797210" cy="685800"/>
          </a:xfrm>
          <a:custGeom>
            <a:avLst/>
            <a:gdLst>
              <a:gd name="T0" fmla="*/ 241 w 322"/>
              <a:gd name="T1" fmla="*/ 0 h 277"/>
              <a:gd name="T2" fmla="*/ 80 w 322"/>
              <a:gd name="T3" fmla="*/ 0 h 277"/>
              <a:gd name="T4" fmla="*/ 0 w 322"/>
              <a:gd name="T5" fmla="*/ 139 h 277"/>
              <a:gd name="T6" fmla="*/ 80 w 322"/>
              <a:gd name="T7" fmla="*/ 277 h 277"/>
              <a:gd name="T8" fmla="*/ 241 w 322"/>
              <a:gd name="T9" fmla="*/ 277 h 277"/>
              <a:gd name="T10" fmla="*/ 322 w 322"/>
              <a:gd name="T11" fmla="*/ 139 h 277"/>
              <a:gd name="T12" fmla="*/ 241 w 322"/>
              <a:gd name="T13" fmla="*/ 0 h 277"/>
              <a:gd name="T14" fmla="*/ 153 w 322"/>
              <a:gd name="T15" fmla="*/ 73 h 277"/>
              <a:gd name="T16" fmla="*/ 190 w 322"/>
              <a:gd name="T17" fmla="*/ 73 h 277"/>
              <a:gd name="T18" fmla="*/ 190 w 322"/>
              <a:gd name="T19" fmla="*/ 110 h 277"/>
              <a:gd name="T20" fmla="*/ 153 w 322"/>
              <a:gd name="T21" fmla="*/ 110 h 277"/>
              <a:gd name="T22" fmla="*/ 153 w 322"/>
              <a:gd name="T23" fmla="*/ 73 h 277"/>
              <a:gd name="T24" fmla="*/ 153 w 322"/>
              <a:gd name="T25" fmla="*/ 119 h 277"/>
              <a:gd name="T26" fmla="*/ 190 w 322"/>
              <a:gd name="T27" fmla="*/ 119 h 277"/>
              <a:gd name="T28" fmla="*/ 190 w 322"/>
              <a:gd name="T29" fmla="*/ 156 h 277"/>
              <a:gd name="T30" fmla="*/ 153 w 322"/>
              <a:gd name="T31" fmla="*/ 156 h 277"/>
              <a:gd name="T32" fmla="*/ 153 w 322"/>
              <a:gd name="T33" fmla="*/ 119 h 277"/>
              <a:gd name="T34" fmla="*/ 153 w 322"/>
              <a:gd name="T35" fmla="*/ 166 h 277"/>
              <a:gd name="T36" fmla="*/ 190 w 322"/>
              <a:gd name="T37" fmla="*/ 166 h 277"/>
              <a:gd name="T38" fmla="*/ 190 w 322"/>
              <a:gd name="T39" fmla="*/ 203 h 277"/>
              <a:gd name="T40" fmla="*/ 153 w 322"/>
              <a:gd name="T41" fmla="*/ 203 h 277"/>
              <a:gd name="T42" fmla="*/ 153 w 322"/>
              <a:gd name="T43" fmla="*/ 166 h 277"/>
              <a:gd name="T44" fmla="*/ 106 w 322"/>
              <a:gd name="T45" fmla="*/ 73 h 277"/>
              <a:gd name="T46" fmla="*/ 143 w 322"/>
              <a:gd name="T47" fmla="*/ 73 h 277"/>
              <a:gd name="T48" fmla="*/ 143 w 322"/>
              <a:gd name="T49" fmla="*/ 110 h 277"/>
              <a:gd name="T50" fmla="*/ 106 w 322"/>
              <a:gd name="T51" fmla="*/ 110 h 277"/>
              <a:gd name="T52" fmla="*/ 106 w 322"/>
              <a:gd name="T53" fmla="*/ 73 h 277"/>
              <a:gd name="T54" fmla="*/ 106 w 322"/>
              <a:gd name="T55" fmla="*/ 119 h 277"/>
              <a:gd name="T56" fmla="*/ 143 w 322"/>
              <a:gd name="T57" fmla="*/ 119 h 277"/>
              <a:gd name="T58" fmla="*/ 143 w 322"/>
              <a:gd name="T59" fmla="*/ 156 h 277"/>
              <a:gd name="T60" fmla="*/ 106 w 322"/>
              <a:gd name="T61" fmla="*/ 156 h 277"/>
              <a:gd name="T62" fmla="*/ 106 w 322"/>
              <a:gd name="T63" fmla="*/ 119 h 277"/>
              <a:gd name="T64" fmla="*/ 106 w 322"/>
              <a:gd name="T65" fmla="*/ 166 h 277"/>
              <a:gd name="T66" fmla="*/ 143 w 322"/>
              <a:gd name="T67" fmla="*/ 166 h 277"/>
              <a:gd name="T68" fmla="*/ 143 w 322"/>
              <a:gd name="T69" fmla="*/ 203 h 277"/>
              <a:gd name="T70" fmla="*/ 106 w 322"/>
              <a:gd name="T71" fmla="*/ 203 h 277"/>
              <a:gd name="T72" fmla="*/ 106 w 322"/>
              <a:gd name="T73" fmla="*/ 166 h 277"/>
              <a:gd name="T74" fmla="*/ 236 w 322"/>
              <a:gd name="T75" fmla="*/ 223 h 277"/>
              <a:gd name="T76" fmla="*/ 84 w 322"/>
              <a:gd name="T77" fmla="*/ 223 h 277"/>
              <a:gd name="T78" fmla="*/ 84 w 322"/>
              <a:gd name="T79" fmla="*/ 72 h 277"/>
              <a:gd name="T80" fmla="*/ 95 w 322"/>
              <a:gd name="T81" fmla="*/ 72 h 277"/>
              <a:gd name="T82" fmla="*/ 95 w 322"/>
              <a:gd name="T83" fmla="*/ 213 h 277"/>
              <a:gd name="T84" fmla="*/ 95 w 322"/>
              <a:gd name="T85" fmla="*/ 213 h 277"/>
              <a:gd name="T86" fmla="*/ 95 w 322"/>
              <a:gd name="T87" fmla="*/ 213 h 277"/>
              <a:gd name="T88" fmla="*/ 236 w 322"/>
              <a:gd name="T89" fmla="*/ 213 h 277"/>
              <a:gd name="T90" fmla="*/ 236 w 322"/>
              <a:gd name="T91" fmla="*/ 223 h 277"/>
              <a:gd name="T92" fmla="*/ 237 w 322"/>
              <a:gd name="T93" fmla="*/ 203 h 277"/>
              <a:gd name="T94" fmla="*/ 200 w 322"/>
              <a:gd name="T95" fmla="*/ 203 h 277"/>
              <a:gd name="T96" fmla="*/ 200 w 322"/>
              <a:gd name="T97" fmla="*/ 166 h 277"/>
              <a:gd name="T98" fmla="*/ 237 w 322"/>
              <a:gd name="T99" fmla="*/ 166 h 277"/>
              <a:gd name="T100" fmla="*/ 237 w 322"/>
              <a:gd name="T101" fmla="*/ 203 h 277"/>
              <a:gd name="T102" fmla="*/ 237 w 322"/>
              <a:gd name="T103" fmla="*/ 156 h 277"/>
              <a:gd name="T104" fmla="*/ 200 w 322"/>
              <a:gd name="T105" fmla="*/ 156 h 277"/>
              <a:gd name="T106" fmla="*/ 200 w 322"/>
              <a:gd name="T107" fmla="*/ 119 h 277"/>
              <a:gd name="T108" fmla="*/ 237 w 322"/>
              <a:gd name="T109" fmla="*/ 119 h 277"/>
              <a:gd name="T110" fmla="*/ 237 w 322"/>
              <a:gd name="T111" fmla="*/ 156 h 277"/>
              <a:gd name="T112" fmla="*/ 237 w 322"/>
              <a:gd name="T113" fmla="*/ 110 h 277"/>
              <a:gd name="T114" fmla="*/ 200 w 322"/>
              <a:gd name="T115" fmla="*/ 110 h 277"/>
              <a:gd name="T116" fmla="*/ 200 w 322"/>
              <a:gd name="T117" fmla="*/ 73 h 277"/>
              <a:gd name="T118" fmla="*/ 237 w 322"/>
              <a:gd name="T119" fmla="*/ 73 h 277"/>
              <a:gd name="T120" fmla="*/ 237 w 322"/>
              <a:gd name="T121" fmla="*/ 11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2" h="277">
                <a:moveTo>
                  <a:pt x="241" y="0"/>
                </a:moveTo>
                <a:lnTo>
                  <a:pt x="80" y="0"/>
                </a:lnTo>
                <a:lnTo>
                  <a:pt x="0" y="139"/>
                </a:lnTo>
                <a:lnTo>
                  <a:pt x="80" y="277"/>
                </a:lnTo>
                <a:lnTo>
                  <a:pt x="241" y="277"/>
                </a:lnTo>
                <a:lnTo>
                  <a:pt x="322" y="139"/>
                </a:lnTo>
                <a:lnTo>
                  <a:pt x="241" y="0"/>
                </a:lnTo>
                <a:close/>
                <a:moveTo>
                  <a:pt x="153" y="73"/>
                </a:moveTo>
                <a:lnTo>
                  <a:pt x="190" y="73"/>
                </a:lnTo>
                <a:lnTo>
                  <a:pt x="190" y="110"/>
                </a:lnTo>
                <a:lnTo>
                  <a:pt x="153" y="110"/>
                </a:lnTo>
                <a:lnTo>
                  <a:pt x="153" y="73"/>
                </a:lnTo>
                <a:close/>
                <a:moveTo>
                  <a:pt x="153" y="119"/>
                </a:moveTo>
                <a:lnTo>
                  <a:pt x="190" y="119"/>
                </a:lnTo>
                <a:lnTo>
                  <a:pt x="190" y="156"/>
                </a:lnTo>
                <a:lnTo>
                  <a:pt x="153" y="156"/>
                </a:lnTo>
                <a:lnTo>
                  <a:pt x="153" y="119"/>
                </a:lnTo>
                <a:close/>
                <a:moveTo>
                  <a:pt x="153" y="166"/>
                </a:moveTo>
                <a:lnTo>
                  <a:pt x="190" y="166"/>
                </a:lnTo>
                <a:lnTo>
                  <a:pt x="190" y="203"/>
                </a:lnTo>
                <a:lnTo>
                  <a:pt x="153" y="203"/>
                </a:lnTo>
                <a:lnTo>
                  <a:pt x="153" y="166"/>
                </a:lnTo>
                <a:close/>
                <a:moveTo>
                  <a:pt x="106" y="73"/>
                </a:moveTo>
                <a:lnTo>
                  <a:pt x="143" y="73"/>
                </a:lnTo>
                <a:lnTo>
                  <a:pt x="143" y="110"/>
                </a:lnTo>
                <a:lnTo>
                  <a:pt x="106" y="110"/>
                </a:lnTo>
                <a:lnTo>
                  <a:pt x="106" y="73"/>
                </a:lnTo>
                <a:close/>
                <a:moveTo>
                  <a:pt x="106" y="119"/>
                </a:moveTo>
                <a:lnTo>
                  <a:pt x="143" y="119"/>
                </a:lnTo>
                <a:lnTo>
                  <a:pt x="143" y="156"/>
                </a:lnTo>
                <a:lnTo>
                  <a:pt x="106" y="156"/>
                </a:lnTo>
                <a:lnTo>
                  <a:pt x="106" y="119"/>
                </a:lnTo>
                <a:close/>
                <a:moveTo>
                  <a:pt x="106" y="166"/>
                </a:moveTo>
                <a:lnTo>
                  <a:pt x="143" y="166"/>
                </a:lnTo>
                <a:lnTo>
                  <a:pt x="143" y="203"/>
                </a:lnTo>
                <a:lnTo>
                  <a:pt x="106" y="203"/>
                </a:lnTo>
                <a:lnTo>
                  <a:pt x="106" y="166"/>
                </a:lnTo>
                <a:close/>
                <a:moveTo>
                  <a:pt x="236" y="223"/>
                </a:moveTo>
                <a:lnTo>
                  <a:pt x="84" y="223"/>
                </a:lnTo>
                <a:lnTo>
                  <a:pt x="84" y="72"/>
                </a:lnTo>
                <a:lnTo>
                  <a:pt x="95" y="72"/>
                </a:lnTo>
                <a:lnTo>
                  <a:pt x="95" y="213"/>
                </a:lnTo>
                <a:lnTo>
                  <a:pt x="95" y="213"/>
                </a:lnTo>
                <a:lnTo>
                  <a:pt x="95" y="213"/>
                </a:lnTo>
                <a:lnTo>
                  <a:pt x="236" y="213"/>
                </a:lnTo>
                <a:lnTo>
                  <a:pt x="236" y="223"/>
                </a:lnTo>
                <a:close/>
                <a:moveTo>
                  <a:pt x="237" y="203"/>
                </a:moveTo>
                <a:lnTo>
                  <a:pt x="200" y="203"/>
                </a:lnTo>
                <a:lnTo>
                  <a:pt x="200" y="166"/>
                </a:lnTo>
                <a:lnTo>
                  <a:pt x="237" y="166"/>
                </a:lnTo>
                <a:lnTo>
                  <a:pt x="237" y="203"/>
                </a:lnTo>
                <a:close/>
                <a:moveTo>
                  <a:pt x="237" y="156"/>
                </a:moveTo>
                <a:lnTo>
                  <a:pt x="200" y="156"/>
                </a:lnTo>
                <a:lnTo>
                  <a:pt x="200" y="119"/>
                </a:lnTo>
                <a:lnTo>
                  <a:pt x="237" y="119"/>
                </a:lnTo>
                <a:lnTo>
                  <a:pt x="237" y="156"/>
                </a:lnTo>
                <a:close/>
                <a:moveTo>
                  <a:pt x="237" y="110"/>
                </a:moveTo>
                <a:lnTo>
                  <a:pt x="200" y="110"/>
                </a:lnTo>
                <a:lnTo>
                  <a:pt x="200" y="73"/>
                </a:lnTo>
                <a:lnTo>
                  <a:pt x="237" y="73"/>
                </a:lnTo>
                <a:lnTo>
                  <a:pt x="237" y="11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 name="Isosceles Triangle 4"/>
          <p:cNvSpPr/>
          <p:nvPr/>
        </p:nvSpPr>
        <p:spPr>
          <a:xfrm>
            <a:off x="274702" y="2844050"/>
            <a:ext cx="2743200" cy="766283"/>
          </a:xfrm>
          <a:prstGeom prst="triangle">
            <a:avLst/>
          </a:prstGeom>
          <a:solidFill>
            <a:schemeClr val="bg1">
              <a:lumMod val="75000"/>
            </a:schemeClr>
          </a:solidFill>
        </p:spPr>
        <p:txBody>
          <a:bodyPr wrap="square" lIns="0" tIns="0" rIns="0" bIns="0" rtlCol="0" anchor="ctr">
            <a:noAutofit/>
          </a:bodyPr>
          <a:lstStyle/>
          <a:p>
            <a:pPr marL="0" marR="0" lvl="0" indent="0" algn="ctr" defTabSz="932437"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prstClr val="white"/>
              </a:solidFill>
              <a:effectLst/>
              <a:uLnTx/>
              <a:uFillTx/>
              <a:latin typeface="Segoe UI"/>
              <a:ea typeface="+mn-ea"/>
              <a:cs typeface="+mn-cs"/>
            </a:endParaRPr>
          </a:p>
        </p:txBody>
      </p:sp>
      <p:sp>
        <p:nvSpPr>
          <p:cNvPr id="39" name="Isosceles Triangle 38"/>
          <p:cNvSpPr/>
          <p:nvPr/>
        </p:nvSpPr>
        <p:spPr>
          <a:xfrm>
            <a:off x="274702" y="3163259"/>
            <a:ext cx="2743200" cy="452987"/>
          </a:xfrm>
          <a:prstGeom prst="triangle">
            <a:avLst>
              <a:gd name="adj" fmla="val 51329"/>
            </a:avLst>
          </a:prstGeom>
          <a:solidFill>
            <a:schemeClr val="bg1">
              <a:lumMod val="85000"/>
            </a:schemeClr>
          </a:solidFill>
        </p:spPr>
        <p:txBody>
          <a:bodyPr wrap="square" lIns="0" tIns="0" rIns="0" bIns="0" rtlCol="0" anchor="ctr">
            <a:noAutofit/>
          </a:bodyPr>
          <a:lstStyle/>
          <a:p>
            <a:pPr marL="0" marR="0" lvl="0" indent="0" algn="ctr" defTabSz="932437"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prstClr val="white"/>
              </a:solidFill>
              <a:effectLst/>
              <a:uLnTx/>
              <a:uFillTx/>
              <a:latin typeface="Segoe UI"/>
              <a:ea typeface="+mn-ea"/>
              <a:cs typeface="+mn-cs"/>
            </a:endParaRPr>
          </a:p>
        </p:txBody>
      </p:sp>
      <p:sp>
        <p:nvSpPr>
          <p:cNvPr id="100" name="Freeform 26"/>
          <p:cNvSpPr>
            <a:spLocks noChangeAspect="1"/>
          </p:cNvSpPr>
          <p:nvPr/>
        </p:nvSpPr>
        <p:spPr bwMode="auto">
          <a:xfrm>
            <a:off x="4293147" y="5329668"/>
            <a:ext cx="655347" cy="685800"/>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2" name="Isosceles Triangle 41"/>
          <p:cNvSpPr/>
          <p:nvPr/>
        </p:nvSpPr>
        <p:spPr>
          <a:xfrm>
            <a:off x="3267761" y="2857189"/>
            <a:ext cx="2743200" cy="766283"/>
          </a:xfrm>
          <a:prstGeom prst="triangle">
            <a:avLst/>
          </a:prstGeom>
          <a:solidFill>
            <a:schemeClr val="bg1">
              <a:lumMod val="75000"/>
            </a:schemeClr>
          </a:solidFill>
        </p:spPr>
        <p:txBody>
          <a:bodyPr wrap="square" lIns="0" tIns="0" rIns="0" bIns="0" rtlCol="0" anchor="ctr">
            <a:noAutofit/>
          </a:bodyPr>
          <a:lstStyle/>
          <a:p>
            <a:pPr marL="0" marR="0" lvl="0" indent="0" algn="ctr" defTabSz="932437"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prstClr val="white"/>
              </a:solidFill>
              <a:effectLst/>
              <a:uLnTx/>
              <a:uFillTx/>
              <a:latin typeface="Segoe UI"/>
              <a:ea typeface="+mn-ea"/>
              <a:cs typeface="+mn-cs"/>
            </a:endParaRPr>
          </a:p>
        </p:txBody>
      </p:sp>
      <p:sp>
        <p:nvSpPr>
          <p:cNvPr id="40" name="Isosceles Triangle 39"/>
          <p:cNvSpPr/>
          <p:nvPr/>
        </p:nvSpPr>
        <p:spPr>
          <a:xfrm>
            <a:off x="3265129" y="3174532"/>
            <a:ext cx="2743200" cy="452987"/>
          </a:xfrm>
          <a:prstGeom prst="triangle">
            <a:avLst>
              <a:gd name="adj" fmla="val 51329"/>
            </a:avLst>
          </a:prstGeom>
          <a:solidFill>
            <a:schemeClr val="bg1">
              <a:lumMod val="85000"/>
            </a:schemeClr>
          </a:solidFill>
        </p:spPr>
        <p:txBody>
          <a:bodyPr wrap="square" lIns="0" tIns="0" rIns="0" bIns="0" rtlCol="0" anchor="ctr">
            <a:noAutofit/>
          </a:bodyPr>
          <a:lstStyle/>
          <a:p>
            <a:pPr marL="0" marR="0" lvl="0" indent="0" algn="ctr" defTabSz="932437"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prstClr val="white"/>
              </a:solidFill>
              <a:effectLst/>
              <a:uLnTx/>
              <a:uFillTx/>
              <a:latin typeface="Segoe UI"/>
              <a:ea typeface="+mn-ea"/>
              <a:cs typeface="+mn-cs"/>
            </a:endParaRPr>
          </a:p>
        </p:txBody>
      </p:sp>
      <p:sp>
        <p:nvSpPr>
          <p:cNvPr id="96" name="Freeform 13"/>
          <p:cNvSpPr>
            <a:spLocks noEditPoints="1"/>
          </p:cNvSpPr>
          <p:nvPr/>
        </p:nvSpPr>
        <p:spPr bwMode="auto">
          <a:xfrm>
            <a:off x="7282871" y="5326042"/>
            <a:ext cx="779319" cy="685800"/>
          </a:xfrm>
          <a:custGeom>
            <a:avLst/>
            <a:gdLst>
              <a:gd name="T0" fmla="*/ 463 w 617"/>
              <a:gd name="T1" fmla="*/ 0 h 535"/>
              <a:gd name="T2" fmla="*/ 155 w 617"/>
              <a:gd name="T3" fmla="*/ 0 h 535"/>
              <a:gd name="T4" fmla="*/ 0 w 617"/>
              <a:gd name="T5" fmla="*/ 268 h 535"/>
              <a:gd name="T6" fmla="*/ 155 w 617"/>
              <a:gd name="T7" fmla="*/ 535 h 535"/>
              <a:gd name="T8" fmla="*/ 463 w 617"/>
              <a:gd name="T9" fmla="*/ 535 h 535"/>
              <a:gd name="T10" fmla="*/ 617 w 617"/>
              <a:gd name="T11" fmla="*/ 268 h 535"/>
              <a:gd name="T12" fmla="*/ 463 w 617"/>
              <a:gd name="T13" fmla="*/ 0 h 535"/>
              <a:gd name="T14" fmla="*/ 464 w 617"/>
              <a:gd name="T15" fmla="*/ 387 h 535"/>
              <a:gd name="T16" fmla="*/ 422 w 617"/>
              <a:gd name="T17" fmla="*/ 429 h 535"/>
              <a:gd name="T18" fmla="*/ 196 w 617"/>
              <a:gd name="T19" fmla="*/ 429 h 535"/>
              <a:gd name="T20" fmla="*/ 154 w 617"/>
              <a:gd name="T21" fmla="*/ 387 h 535"/>
              <a:gd name="T22" fmla="*/ 154 w 617"/>
              <a:gd name="T23" fmla="*/ 148 h 535"/>
              <a:gd name="T24" fmla="*/ 196 w 617"/>
              <a:gd name="T25" fmla="*/ 107 h 535"/>
              <a:gd name="T26" fmla="*/ 364 w 617"/>
              <a:gd name="T27" fmla="*/ 107 h 535"/>
              <a:gd name="T28" fmla="*/ 395 w 617"/>
              <a:gd name="T29" fmla="*/ 107 h 535"/>
              <a:gd name="T30" fmla="*/ 400 w 617"/>
              <a:gd name="T31" fmla="*/ 107 h 535"/>
              <a:gd name="T32" fmla="*/ 464 w 617"/>
              <a:gd name="T33" fmla="*/ 170 h 535"/>
              <a:gd name="T34" fmla="*/ 464 w 617"/>
              <a:gd name="T35" fmla="*/ 387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5">
                <a:moveTo>
                  <a:pt x="463" y="0"/>
                </a:moveTo>
                <a:lnTo>
                  <a:pt x="155" y="0"/>
                </a:lnTo>
                <a:lnTo>
                  <a:pt x="0" y="268"/>
                </a:lnTo>
                <a:lnTo>
                  <a:pt x="155" y="535"/>
                </a:lnTo>
                <a:lnTo>
                  <a:pt x="463" y="535"/>
                </a:lnTo>
                <a:lnTo>
                  <a:pt x="617" y="268"/>
                </a:lnTo>
                <a:lnTo>
                  <a:pt x="463" y="0"/>
                </a:lnTo>
                <a:close/>
                <a:moveTo>
                  <a:pt x="464" y="387"/>
                </a:moveTo>
                <a:cubicBezTo>
                  <a:pt x="464" y="410"/>
                  <a:pt x="445" y="429"/>
                  <a:pt x="422" y="429"/>
                </a:cubicBezTo>
                <a:lnTo>
                  <a:pt x="196" y="429"/>
                </a:lnTo>
                <a:cubicBezTo>
                  <a:pt x="173" y="429"/>
                  <a:pt x="154" y="410"/>
                  <a:pt x="154" y="387"/>
                </a:cubicBezTo>
                <a:lnTo>
                  <a:pt x="154" y="148"/>
                </a:lnTo>
                <a:cubicBezTo>
                  <a:pt x="154" y="125"/>
                  <a:pt x="173" y="107"/>
                  <a:pt x="196" y="107"/>
                </a:cubicBezTo>
                <a:lnTo>
                  <a:pt x="364" y="107"/>
                </a:lnTo>
                <a:cubicBezTo>
                  <a:pt x="380" y="107"/>
                  <a:pt x="395" y="107"/>
                  <a:pt x="395" y="107"/>
                </a:cubicBezTo>
                <a:lnTo>
                  <a:pt x="400" y="107"/>
                </a:lnTo>
                <a:lnTo>
                  <a:pt x="464" y="170"/>
                </a:lnTo>
                <a:lnTo>
                  <a:pt x="464" y="387"/>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46" name="Freeform: Shape 45"/>
          <p:cNvSpPr>
            <a:spLocks/>
          </p:cNvSpPr>
          <p:nvPr/>
        </p:nvSpPr>
        <p:spPr bwMode="auto">
          <a:xfrm>
            <a:off x="7608986" y="5546648"/>
            <a:ext cx="127089" cy="242188"/>
          </a:xfrm>
          <a:custGeom>
            <a:avLst/>
            <a:gdLst>
              <a:gd name="connsiteX0" fmla="*/ 17407 w 127089"/>
              <a:gd name="connsiteY0" fmla="*/ 160659 h 242188"/>
              <a:gd name="connsiteX1" fmla="*/ 22380 w 127089"/>
              <a:gd name="connsiteY1" fmla="*/ 161914 h 242188"/>
              <a:gd name="connsiteX2" fmla="*/ 26111 w 127089"/>
              <a:gd name="connsiteY2" fmla="*/ 164422 h 242188"/>
              <a:gd name="connsiteX3" fmla="*/ 29841 w 127089"/>
              <a:gd name="connsiteY3" fmla="*/ 169439 h 242188"/>
              <a:gd name="connsiteX4" fmla="*/ 32327 w 127089"/>
              <a:gd name="connsiteY4" fmla="*/ 176965 h 242188"/>
              <a:gd name="connsiteX5" fmla="*/ 33571 w 127089"/>
              <a:gd name="connsiteY5" fmla="*/ 188254 h 242188"/>
              <a:gd name="connsiteX6" fmla="*/ 33571 w 127089"/>
              <a:gd name="connsiteY6" fmla="*/ 202051 h 242188"/>
              <a:gd name="connsiteX7" fmla="*/ 33571 w 127089"/>
              <a:gd name="connsiteY7" fmla="*/ 214594 h 242188"/>
              <a:gd name="connsiteX8" fmla="*/ 32327 w 127089"/>
              <a:gd name="connsiteY8" fmla="*/ 224628 h 242188"/>
              <a:gd name="connsiteX9" fmla="*/ 29841 w 127089"/>
              <a:gd name="connsiteY9" fmla="*/ 232154 h 242188"/>
              <a:gd name="connsiteX10" fmla="*/ 27354 w 127089"/>
              <a:gd name="connsiteY10" fmla="*/ 238425 h 242188"/>
              <a:gd name="connsiteX11" fmla="*/ 22380 w 127089"/>
              <a:gd name="connsiteY11" fmla="*/ 240934 h 242188"/>
              <a:gd name="connsiteX12" fmla="*/ 16164 w 127089"/>
              <a:gd name="connsiteY12" fmla="*/ 242188 h 242188"/>
              <a:gd name="connsiteX13" fmla="*/ 8703 w 127089"/>
              <a:gd name="connsiteY13" fmla="*/ 240934 h 242188"/>
              <a:gd name="connsiteX14" fmla="*/ 3730 w 127089"/>
              <a:gd name="connsiteY14" fmla="*/ 233408 h 242188"/>
              <a:gd name="connsiteX15" fmla="*/ 0 w 127089"/>
              <a:gd name="connsiteY15" fmla="*/ 220865 h 242188"/>
              <a:gd name="connsiteX16" fmla="*/ 0 w 127089"/>
              <a:gd name="connsiteY16" fmla="*/ 200797 h 242188"/>
              <a:gd name="connsiteX17" fmla="*/ 0 w 127089"/>
              <a:gd name="connsiteY17" fmla="*/ 183237 h 242188"/>
              <a:gd name="connsiteX18" fmla="*/ 2486 w 127089"/>
              <a:gd name="connsiteY18" fmla="*/ 170694 h 242188"/>
              <a:gd name="connsiteX19" fmla="*/ 8703 w 127089"/>
              <a:gd name="connsiteY19" fmla="*/ 163168 h 242188"/>
              <a:gd name="connsiteX20" fmla="*/ 17407 w 127089"/>
              <a:gd name="connsiteY20" fmla="*/ 160659 h 242188"/>
              <a:gd name="connsiteX21" fmla="*/ 109105 w 127089"/>
              <a:gd name="connsiteY21" fmla="*/ 0 h 242188"/>
              <a:gd name="connsiteX22" fmla="*/ 115528 w 127089"/>
              <a:gd name="connsiteY22" fmla="*/ 1291 h 242188"/>
              <a:gd name="connsiteX23" fmla="*/ 119382 w 127089"/>
              <a:gd name="connsiteY23" fmla="*/ 3874 h 242188"/>
              <a:gd name="connsiteX24" fmla="*/ 123235 w 127089"/>
              <a:gd name="connsiteY24" fmla="*/ 9039 h 242188"/>
              <a:gd name="connsiteX25" fmla="*/ 125805 w 127089"/>
              <a:gd name="connsiteY25" fmla="*/ 16786 h 242188"/>
              <a:gd name="connsiteX26" fmla="*/ 127089 w 127089"/>
              <a:gd name="connsiteY26" fmla="*/ 28406 h 242188"/>
              <a:gd name="connsiteX27" fmla="*/ 127089 w 127089"/>
              <a:gd name="connsiteY27" fmla="*/ 42609 h 242188"/>
              <a:gd name="connsiteX28" fmla="*/ 127089 w 127089"/>
              <a:gd name="connsiteY28" fmla="*/ 55521 h 242188"/>
              <a:gd name="connsiteX29" fmla="*/ 125805 w 127089"/>
              <a:gd name="connsiteY29" fmla="*/ 65851 h 242188"/>
              <a:gd name="connsiteX30" fmla="*/ 123235 w 127089"/>
              <a:gd name="connsiteY30" fmla="*/ 73598 h 242188"/>
              <a:gd name="connsiteX31" fmla="*/ 120666 w 127089"/>
              <a:gd name="connsiteY31" fmla="*/ 78763 h 242188"/>
              <a:gd name="connsiteX32" fmla="*/ 115528 w 127089"/>
              <a:gd name="connsiteY32" fmla="*/ 82636 h 242188"/>
              <a:gd name="connsiteX33" fmla="*/ 109105 w 127089"/>
              <a:gd name="connsiteY33" fmla="*/ 83927 h 242188"/>
              <a:gd name="connsiteX34" fmla="*/ 101397 w 127089"/>
              <a:gd name="connsiteY34" fmla="*/ 81345 h 242188"/>
              <a:gd name="connsiteX35" fmla="*/ 96259 w 127089"/>
              <a:gd name="connsiteY35" fmla="*/ 74889 h 242188"/>
              <a:gd name="connsiteX36" fmla="*/ 92405 w 127089"/>
              <a:gd name="connsiteY36" fmla="*/ 61977 h 242188"/>
              <a:gd name="connsiteX37" fmla="*/ 91120 w 127089"/>
              <a:gd name="connsiteY37" fmla="*/ 41318 h 242188"/>
              <a:gd name="connsiteX38" fmla="*/ 92405 w 127089"/>
              <a:gd name="connsiteY38" fmla="*/ 23242 h 242188"/>
              <a:gd name="connsiteX39" fmla="*/ 94974 w 127089"/>
              <a:gd name="connsiteY39" fmla="*/ 10330 h 242188"/>
              <a:gd name="connsiteX40" fmla="*/ 101397 w 127089"/>
              <a:gd name="connsiteY40" fmla="*/ 2583 h 242188"/>
              <a:gd name="connsiteX41" fmla="*/ 109105 w 127089"/>
              <a:gd name="connsiteY41" fmla="*/ 0 h 24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7089" h="242188">
                <a:moveTo>
                  <a:pt x="17407" y="160659"/>
                </a:moveTo>
                <a:cubicBezTo>
                  <a:pt x="18650" y="160659"/>
                  <a:pt x="21137" y="161914"/>
                  <a:pt x="22380" y="161914"/>
                </a:cubicBezTo>
                <a:cubicBezTo>
                  <a:pt x="23624" y="163168"/>
                  <a:pt x="24867" y="163168"/>
                  <a:pt x="26111" y="164422"/>
                </a:cubicBezTo>
                <a:cubicBezTo>
                  <a:pt x="27354" y="165676"/>
                  <a:pt x="28597" y="168185"/>
                  <a:pt x="29841" y="169439"/>
                </a:cubicBezTo>
                <a:cubicBezTo>
                  <a:pt x="31084" y="171948"/>
                  <a:pt x="31084" y="174456"/>
                  <a:pt x="32327" y="176965"/>
                </a:cubicBezTo>
                <a:cubicBezTo>
                  <a:pt x="32327" y="180728"/>
                  <a:pt x="33571" y="184491"/>
                  <a:pt x="33571" y="188254"/>
                </a:cubicBezTo>
                <a:cubicBezTo>
                  <a:pt x="33571" y="192017"/>
                  <a:pt x="33571" y="197034"/>
                  <a:pt x="33571" y="202051"/>
                </a:cubicBezTo>
                <a:cubicBezTo>
                  <a:pt x="33571" y="207068"/>
                  <a:pt x="33571" y="210831"/>
                  <a:pt x="33571" y="214594"/>
                </a:cubicBezTo>
                <a:cubicBezTo>
                  <a:pt x="33571" y="218357"/>
                  <a:pt x="33571" y="222120"/>
                  <a:pt x="32327" y="224628"/>
                </a:cubicBezTo>
                <a:cubicBezTo>
                  <a:pt x="32327" y="228391"/>
                  <a:pt x="31084" y="230900"/>
                  <a:pt x="29841" y="232154"/>
                </a:cubicBezTo>
                <a:cubicBezTo>
                  <a:pt x="29841" y="234662"/>
                  <a:pt x="28597" y="237171"/>
                  <a:pt x="27354" y="238425"/>
                </a:cubicBezTo>
                <a:cubicBezTo>
                  <a:pt x="26111" y="239680"/>
                  <a:pt x="23624" y="240934"/>
                  <a:pt x="22380" y="240934"/>
                </a:cubicBezTo>
                <a:cubicBezTo>
                  <a:pt x="21137" y="242188"/>
                  <a:pt x="18650" y="242188"/>
                  <a:pt x="16164" y="242188"/>
                </a:cubicBezTo>
                <a:cubicBezTo>
                  <a:pt x="13677" y="242188"/>
                  <a:pt x="11190" y="242188"/>
                  <a:pt x="8703" y="240934"/>
                </a:cubicBezTo>
                <a:cubicBezTo>
                  <a:pt x="6217" y="239680"/>
                  <a:pt x="4973" y="237171"/>
                  <a:pt x="3730" y="233408"/>
                </a:cubicBezTo>
                <a:cubicBezTo>
                  <a:pt x="2486" y="230900"/>
                  <a:pt x="1243" y="227137"/>
                  <a:pt x="0" y="220865"/>
                </a:cubicBezTo>
                <a:cubicBezTo>
                  <a:pt x="0" y="215848"/>
                  <a:pt x="0" y="209577"/>
                  <a:pt x="0" y="200797"/>
                </a:cubicBezTo>
                <a:cubicBezTo>
                  <a:pt x="0" y="194525"/>
                  <a:pt x="0" y="188254"/>
                  <a:pt x="0" y="183237"/>
                </a:cubicBezTo>
                <a:cubicBezTo>
                  <a:pt x="1243" y="178219"/>
                  <a:pt x="1243" y="174456"/>
                  <a:pt x="2486" y="170694"/>
                </a:cubicBezTo>
                <a:cubicBezTo>
                  <a:pt x="3730" y="168185"/>
                  <a:pt x="6217" y="165676"/>
                  <a:pt x="8703" y="163168"/>
                </a:cubicBezTo>
                <a:cubicBezTo>
                  <a:pt x="9947" y="161914"/>
                  <a:pt x="13677" y="160659"/>
                  <a:pt x="17407" y="160659"/>
                </a:cubicBezTo>
                <a:close/>
                <a:moveTo>
                  <a:pt x="109105" y="0"/>
                </a:moveTo>
                <a:cubicBezTo>
                  <a:pt x="111674" y="0"/>
                  <a:pt x="112959" y="0"/>
                  <a:pt x="115528" y="1291"/>
                </a:cubicBezTo>
                <a:cubicBezTo>
                  <a:pt x="116812" y="1291"/>
                  <a:pt x="118097" y="2583"/>
                  <a:pt x="119382" y="3874"/>
                </a:cubicBezTo>
                <a:cubicBezTo>
                  <a:pt x="120666" y="5165"/>
                  <a:pt x="121951" y="6456"/>
                  <a:pt x="123235" y="9039"/>
                </a:cubicBezTo>
                <a:cubicBezTo>
                  <a:pt x="124520" y="10330"/>
                  <a:pt x="124520" y="12912"/>
                  <a:pt x="125805" y="16786"/>
                </a:cubicBezTo>
                <a:cubicBezTo>
                  <a:pt x="125805" y="19368"/>
                  <a:pt x="127089" y="23242"/>
                  <a:pt x="127089" y="28406"/>
                </a:cubicBezTo>
                <a:cubicBezTo>
                  <a:pt x="127089" y="32280"/>
                  <a:pt x="127089" y="37445"/>
                  <a:pt x="127089" y="42609"/>
                </a:cubicBezTo>
                <a:cubicBezTo>
                  <a:pt x="127089" y="46483"/>
                  <a:pt x="127089" y="51648"/>
                  <a:pt x="127089" y="55521"/>
                </a:cubicBezTo>
                <a:cubicBezTo>
                  <a:pt x="127089" y="59395"/>
                  <a:pt x="125805" y="61977"/>
                  <a:pt x="125805" y="65851"/>
                </a:cubicBezTo>
                <a:cubicBezTo>
                  <a:pt x="124520" y="68433"/>
                  <a:pt x="124520" y="71015"/>
                  <a:pt x="123235" y="73598"/>
                </a:cubicBezTo>
                <a:cubicBezTo>
                  <a:pt x="123235" y="76180"/>
                  <a:pt x="121951" y="77471"/>
                  <a:pt x="120666" y="78763"/>
                </a:cubicBezTo>
                <a:cubicBezTo>
                  <a:pt x="119382" y="80054"/>
                  <a:pt x="116812" y="81345"/>
                  <a:pt x="115528" y="82636"/>
                </a:cubicBezTo>
                <a:cubicBezTo>
                  <a:pt x="114243" y="82636"/>
                  <a:pt x="111674" y="83927"/>
                  <a:pt x="109105" y="83927"/>
                </a:cubicBezTo>
                <a:cubicBezTo>
                  <a:pt x="106536" y="83927"/>
                  <a:pt x="103966" y="82636"/>
                  <a:pt x="101397" y="81345"/>
                </a:cubicBezTo>
                <a:cubicBezTo>
                  <a:pt x="98828" y="80054"/>
                  <a:pt x="97543" y="77471"/>
                  <a:pt x="96259" y="74889"/>
                </a:cubicBezTo>
                <a:cubicBezTo>
                  <a:pt x="94974" y="71015"/>
                  <a:pt x="93689" y="67142"/>
                  <a:pt x="92405" y="61977"/>
                </a:cubicBezTo>
                <a:cubicBezTo>
                  <a:pt x="92405" y="56812"/>
                  <a:pt x="91120" y="49065"/>
                  <a:pt x="91120" y="41318"/>
                </a:cubicBezTo>
                <a:cubicBezTo>
                  <a:pt x="91120" y="33571"/>
                  <a:pt x="92405" y="28406"/>
                  <a:pt x="92405" y="23242"/>
                </a:cubicBezTo>
                <a:cubicBezTo>
                  <a:pt x="92405" y="18077"/>
                  <a:pt x="93689" y="14203"/>
                  <a:pt x="94974" y="10330"/>
                </a:cubicBezTo>
                <a:cubicBezTo>
                  <a:pt x="96259" y="6456"/>
                  <a:pt x="98828" y="3874"/>
                  <a:pt x="101397" y="2583"/>
                </a:cubicBezTo>
                <a:cubicBezTo>
                  <a:pt x="102682" y="1291"/>
                  <a:pt x="106536" y="0"/>
                  <a:pt x="109105" y="0"/>
                </a:cubicBez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99" name="Freeform 16"/>
          <p:cNvSpPr>
            <a:spLocks noEditPoints="1"/>
          </p:cNvSpPr>
          <p:nvPr/>
        </p:nvSpPr>
        <p:spPr bwMode="auto">
          <a:xfrm>
            <a:off x="7505876" y="5491496"/>
            <a:ext cx="333309" cy="354890"/>
          </a:xfrm>
          <a:custGeom>
            <a:avLst/>
            <a:gdLst>
              <a:gd name="T0" fmla="*/ 187 w 264"/>
              <a:gd name="T1" fmla="*/ 0 h 277"/>
              <a:gd name="T2" fmla="*/ 0 w 264"/>
              <a:gd name="T3" fmla="*/ 19 h 277"/>
              <a:gd name="T4" fmla="*/ 18 w 264"/>
              <a:gd name="T5" fmla="*/ 277 h 277"/>
              <a:gd name="T6" fmla="*/ 264 w 264"/>
              <a:gd name="T7" fmla="*/ 258 h 277"/>
              <a:gd name="T8" fmla="*/ 213 w 264"/>
              <a:gd name="T9" fmla="*/ 53 h 277"/>
              <a:gd name="T10" fmla="*/ 213 w 264"/>
              <a:gd name="T11" fmla="*/ 1 h 277"/>
              <a:gd name="T12" fmla="*/ 70 w 264"/>
              <a:gd name="T13" fmla="*/ 46 h 277"/>
              <a:gd name="T14" fmla="*/ 72 w 264"/>
              <a:gd name="T15" fmla="*/ 44 h 277"/>
              <a:gd name="T16" fmla="*/ 92 w 264"/>
              <a:gd name="T17" fmla="*/ 31 h 277"/>
              <a:gd name="T18" fmla="*/ 96 w 264"/>
              <a:gd name="T19" fmla="*/ 30 h 277"/>
              <a:gd name="T20" fmla="*/ 104 w 264"/>
              <a:gd name="T21" fmla="*/ 30 h 277"/>
              <a:gd name="T22" fmla="*/ 107 w 264"/>
              <a:gd name="T23" fmla="*/ 31 h 277"/>
              <a:gd name="T24" fmla="*/ 108 w 264"/>
              <a:gd name="T25" fmla="*/ 108 h 277"/>
              <a:gd name="T26" fmla="*/ 124 w 264"/>
              <a:gd name="T27" fmla="*/ 108 h 277"/>
              <a:gd name="T28" fmla="*/ 125 w 264"/>
              <a:gd name="T29" fmla="*/ 111 h 277"/>
              <a:gd name="T30" fmla="*/ 125 w 264"/>
              <a:gd name="T31" fmla="*/ 118 h 277"/>
              <a:gd name="T32" fmla="*/ 124 w 264"/>
              <a:gd name="T33" fmla="*/ 121 h 277"/>
              <a:gd name="T34" fmla="*/ 72 w 264"/>
              <a:gd name="T35" fmla="*/ 122 h 277"/>
              <a:gd name="T36" fmla="*/ 70 w 264"/>
              <a:gd name="T37" fmla="*/ 120 h 277"/>
              <a:gd name="T38" fmla="*/ 70 w 264"/>
              <a:gd name="T39" fmla="*/ 115 h 277"/>
              <a:gd name="T40" fmla="*/ 70 w 264"/>
              <a:gd name="T41" fmla="*/ 109 h 277"/>
              <a:gd name="T42" fmla="*/ 72 w 264"/>
              <a:gd name="T43" fmla="*/ 108 h 277"/>
              <a:gd name="T44" fmla="*/ 89 w 264"/>
              <a:gd name="T45" fmla="*/ 48 h 277"/>
              <a:gd name="T46" fmla="*/ 72 w 264"/>
              <a:gd name="T47" fmla="*/ 57 h 277"/>
              <a:gd name="T48" fmla="*/ 70 w 264"/>
              <a:gd name="T49" fmla="*/ 55 h 277"/>
              <a:gd name="T50" fmla="*/ 69 w 264"/>
              <a:gd name="T51" fmla="*/ 48 h 277"/>
              <a:gd name="T52" fmla="*/ 120 w 264"/>
              <a:gd name="T53" fmla="*/ 235 h 277"/>
              <a:gd name="T54" fmla="*/ 95 w 264"/>
              <a:gd name="T55" fmla="*/ 248 h 277"/>
              <a:gd name="T56" fmla="*/ 69 w 264"/>
              <a:gd name="T57" fmla="*/ 236 h 277"/>
              <a:gd name="T58" fmla="*/ 63 w 264"/>
              <a:gd name="T59" fmla="*/ 201 h 277"/>
              <a:gd name="T60" fmla="*/ 71 w 264"/>
              <a:gd name="T61" fmla="*/ 167 h 277"/>
              <a:gd name="T62" fmla="*/ 96 w 264"/>
              <a:gd name="T63" fmla="*/ 154 h 277"/>
              <a:gd name="T64" fmla="*/ 122 w 264"/>
              <a:gd name="T65" fmla="*/ 166 h 277"/>
              <a:gd name="T66" fmla="*/ 128 w 264"/>
              <a:gd name="T67" fmla="*/ 201 h 277"/>
              <a:gd name="T68" fmla="*/ 198 w 264"/>
              <a:gd name="T69" fmla="*/ 243 h 277"/>
              <a:gd name="T70" fmla="*/ 196 w 264"/>
              <a:gd name="T71" fmla="*/ 246 h 277"/>
              <a:gd name="T72" fmla="*/ 145 w 264"/>
              <a:gd name="T73" fmla="*/ 246 h 277"/>
              <a:gd name="T74" fmla="*/ 143 w 264"/>
              <a:gd name="T75" fmla="*/ 245 h 277"/>
              <a:gd name="T76" fmla="*/ 142 w 264"/>
              <a:gd name="T77" fmla="*/ 239 h 277"/>
              <a:gd name="T78" fmla="*/ 143 w 264"/>
              <a:gd name="T79" fmla="*/ 234 h 277"/>
              <a:gd name="T80" fmla="*/ 145 w 264"/>
              <a:gd name="T81" fmla="*/ 232 h 277"/>
              <a:gd name="T82" fmla="*/ 162 w 264"/>
              <a:gd name="T83" fmla="*/ 173 h 277"/>
              <a:gd name="T84" fmla="*/ 145 w 264"/>
              <a:gd name="T85" fmla="*/ 182 h 277"/>
              <a:gd name="T86" fmla="*/ 142 w 264"/>
              <a:gd name="T87" fmla="*/ 180 h 277"/>
              <a:gd name="T88" fmla="*/ 142 w 264"/>
              <a:gd name="T89" fmla="*/ 173 h 277"/>
              <a:gd name="T90" fmla="*/ 143 w 264"/>
              <a:gd name="T91" fmla="*/ 169 h 277"/>
              <a:gd name="T92" fmla="*/ 164 w 264"/>
              <a:gd name="T93" fmla="*/ 156 h 277"/>
              <a:gd name="T94" fmla="*/ 166 w 264"/>
              <a:gd name="T95" fmla="*/ 155 h 277"/>
              <a:gd name="T96" fmla="*/ 172 w 264"/>
              <a:gd name="T97" fmla="*/ 155 h 277"/>
              <a:gd name="T98" fmla="*/ 179 w 264"/>
              <a:gd name="T99" fmla="*/ 155 h 277"/>
              <a:gd name="T100" fmla="*/ 180 w 264"/>
              <a:gd name="T101" fmla="*/ 157 h 277"/>
              <a:gd name="T102" fmla="*/ 195 w 264"/>
              <a:gd name="T103" fmla="*/ 232 h 277"/>
              <a:gd name="T104" fmla="*/ 197 w 264"/>
              <a:gd name="T105" fmla="*/ 234 h 277"/>
              <a:gd name="T106" fmla="*/ 198 w 264"/>
              <a:gd name="T107" fmla="*/ 239 h 277"/>
              <a:gd name="T108" fmla="*/ 199 w 264"/>
              <a:gd name="T109" fmla="*/ 96 h 277"/>
              <a:gd name="T110" fmla="*/ 183 w 264"/>
              <a:gd name="T111" fmla="*/ 120 h 277"/>
              <a:gd name="T112" fmla="*/ 152 w 264"/>
              <a:gd name="T113" fmla="*/ 120 h 277"/>
              <a:gd name="T114" fmla="*/ 137 w 264"/>
              <a:gd name="T115" fmla="*/ 96 h 277"/>
              <a:gd name="T116" fmla="*/ 138 w 264"/>
              <a:gd name="T117" fmla="*/ 57 h 277"/>
              <a:gd name="T118" fmla="*/ 154 w 264"/>
              <a:gd name="T119" fmla="*/ 33 h 277"/>
              <a:gd name="T120" fmla="*/ 185 w 264"/>
              <a:gd name="T121" fmla="*/ 32 h 277"/>
              <a:gd name="T122" fmla="*/ 199 w 264"/>
              <a:gd name="T123" fmla="*/ 56 h 277"/>
              <a:gd name="T124" fmla="*/ 199 w 264"/>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4" h="277">
                <a:moveTo>
                  <a:pt x="213" y="1"/>
                </a:moveTo>
                <a:cubicBezTo>
                  <a:pt x="207" y="0"/>
                  <a:pt x="197" y="0"/>
                  <a:pt x="187" y="0"/>
                </a:cubicBezTo>
                <a:lnTo>
                  <a:pt x="18" y="0"/>
                </a:lnTo>
                <a:cubicBezTo>
                  <a:pt x="8" y="0"/>
                  <a:pt x="0" y="9"/>
                  <a:pt x="0" y="19"/>
                </a:cubicBezTo>
                <a:lnTo>
                  <a:pt x="0" y="258"/>
                </a:lnTo>
                <a:cubicBezTo>
                  <a:pt x="0" y="268"/>
                  <a:pt x="8" y="277"/>
                  <a:pt x="18" y="277"/>
                </a:cubicBezTo>
                <a:lnTo>
                  <a:pt x="245" y="277"/>
                </a:lnTo>
                <a:cubicBezTo>
                  <a:pt x="255" y="277"/>
                  <a:pt x="264" y="268"/>
                  <a:pt x="264" y="258"/>
                </a:cubicBezTo>
                <a:lnTo>
                  <a:pt x="264" y="53"/>
                </a:lnTo>
                <a:lnTo>
                  <a:pt x="213" y="53"/>
                </a:lnTo>
                <a:lnTo>
                  <a:pt x="213" y="1"/>
                </a:lnTo>
                <a:lnTo>
                  <a:pt x="213" y="1"/>
                </a:lnTo>
                <a:close/>
                <a:moveTo>
                  <a:pt x="69" y="48"/>
                </a:moveTo>
                <a:cubicBezTo>
                  <a:pt x="69" y="47"/>
                  <a:pt x="70" y="47"/>
                  <a:pt x="70" y="46"/>
                </a:cubicBezTo>
                <a:cubicBezTo>
                  <a:pt x="70" y="46"/>
                  <a:pt x="70" y="45"/>
                  <a:pt x="71" y="45"/>
                </a:cubicBezTo>
                <a:cubicBezTo>
                  <a:pt x="71" y="45"/>
                  <a:pt x="71" y="44"/>
                  <a:pt x="72" y="44"/>
                </a:cubicBezTo>
                <a:lnTo>
                  <a:pt x="91" y="31"/>
                </a:lnTo>
                <a:cubicBezTo>
                  <a:pt x="92" y="31"/>
                  <a:pt x="92" y="31"/>
                  <a:pt x="92" y="31"/>
                </a:cubicBezTo>
                <a:cubicBezTo>
                  <a:pt x="93" y="31"/>
                  <a:pt x="93" y="31"/>
                  <a:pt x="94" y="30"/>
                </a:cubicBezTo>
                <a:cubicBezTo>
                  <a:pt x="94" y="30"/>
                  <a:pt x="95" y="30"/>
                  <a:pt x="96" y="30"/>
                </a:cubicBezTo>
                <a:cubicBezTo>
                  <a:pt x="97" y="30"/>
                  <a:pt x="98" y="30"/>
                  <a:pt x="99" y="30"/>
                </a:cubicBezTo>
                <a:cubicBezTo>
                  <a:pt x="101" y="30"/>
                  <a:pt x="103" y="30"/>
                  <a:pt x="104" y="30"/>
                </a:cubicBezTo>
                <a:cubicBezTo>
                  <a:pt x="105" y="30"/>
                  <a:pt x="106" y="31"/>
                  <a:pt x="106" y="31"/>
                </a:cubicBezTo>
                <a:cubicBezTo>
                  <a:pt x="107" y="31"/>
                  <a:pt x="107" y="31"/>
                  <a:pt x="107" y="31"/>
                </a:cubicBezTo>
                <a:cubicBezTo>
                  <a:pt x="108" y="32"/>
                  <a:pt x="108" y="32"/>
                  <a:pt x="108" y="32"/>
                </a:cubicBezTo>
                <a:lnTo>
                  <a:pt x="108" y="108"/>
                </a:lnTo>
                <a:lnTo>
                  <a:pt x="122" y="108"/>
                </a:lnTo>
                <a:cubicBezTo>
                  <a:pt x="123" y="108"/>
                  <a:pt x="123" y="108"/>
                  <a:pt x="124" y="108"/>
                </a:cubicBezTo>
                <a:cubicBezTo>
                  <a:pt x="124" y="108"/>
                  <a:pt x="124" y="109"/>
                  <a:pt x="124" y="109"/>
                </a:cubicBezTo>
                <a:cubicBezTo>
                  <a:pt x="125" y="110"/>
                  <a:pt x="125" y="110"/>
                  <a:pt x="125" y="111"/>
                </a:cubicBezTo>
                <a:cubicBezTo>
                  <a:pt x="125" y="112"/>
                  <a:pt x="125" y="113"/>
                  <a:pt x="125" y="115"/>
                </a:cubicBezTo>
                <a:cubicBezTo>
                  <a:pt x="125" y="116"/>
                  <a:pt x="125" y="117"/>
                  <a:pt x="125" y="118"/>
                </a:cubicBezTo>
                <a:cubicBezTo>
                  <a:pt x="125" y="119"/>
                  <a:pt x="125" y="120"/>
                  <a:pt x="124" y="120"/>
                </a:cubicBezTo>
                <a:cubicBezTo>
                  <a:pt x="124" y="121"/>
                  <a:pt x="124" y="121"/>
                  <a:pt x="124" y="121"/>
                </a:cubicBezTo>
                <a:cubicBezTo>
                  <a:pt x="123" y="122"/>
                  <a:pt x="123" y="122"/>
                  <a:pt x="122" y="122"/>
                </a:cubicBezTo>
                <a:lnTo>
                  <a:pt x="72" y="122"/>
                </a:lnTo>
                <a:cubicBezTo>
                  <a:pt x="72" y="122"/>
                  <a:pt x="72" y="122"/>
                  <a:pt x="71" y="121"/>
                </a:cubicBezTo>
                <a:cubicBezTo>
                  <a:pt x="71" y="121"/>
                  <a:pt x="71" y="121"/>
                  <a:pt x="70" y="120"/>
                </a:cubicBezTo>
                <a:cubicBezTo>
                  <a:pt x="70" y="120"/>
                  <a:pt x="70" y="119"/>
                  <a:pt x="70" y="118"/>
                </a:cubicBezTo>
                <a:cubicBezTo>
                  <a:pt x="70" y="117"/>
                  <a:pt x="70" y="116"/>
                  <a:pt x="70" y="115"/>
                </a:cubicBezTo>
                <a:cubicBezTo>
                  <a:pt x="70" y="113"/>
                  <a:pt x="70" y="112"/>
                  <a:pt x="70" y="111"/>
                </a:cubicBezTo>
                <a:cubicBezTo>
                  <a:pt x="70" y="110"/>
                  <a:pt x="70" y="110"/>
                  <a:pt x="70" y="109"/>
                </a:cubicBezTo>
                <a:cubicBezTo>
                  <a:pt x="71" y="109"/>
                  <a:pt x="71" y="108"/>
                  <a:pt x="71" y="108"/>
                </a:cubicBezTo>
                <a:cubicBezTo>
                  <a:pt x="72" y="108"/>
                  <a:pt x="72" y="108"/>
                  <a:pt x="72" y="108"/>
                </a:cubicBezTo>
                <a:lnTo>
                  <a:pt x="89" y="108"/>
                </a:lnTo>
                <a:lnTo>
                  <a:pt x="89" y="48"/>
                </a:lnTo>
                <a:lnTo>
                  <a:pt x="75" y="56"/>
                </a:lnTo>
                <a:cubicBezTo>
                  <a:pt x="74" y="57"/>
                  <a:pt x="73" y="57"/>
                  <a:pt x="72" y="57"/>
                </a:cubicBezTo>
                <a:cubicBezTo>
                  <a:pt x="71" y="58"/>
                  <a:pt x="71" y="57"/>
                  <a:pt x="70" y="57"/>
                </a:cubicBezTo>
                <a:cubicBezTo>
                  <a:pt x="70" y="57"/>
                  <a:pt x="70" y="56"/>
                  <a:pt x="70" y="55"/>
                </a:cubicBezTo>
                <a:cubicBezTo>
                  <a:pt x="69" y="54"/>
                  <a:pt x="69" y="53"/>
                  <a:pt x="69" y="51"/>
                </a:cubicBezTo>
                <a:cubicBezTo>
                  <a:pt x="69" y="50"/>
                  <a:pt x="69" y="49"/>
                  <a:pt x="69" y="48"/>
                </a:cubicBezTo>
                <a:close/>
                <a:moveTo>
                  <a:pt x="126" y="220"/>
                </a:moveTo>
                <a:cubicBezTo>
                  <a:pt x="125" y="226"/>
                  <a:pt x="123" y="231"/>
                  <a:pt x="120" y="235"/>
                </a:cubicBezTo>
                <a:cubicBezTo>
                  <a:pt x="118" y="239"/>
                  <a:pt x="114" y="242"/>
                  <a:pt x="110" y="245"/>
                </a:cubicBezTo>
                <a:cubicBezTo>
                  <a:pt x="106" y="247"/>
                  <a:pt x="101" y="248"/>
                  <a:pt x="95" y="248"/>
                </a:cubicBezTo>
                <a:cubicBezTo>
                  <a:pt x="88" y="248"/>
                  <a:pt x="83" y="247"/>
                  <a:pt x="79" y="245"/>
                </a:cubicBezTo>
                <a:cubicBezTo>
                  <a:pt x="75" y="243"/>
                  <a:pt x="72" y="240"/>
                  <a:pt x="69" y="236"/>
                </a:cubicBezTo>
                <a:cubicBezTo>
                  <a:pt x="67" y="232"/>
                  <a:pt x="65" y="227"/>
                  <a:pt x="64" y="221"/>
                </a:cubicBezTo>
                <a:cubicBezTo>
                  <a:pt x="63" y="215"/>
                  <a:pt x="63" y="209"/>
                  <a:pt x="63" y="201"/>
                </a:cubicBezTo>
                <a:cubicBezTo>
                  <a:pt x="63" y="194"/>
                  <a:pt x="64" y="187"/>
                  <a:pt x="65" y="182"/>
                </a:cubicBezTo>
                <a:cubicBezTo>
                  <a:pt x="66" y="176"/>
                  <a:pt x="68" y="171"/>
                  <a:pt x="71" y="167"/>
                </a:cubicBezTo>
                <a:cubicBezTo>
                  <a:pt x="73" y="163"/>
                  <a:pt x="77" y="159"/>
                  <a:pt x="81" y="157"/>
                </a:cubicBezTo>
                <a:cubicBezTo>
                  <a:pt x="85" y="155"/>
                  <a:pt x="90" y="154"/>
                  <a:pt x="96" y="154"/>
                </a:cubicBezTo>
                <a:cubicBezTo>
                  <a:pt x="103" y="154"/>
                  <a:pt x="108" y="155"/>
                  <a:pt x="112" y="157"/>
                </a:cubicBezTo>
                <a:cubicBezTo>
                  <a:pt x="116" y="159"/>
                  <a:pt x="119" y="162"/>
                  <a:pt x="122" y="166"/>
                </a:cubicBezTo>
                <a:cubicBezTo>
                  <a:pt x="124" y="170"/>
                  <a:pt x="126" y="175"/>
                  <a:pt x="126" y="181"/>
                </a:cubicBezTo>
                <a:cubicBezTo>
                  <a:pt x="127" y="187"/>
                  <a:pt x="128" y="193"/>
                  <a:pt x="128" y="201"/>
                </a:cubicBezTo>
                <a:cubicBezTo>
                  <a:pt x="128" y="208"/>
                  <a:pt x="127" y="214"/>
                  <a:pt x="126" y="220"/>
                </a:cubicBezTo>
                <a:close/>
                <a:moveTo>
                  <a:pt x="198" y="243"/>
                </a:moveTo>
                <a:cubicBezTo>
                  <a:pt x="198" y="244"/>
                  <a:pt x="198" y="244"/>
                  <a:pt x="197" y="245"/>
                </a:cubicBezTo>
                <a:cubicBezTo>
                  <a:pt x="197" y="245"/>
                  <a:pt x="197" y="246"/>
                  <a:pt x="196" y="246"/>
                </a:cubicBezTo>
                <a:cubicBezTo>
                  <a:pt x="196" y="246"/>
                  <a:pt x="196" y="246"/>
                  <a:pt x="195" y="246"/>
                </a:cubicBezTo>
                <a:lnTo>
                  <a:pt x="145" y="246"/>
                </a:lnTo>
                <a:cubicBezTo>
                  <a:pt x="145" y="246"/>
                  <a:pt x="144" y="246"/>
                  <a:pt x="144" y="246"/>
                </a:cubicBezTo>
                <a:cubicBezTo>
                  <a:pt x="144" y="246"/>
                  <a:pt x="143" y="245"/>
                  <a:pt x="143" y="245"/>
                </a:cubicBezTo>
                <a:cubicBezTo>
                  <a:pt x="143" y="244"/>
                  <a:pt x="143" y="244"/>
                  <a:pt x="143" y="243"/>
                </a:cubicBezTo>
                <a:cubicBezTo>
                  <a:pt x="142" y="242"/>
                  <a:pt x="142" y="241"/>
                  <a:pt x="142" y="239"/>
                </a:cubicBezTo>
                <a:cubicBezTo>
                  <a:pt x="142" y="238"/>
                  <a:pt x="142" y="237"/>
                  <a:pt x="143" y="236"/>
                </a:cubicBezTo>
                <a:cubicBezTo>
                  <a:pt x="143" y="235"/>
                  <a:pt x="143" y="234"/>
                  <a:pt x="143" y="234"/>
                </a:cubicBezTo>
                <a:cubicBezTo>
                  <a:pt x="143" y="233"/>
                  <a:pt x="144" y="233"/>
                  <a:pt x="144" y="232"/>
                </a:cubicBezTo>
                <a:cubicBezTo>
                  <a:pt x="144" y="232"/>
                  <a:pt x="145" y="232"/>
                  <a:pt x="145" y="232"/>
                </a:cubicBezTo>
                <a:lnTo>
                  <a:pt x="162" y="232"/>
                </a:lnTo>
                <a:lnTo>
                  <a:pt x="162" y="173"/>
                </a:lnTo>
                <a:lnTo>
                  <a:pt x="147" y="181"/>
                </a:lnTo>
                <a:cubicBezTo>
                  <a:pt x="146" y="182"/>
                  <a:pt x="146" y="182"/>
                  <a:pt x="145" y="182"/>
                </a:cubicBezTo>
                <a:cubicBezTo>
                  <a:pt x="144" y="182"/>
                  <a:pt x="144" y="182"/>
                  <a:pt x="143" y="182"/>
                </a:cubicBezTo>
                <a:cubicBezTo>
                  <a:pt x="143" y="181"/>
                  <a:pt x="143" y="180"/>
                  <a:pt x="142" y="180"/>
                </a:cubicBezTo>
                <a:cubicBezTo>
                  <a:pt x="142" y="179"/>
                  <a:pt x="142" y="177"/>
                  <a:pt x="142" y="175"/>
                </a:cubicBezTo>
                <a:cubicBezTo>
                  <a:pt x="142" y="174"/>
                  <a:pt x="142" y="173"/>
                  <a:pt x="142" y="173"/>
                </a:cubicBezTo>
                <a:cubicBezTo>
                  <a:pt x="142" y="172"/>
                  <a:pt x="142" y="171"/>
                  <a:pt x="143" y="171"/>
                </a:cubicBezTo>
                <a:cubicBezTo>
                  <a:pt x="143" y="170"/>
                  <a:pt x="143" y="170"/>
                  <a:pt x="143" y="169"/>
                </a:cubicBezTo>
                <a:cubicBezTo>
                  <a:pt x="144" y="169"/>
                  <a:pt x="144" y="169"/>
                  <a:pt x="145" y="168"/>
                </a:cubicBezTo>
                <a:lnTo>
                  <a:pt x="164" y="156"/>
                </a:lnTo>
                <a:cubicBezTo>
                  <a:pt x="164" y="156"/>
                  <a:pt x="165" y="155"/>
                  <a:pt x="165" y="155"/>
                </a:cubicBezTo>
                <a:cubicBezTo>
                  <a:pt x="165" y="155"/>
                  <a:pt x="166" y="155"/>
                  <a:pt x="166" y="155"/>
                </a:cubicBezTo>
                <a:cubicBezTo>
                  <a:pt x="167" y="155"/>
                  <a:pt x="168" y="155"/>
                  <a:pt x="169" y="155"/>
                </a:cubicBezTo>
                <a:cubicBezTo>
                  <a:pt x="170" y="155"/>
                  <a:pt x="171" y="155"/>
                  <a:pt x="172" y="155"/>
                </a:cubicBezTo>
                <a:cubicBezTo>
                  <a:pt x="174" y="155"/>
                  <a:pt x="175" y="155"/>
                  <a:pt x="177" y="155"/>
                </a:cubicBezTo>
                <a:cubicBezTo>
                  <a:pt x="178" y="155"/>
                  <a:pt x="179" y="155"/>
                  <a:pt x="179" y="155"/>
                </a:cubicBezTo>
                <a:cubicBezTo>
                  <a:pt x="180" y="155"/>
                  <a:pt x="180" y="156"/>
                  <a:pt x="180" y="156"/>
                </a:cubicBezTo>
                <a:cubicBezTo>
                  <a:pt x="180" y="156"/>
                  <a:pt x="180" y="157"/>
                  <a:pt x="180" y="157"/>
                </a:cubicBezTo>
                <a:lnTo>
                  <a:pt x="180" y="232"/>
                </a:lnTo>
                <a:lnTo>
                  <a:pt x="195" y="232"/>
                </a:lnTo>
                <a:cubicBezTo>
                  <a:pt x="196" y="232"/>
                  <a:pt x="196" y="232"/>
                  <a:pt x="196" y="232"/>
                </a:cubicBezTo>
                <a:cubicBezTo>
                  <a:pt x="197" y="233"/>
                  <a:pt x="197" y="233"/>
                  <a:pt x="197" y="234"/>
                </a:cubicBezTo>
                <a:cubicBezTo>
                  <a:pt x="198" y="234"/>
                  <a:pt x="198" y="235"/>
                  <a:pt x="198" y="236"/>
                </a:cubicBezTo>
                <a:cubicBezTo>
                  <a:pt x="198" y="237"/>
                  <a:pt x="198" y="238"/>
                  <a:pt x="198" y="239"/>
                </a:cubicBezTo>
                <a:cubicBezTo>
                  <a:pt x="198" y="241"/>
                  <a:pt x="198" y="242"/>
                  <a:pt x="198" y="243"/>
                </a:cubicBezTo>
                <a:close/>
                <a:moveTo>
                  <a:pt x="199" y="96"/>
                </a:moveTo>
                <a:cubicBezTo>
                  <a:pt x="198" y="101"/>
                  <a:pt x="196" y="106"/>
                  <a:pt x="193" y="111"/>
                </a:cubicBezTo>
                <a:cubicBezTo>
                  <a:pt x="191" y="115"/>
                  <a:pt x="187" y="118"/>
                  <a:pt x="183" y="120"/>
                </a:cubicBezTo>
                <a:cubicBezTo>
                  <a:pt x="179" y="122"/>
                  <a:pt x="174" y="123"/>
                  <a:pt x="167" y="123"/>
                </a:cubicBezTo>
                <a:cubicBezTo>
                  <a:pt x="161" y="123"/>
                  <a:pt x="156" y="122"/>
                  <a:pt x="152" y="120"/>
                </a:cubicBezTo>
                <a:cubicBezTo>
                  <a:pt x="148" y="118"/>
                  <a:pt x="145" y="115"/>
                  <a:pt x="142" y="111"/>
                </a:cubicBezTo>
                <a:cubicBezTo>
                  <a:pt x="140" y="107"/>
                  <a:pt x="138" y="102"/>
                  <a:pt x="137" y="96"/>
                </a:cubicBezTo>
                <a:cubicBezTo>
                  <a:pt x="136" y="90"/>
                  <a:pt x="136" y="84"/>
                  <a:pt x="136" y="77"/>
                </a:cubicBezTo>
                <a:cubicBezTo>
                  <a:pt x="136" y="69"/>
                  <a:pt x="136" y="63"/>
                  <a:pt x="138" y="57"/>
                </a:cubicBezTo>
                <a:cubicBezTo>
                  <a:pt x="139" y="51"/>
                  <a:pt x="141" y="46"/>
                  <a:pt x="143" y="42"/>
                </a:cubicBezTo>
                <a:cubicBezTo>
                  <a:pt x="146" y="38"/>
                  <a:pt x="149" y="35"/>
                  <a:pt x="154" y="33"/>
                </a:cubicBezTo>
                <a:cubicBezTo>
                  <a:pt x="158" y="30"/>
                  <a:pt x="163" y="29"/>
                  <a:pt x="169" y="29"/>
                </a:cubicBezTo>
                <a:cubicBezTo>
                  <a:pt x="175" y="29"/>
                  <a:pt x="181" y="30"/>
                  <a:pt x="185" y="32"/>
                </a:cubicBezTo>
                <a:cubicBezTo>
                  <a:pt x="189" y="35"/>
                  <a:pt x="192" y="38"/>
                  <a:pt x="194" y="42"/>
                </a:cubicBezTo>
                <a:cubicBezTo>
                  <a:pt x="197" y="46"/>
                  <a:pt x="198" y="51"/>
                  <a:pt x="199" y="56"/>
                </a:cubicBezTo>
                <a:cubicBezTo>
                  <a:pt x="200" y="62"/>
                  <a:pt x="201" y="69"/>
                  <a:pt x="201" y="76"/>
                </a:cubicBezTo>
                <a:cubicBezTo>
                  <a:pt x="201" y="83"/>
                  <a:pt x="200" y="90"/>
                  <a:pt x="199" y="96"/>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43" name="Isosceles Triangle 42"/>
          <p:cNvSpPr/>
          <p:nvPr/>
        </p:nvSpPr>
        <p:spPr>
          <a:xfrm>
            <a:off x="6270254" y="2844765"/>
            <a:ext cx="2743200" cy="766283"/>
          </a:xfrm>
          <a:prstGeom prst="triangle">
            <a:avLst/>
          </a:prstGeom>
          <a:solidFill>
            <a:schemeClr val="bg1">
              <a:lumMod val="75000"/>
            </a:schemeClr>
          </a:solidFill>
        </p:spPr>
        <p:txBody>
          <a:bodyPr wrap="square" lIns="0" tIns="0" rIns="0" bIns="0" rtlCol="0" anchor="ctr">
            <a:noAutofit/>
          </a:bodyPr>
          <a:lstStyle/>
          <a:p>
            <a:pPr marL="0" marR="0" lvl="0" indent="0" algn="ctr" defTabSz="932437"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prstClr val="white"/>
              </a:solidFill>
              <a:effectLst/>
              <a:uLnTx/>
              <a:uFillTx/>
              <a:latin typeface="Segoe UI"/>
              <a:ea typeface="+mn-ea"/>
              <a:cs typeface="+mn-cs"/>
            </a:endParaRPr>
          </a:p>
        </p:txBody>
      </p:sp>
      <p:sp>
        <p:nvSpPr>
          <p:cNvPr id="45" name="Isosceles Triangle 44"/>
          <p:cNvSpPr/>
          <p:nvPr/>
        </p:nvSpPr>
        <p:spPr>
          <a:xfrm>
            <a:off x="6267622" y="3159546"/>
            <a:ext cx="2743200" cy="452987"/>
          </a:xfrm>
          <a:prstGeom prst="triangle">
            <a:avLst>
              <a:gd name="adj" fmla="val 51329"/>
            </a:avLst>
          </a:prstGeom>
          <a:solidFill>
            <a:schemeClr val="bg1">
              <a:lumMod val="85000"/>
            </a:schemeClr>
          </a:solidFill>
        </p:spPr>
        <p:txBody>
          <a:bodyPr wrap="square" lIns="0" tIns="0" rIns="0" bIns="0" rtlCol="0" anchor="ctr">
            <a:noAutofit/>
          </a:bodyPr>
          <a:lstStyle/>
          <a:p>
            <a:pPr marL="0" marR="0" lvl="0" indent="0" algn="ctr" defTabSz="932437"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prstClr val="white"/>
              </a:solidFill>
              <a:effectLst/>
              <a:uLnTx/>
              <a:uFillTx/>
              <a:latin typeface="Segoe UI"/>
              <a:ea typeface="+mn-ea"/>
              <a:cs typeface="+mn-cs"/>
            </a:endParaRPr>
          </a:p>
        </p:txBody>
      </p:sp>
      <p:grpSp>
        <p:nvGrpSpPr>
          <p:cNvPr id="102" name="Group 101"/>
          <p:cNvGrpSpPr>
            <a:grpSpLocks noChangeAspect="1"/>
          </p:cNvGrpSpPr>
          <p:nvPr/>
        </p:nvGrpSpPr>
        <p:grpSpPr>
          <a:xfrm>
            <a:off x="10592714" y="5329668"/>
            <a:ext cx="780684" cy="685800"/>
            <a:chOff x="13060789" y="5431985"/>
            <a:chExt cx="2063750" cy="1812925"/>
          </a:xfrm>
          <a:solidFill>
            <a:schemeClr val="tx1"/>
          </a:solidFill>
        </p:grpSpPr>
        <p:sp>
          <p:nvSpPr>
            <p:cNvPr id="103" name="Freeform 51"/>
            <p:cNvSpPr>
              <a:spLocks/>
            </p:cNvSpPr>
            <p:nvPr/>
          </p:nvSpPr>
          <p:spPr bwMode="auto">
            <a:xfrm>
              <a:off x="13060789" y="6933760"/>
              <a:ext cx="2063750" cy="311150"/>
            </a:xfrm>
            <a:custGeom>
              <a:avLst/>
              <a:gdLst>
                <a:gd name="T0" fmla="*/ 1104 w 1300"/>
                <a:gd name="T1" fmla="*/ 0 h 196"/>
                <a:gd name="T2" fmla="*/ 175 w 1300"/>
                <a:gd name="T3" fmla="*/ 0 h 196"/>
                <a:gd name="T4" fmla="*/ 0 w 1300"/>
                <a:gd name="T5" fmla="*/ 196 h 196"/>
                <a:gd name="T6" fmla="*/ 1300 w 1300"/>
                <a:gd name="T7" fmla="*/ 196 h 196"/>
                <a:gd name="T8" fmla="*/ 1104 w 1300"/>
                <a:gd name="T9" fmla="*/ 0 h 196"/>
              </a:gdLst>
              <a:ahLst/>
              <a:cxnLst>
                <a:cxn ang="0">
                  <a:pos x="T0" y="T1"/>
                </a:cxn>
                <a:cxn ang="0">
                  <a:pos x="T2" y="T3"/>
                </a:cxn>
                <a:cxn ang="0">
                  <a:pos x="T4" y="T5"/>
                </a:cxn>
                <a:cxn ang="0">
                  <a:pos x="T6" y="T7"/>
                </a:cxn>
                <a:cxn ang="0">
                  <a:pos x="T8" y="T9"/>
                </a:cxn>
              </a:cxnLst>
              <a:rect l="0" t="0" r="r" b="b"/>
              <a:pathLst>
                <a:path w="1300" h="196">
                  <a:moveTo>
                    <a:pt x="1104" y="0"/>
                  </a:moveTo>
                  <a:lnTo>
                    <a:pt x="175" y="0"/>
                  </a:lnTo>
                  <a:lnTo>
                    <a:pt x="0" y="196"/>
                  </a:lnTo>
                  <a:lnTo>
                    <a:pt x="1300" y="196"/>
                  </a:lnTo>
                  <a:lnTo>
                    <a:pt x="1104"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45" tIns="74436" rIns="93045" bIns="74436" numCol="1" spcCol="0" rtlCol="0" fromWordArt="0" anchor="t" anchorCtr="0" forceAA="0" compatLnSpc="1">
              <a:prstTxWarp prst="textNoShape">
                <a:avLst/>
              </a:prstTxWarp>
              <a:noAutofit/>
            </a:bodyPr>
            <a:lstStyle/>
            <a:p>
              <a:pPr marL="0" marR="0" lvl="0" indent="0" algn="ctr" defTabSz="474372" rtl="0" eaLnBrk="1" fontAlgn="base" latinLnBrk="0" hangingPunct="1">
                <a:lnSpc>
                  <a:spcPct val="90000"/>
                </a:lnSpc>
                <a:spcBef>
                  <a:spcPct val="0"/>
                </a:spcBef>
                <a:spcAft>
                  <a:spcPct val="0"/>
                </a:spcAft>
                <a:buClrTx/>
                <a:buSzTx/>
                <a:buFontTx/>
                <a:buNone/>
                <a:tabLst/>
                <a:defRPr/>
              </a:pPr>
              <a:endParaRPr kumimoji="0" lang="en-US" sz="122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Freeform 1259"/>
            <p:cNvSpPr>
              <a:spLocks/>
            </p:cNvSpPr>
            <p:nvPr/>
          </p:nvSpPr>
          <p:spPr bwMode="auto">
            <a:xfrm>
              <a:off x="13106827" y="5431985"/>
              <a:ext cx="1971675" cy="1409700"/>
            </a:xfrm>
            <a:custGeom>
              <a:avLst/>
              <a:gdLst>
                <a:gd name="connsiteX0" fmla="*/ 427036 w 1971675"/>
                <a:gd name="connsiteY0" fmla="*/ 1374775 h 1409700"/>
                <a:gd name="connsiteX1" fmla="*/ 1544636 w 1971675"/>
                <a:gd name="connsiteY1" fmla="*/ 1374775 h 1409700"/>
                <a:gd name="connsiteX2" fmla="*/ 1544636 w 1971675"/>
                <a:gd name="connsiteY2" fmla="*/ 1409700 h 1409700"/>
                <a:gd name="connsiteX3" fmla="*/ 427036 w 1971675"/>
                <a:gd name="connsiteY3" fmla="*/ 1409700 h 1409700"/>
                <a:gd name="connsiteX4" fmla="*/ 104775 w 1971675"/>
                <a:gd name="connsiteY4" fmla="*/ 104775 h 1409700"/>
                <a:gd name="connsiteX5" fmla="*/ 104775 w 1971675"/>
                <a:gd name="connsiteY5" fmla="*/ 1028700 h 1409700"/>
                <a:gd name="connsiteX6" fmla="*/ 761999 w 1971675"/>
                <a:gd name="connsiteY6" fmla="*/ 1028700 h 1409700"/>
                <a:gd name="connsiteX7" fmla="*/ 1198562 w 1971675"/>
                <a:gd name="connsiteY7" fmla="*/ 1028700 h 1409700"/>
                <a:gd name="connsiteX8" fmla="*/ 1879600 w 1971675"/>
                <a:gd name="connsiteY8" fmla="*/ 1028700 h 1409700"/>
                <a:gd name="connsiteX9" fmla="*/ 1879600 w 1971675"/>
                <a:gd name="connsiteY9" fmla="*/ 104775 h 1409700"/>
                <a:gd name="connsiteX10" fmla="*/ 985837 w 1971675"/>
                <a:gd name="connsiteY10" fmla="*/ 23812 h 1409700"/>
                <a:gd name="connsiteX11" fmla="*/ 957262 w 1971675"/>
                <a:gd name="connsiteY11" fmla="*/ 46831 h 1409700"/>
                <a:gd name="connsiteX12" fmla="*/ 985837 w 1971675"/>
                <a:gd name="connsiteY12" fmla="*/ 69850 h 1409700"/>
                <a:gd name="connsiteX13" fmla="*/ 1014412 w 1971675"/>
                <a:gd name="connsiteY13" fmla="*/ 46831 h 1409700"/>
                <a:gd name="connsiteX14" fmla="*/ 985837 w 1971675"/>
                <a:gd name="connsiteY14" fmla="*/ 23812 h 1409700"/>
                <a:gd name="connsiteX15" fmla="*/ 103772 w 1971675"/>
                <a:gd name="connsiteY15" fmla="*/ 0 h 1409700"/>
                <a:gd name="connsiteX16" fmla="*/ 1856372 w 1971675"/>
                <a:gd name="connsiteY16" fmla="*/ 0 h 1409700"/>
                <a:gd name="connsiteX17" fmla="*/ 1971675 w 1971675"/>
                <a:gd name="connsiteY17" fmla="*/ 103909 h 1409700"/>
                <a:gd name="connsiteX18" fmla="*/ 1971675 w 1971675"/>
                <a:gd name="connsiteY18" fmla="*/ 1027546 h 1409700"/>
                <a:gd name="connsiteX19" fmla="*/ 1856372 w 1971675"/>
                <a:gd name="connsiteY19" fmla="*/ 1143000 h 1409700"/>
                <a:gd name="connsiteX20" fmla="*/ 1277877 w 1971675"/>
                <a:gd name="connsiteY20" fmla="*/ 1143000 h 1409700"/>
                <a:gd name="connsiteX21" fmla="*/ 1198562 w 1971675"/>
                <a:gd name="connsiteY21" fmla="*/ 1143000 h 1409700"/>
                <a:gd name="connsiteX22" fmla="*/ 1198562 w 1971675"/>
                <a:gd name="connsiteY22" fmla="*/ 1212850 h 1409700"/>
                <a:gd name="connsiteX23" fmla="*/ 1198562 w 1971675"/>
                <a:gd name="connsiteY23" fmla="*/ 1258887 h 1409700"/>
                <a:gd name="connsiteX24" fmla="*/ 1452561 w 1971675"/>
                <a:gd name="connsiteY24" fmla="*/ 1258887 h 1409700"/>
                <a:gd name="connsiteX25" fmla="*/ 1544636 w 1971675"/>
                <a:gd name="connsiteY25" fmla="*/ 1374774 h 1409700"/>
                <a:gd name="connsiteX26" fmla="*/ 427036 w 1971675"/>
                <a:gd name="connsiteY26" fmla="*/ 1374774 h 1409700"/>
                <a:gd name="connsiteX27" fmla="*/ 519111 w 1971675"/>
                <a:gd name="connsiteY27" fmla="*/ 1258887 h 1409700"/>
                <a:gd name="connsiteX28" fmla="*/ 761999 w 1971675"/>
                <a:gd name="connsiteY28" fmla="*/ 1258887 h 1409700"/>
                <a:gd name="connsiteX29" fmla="*/ 761999 w 1971675"/>
                <a:gd name="connsiteY29" fmla="*/ 1212850 h 1409700"/>
                <a:gd name="connsiteX30" fmla="*/ 761999 w 1971675"/>
                <a:gd name="connsiteY30" fmla="*/ 1143000 h 1409700"/>
                <a:gd name="connsiteX31" fmla="*/ 673281 w 1971675"/>
                <a:gd name="connsiteY31" fmla="*/ 1143000 h 1409700"/>
                <a:gd name="connsiteX32" fmla="*/ 103772 w 1971675"/>
                <a:gd name="connsiteY32" fmla="*/ 1143000 h 1409700"/>
                <a:gd name="connsiteX33" fmla="*/ 0 w 1971675"/>
                <a:gd name="connsiteY33" fmla="*/ 1027546 h 1409700"/>
                <a:gd name="connsiteX34" fmla="*/ 0 w 1971675"/>
                <a:gd name="connsiteY34" fmla="*/ 103909 h 1409700"/>
                <a:gd name="connsiteX35" fmla="*/ 103772 w 1971675"/>
                <a:gd name="connsiteY35" fmla="*/ 0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971675" h="1409700">
                  <a:moveTo>
                    <a:pt x="427036" y="1374775"/>
                  </a:moveTo>
                  <a:lnTo>
                    <a:pt x="1544636" y="1374775"/>
                  </a:lnTo>
                  <a:lnTo>
                    <a:pt x="1544636" y="1409700"/>
                  </a:lnTo>
                  <a:lnTo>
                    <a:pt x="427036" y="1409700"/>
                  </a:lnTo>
                  <a:close/>
                  <a:moveTo>
                    <a:pt x="104775" y="104775"/>
                  </a:moveTo>
                  <a:lnTo>
                    <a:pt x="104775" y="1028700"/>
                  </a:lnTo>
                  <a:lnTo>
                    <a:pt x="761999" y="1028700"/>
                  </a:lnTo>
                  <a:lnTo>
                    <a:pt x="1198562" y="1028700"/>
                  </a:lnTo>
                  <a:lnTo>
                    <a:pt x="1879600" y="1028700"/>
                  </a:lnTo>
                  <a:lnTo>
                    <a:pt x="1879600" y="104775"/>
                  </a:lnTo>
                  <a:close/>
                  <a:moveTo>
                    <a:pt x="985837" y="23812"/>
                  </a:moveTo>
                  <a:cubicBezTo>
                    <a:pt x="970055" y="23812"/>
                    <a:pt x="957262" y="34118"/>
                    <a:pt x="957262" y="46831"/>
                  </a:cubicBezTo>
                  <a:cubicBezTo>
                    <a:pt x="957262" y="59544"/>
                    <a:pt x="970055" y="69850"/>
                    <a:pt x="985837" y="69850"/>
                  </a:cubicBezTo>
                  <a:cubicBezTo>
                    <a:pt x="1001619" y="69850"/>
                    <a:pt x="1014412" y="59544"/>
                    <a:pt x="1014412" y="46831"/>
                  </a:cubicBezTo>
                  <a:cubicBezTo>
                    <a:pt x="1014412" y="34118"/>
                    <a:pt x="1001619" y="23812"/>
                    <a:pt x="985837" y="23812"/>
                  </a:cubicBezTo>
                  <a:close/>
                  <a:moveTo>
                    <a:pt x="103772" y="0"/>
                  </a:moveTo>
                  <a:cubicBezTo>
                    <a:pt x="1856372" y="0"/>
                    <a:pt x="1856372" y="0"/>
                    <a:pt x="1856372" y="0"/>
                  </a:cubicBezTo>
                  <a:cubicBezTo>
                    <a:pt x="1925554" y="0"/>
                    <a:pt x="1971675" y="46182"/>
                    <a:pt x="1971675" y="103909"/>
                  </a:cubicBezTo>
                  <a:lnTo>
                    <a:pt x="1971675" y="1027546"/>
                  </a:lnTo>
                  <a:cubicBezTo>
                    <a:pt x="1971675" y="1085273"/>
                    <a:pt x="1925554" y="1143000"/>
                    <a:pt x="1856372" y="1143000"/>
                  </a:cubicBezTo>
                  <a:cubicBezTo>
                    <a:pt x="1637297" y="1143000"/>
                    <a:pt x="1445606" y="1143000"/>
                    <a:pt x="1277877" y="1143000"/>
                  </a:cubicBezTo>
                  <a:lnTo>
                    <a:pt x="1198562" y="1143000"/>
                  </a:lnTo>
                  <a:lnTo>
                    <a:pt x="1198562" y="1212850"/>
                  </a:lnTo>
                  <a:lnTo>
                    <a:pt x="1198562" y="1258887"/>
                  </a:lnTo>
                  <a:lnTo>
                    <a:pt x="1452561" y="1258887"/>
                  </a:lnTo>
                  <a:lnTo>
                    <a:pt x="1544636" y="1374774"/>
                  </a:lnTo>
                  <a:lnTo>
                    <a:pt x="427036" y="1374774"/>
                  </a:lnTo>
                  <a:lnTo>
                    <a:pt x="519111" y="1258887"/>
                  </a:lnTo>
                  <a:lnTo>
                    <a:pt x="761999" y="1258887"/>
                  </a:lnTo>
                  <a:lnTo>
                    <a:pt x="761999" y="1212850"/>
                  </a:lnTo>
                  <a:lnTo>
                    <a:pt x="761999" y="1143000"/>
                  </a:lnTo>
                  <a:lnTo>
                    <a:pt x="673281" y="1143000"/>
                  </a:lnTo>
                  <a:cubicBezTo>
                    <a:pt x="103772" y="1143000"/>
                    <a:pt x="103772" y="1143000"/>
                    <a:pt x="103772" y="1143000"/>
                  </a:cubicBezTo>
                  <a:cubicBezTo>
                    <a:pt x="46121" y="1143000"/>
                    <a:pt x="0" y="1085273"/>
                    <a:pt x="0" y="1027546"/>
                  </a:cubicBezTo>
                  <a:cubicBezTo>
                    <a:pt x="0" y="103909"/>
                    <a:pt x="0" y="103909"/>
                    <a:pt x="0" y="103909"/>
                  </a:cubicBezTo>
                  <a:cubicBezTo>
                    <a:pt x="0" y="46182"/>
                    <a:pt x="46121" y="0"/>
                    <a:pt x="103772" y="0"/>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45" tIns="74436" rIns="93045" bIns="74436" numCol="1" spcCol="0" rtlCol="0" fromWordArt="0" anchor="t" anchorCtr="0" forceAA="0" compatLnSpc="1">
              <a:prstTxWarp prst="textNoShape">
                <a:avLst/>
              </a:prstTxWarp>
              <a:noAutofit/>
            </a:bodyPr>
            <a:lstStyle/>
            <a:p>
              <a:pPr marL="0" marR="0" lvl="0" indent="0" algn="ctr" defTabSz="474372" rtl="0" eaLnBrk="1" fontAlgn="base" latinLnBrk="0" hangingPunct="1">
                <a:lnSpc>
                  <a:spcPct val="90000"/>
                </a:lnSpc>
                <a:spcBef>
                  <a:spcPct val="0"/>
                </a:spcBef>
                <a:spcAft>
                  <a:spcPct val="0"/>
                </a:spcAft>
                <a:buClrTx/>
                <a:buSzTx/>
                <a:buFontTx/>
                <a:buNone/>
                <a:tabLst/>
                <a:defRPr/>
              </a:pPr>
              <a:endParaRPr kumimoji="0" lang="en-US" sz="122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4" name="Isosceles Triangle 43"/>
          <p:cNvSpPr/>
          <p:nvPr/>
        </p:nvSpPr>
        <p:spPr>
          <a:xfrm>
            <a:off x="9409138" y="2844174"/>
            <a:ext cx="2743200" cy="766283"/>
          </a:xfrm>
          <a:prstGeom prst="triangle">
            <a:avLst/>
          </a:prstGeom>
          <a:solidFill>
            <a:schemeClr val="bg1">
              <a:lumMod val="75000"/>
            </a:schemeClr>
          </a:solidFill>
        </p:spPr>
        <p:txBody>
          <a:bodyPr wrap="square" lIns="0" tIns="0" rIns="0" bIns="0" rtlCol="0" anchor="ctr">
            <a:noAutofit/>
          </a:bodyPr>
          <a:lstStyle/>
          <a:p>
            <a:pPr marL="0" marR="0" lvl="0" indent="0" algn="ctr" defTabSz="932437"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prstClr val="white"/>
              </a:solidFill>
              <a:effectLst/>
              <a:uLnTx/>
              <a:uFillTx/>
              <a:latin typeface="Segoe UI"/>
              <a:ea typeface="+mn-ea"/>
              <a:cs typeface="+mn-cs"/>
            </a:endParaRPr>
          </a:p>
        </p:txBody>
      </p:sp>
      <p:sp>
        <p:nvSpPr>
          <p:cNvPr id="52" name="Isosceles Triangle 51"/>
          <p:cNvSpPr/>
          <p:nvPr/>
        </p:nvSpPr>
        <p:spPr>
          <a:xfrm>
            <a:off x="9406506" y="3160929"/>
            <a:ext cx="2743200" cy="452987"/>
          </a:xfrm>
          <a:prstGeom prst="triangle">
            <a:avLst>
              <a:gd name="adj" fmla="val 51329"/>
            </a:avLst>
          </a:prstGeom>
          <a:solidFill>
            <a:schemeClr val="bg1">
              <a:lumMod val="85000"/>
            </a:schemeClr>
          </a:solidFill>
        </p:spPr>
        <p:txBody>
          <a:bodyPr wrap="square" lIns="0" tIns="0" rIns="0" bIns="0" rtlCol="0" anchor="ctr">
            <a:noAutofit/>
          </a:bodyPr>
          <a:lstStyle/>
          <a:p>
            <a:pPr marL="0" marR="0" lvl="0" indent="0" algn="ctr" defTabSz="932437"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prstClr val="white"/>
              </a:solidFill>
              <a:effectLst/>
              <a:uLnTx/>
              <a:uFillTx/>
              <a:latin typeface="Segoe UI"/>
              <a:ea typeface="+mn-ea"/>
              <a:cs typeface="+mn-cs"/>
            </a:endParaRPr>
          </a:p>
        </p:txBody>
      </p:sp>
      <p:sp>
        <p:nvSpPr>
          <p:cNvPr id="10" name="Rectangle 9"/>
          <p:cNvSpPr/>
          <p:nvPr/>
        </p:nvSpPr>
        <p:spPr>
          <a:xfrm>
            <a:off x="10261535" y="6143629"/>
            <a:ext cx="1443042" cy="184666"/>
          </a:xfrm>
          <a:prstGeom prst="rect">
            <a:avLst/>
          </a:prstGeom>
        </p:spPr>
        <p:txBody>
          <a:bodyPr wrap="square" lIns="0" tIns="0" rIns="0" bIns="0">
            <a:spAutoFit/>
          </a:bodyPr>
          <a:lstStyle/>
          <a:p>
            <a:pPr marL="0" marR="0" lvl="0" indent="0" algn="ctr" defTabSz="93216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Segoe UI"/>
                <a:ea typeface="Segoe UI" pitchFamily="34" charset="0"/>
                <a:cs typeface="Segoe UI" pitchFamily="34" charset="0"/>
              </a:rPr>
              <a:t>Tools &amp; Services</a:t>
            </a:r>
          </a:p>
        </p:txBody>
      </p:sp>
      <p:sp>
        <p:nvSpPr>
          <p:cNvPr id="316" name="TextBox 315"/>
          <p:cNvSpPr txBox="1"/>
          <p:nvPr/>
        </p:nvSpPr>
        <p:spPr>
          <a:xfrm>
            <a:off x="4023701" y="6143629"/>
            <a:ext cx="1194238" cy="166199"/>
          </a:xfrm>
          <a:prstGeom prst="rect">
            <a:avLst/>
          </a:prstGeom>
          <a:noFill/>
        </p:spPr>
        <p:txBody>
          <a:bodyPr wrap="none" lIns="0" tIns="0" rIns="0" bIns="0" rtlCol="0">
            <a:spAutoFit/>
          </a:bodyPr>
          <a:lstStyle/>
          <a:p>
            <a:pPr marL="0" marR="0" lvl="0" indent="0" algn="ctr" defTabSz="932509" rtl="0" eaLnBrk="1" fontAlgn="auto" latinLnBrk="0" hangingPunct="1">
              <a:lnSpc>
                <a:spcPct val="90000"/>
              </a:lnSpc>
              <a:spcBef>
                <a:spcPts val="0"/>
              </a:spcBef>
              <a:spcAft>
                <a:spcPts val="612"/>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Segoe UI"/>
                <a:ea typeface="Segoe UI" pitchFamily="34" charset="0"/>
                <a:cs typeface="Segoe UI" pitchFamily="34" charset="0"/>
              </a:rPr>
              <a:t>Azure Event Hubs</a:t>
            </a:r>
          </a:p>
        </p:txBody>
      </p:sp>
      <p:sp>
        <p:nvSpPr>
          <p:cNvPr id="41" name="Rectangle 40"/>
          <p:cNvSpPr/>
          <p:nvPr/>
        </p:nvSpPr>
        <p:spPr>
          <a:xfrm>
            <a:off x="6858310" y="6143629"/>
            <a:ext cx="1628441" cy="184666"/>
          </a:xfrm>
          <a:prstGeom prst="rect">
            <a:avLst/>
          </a:prstGeom>
        </p:spPr>
        <p:txBody>
          <a:bodyPr wrap="square" lIns="0" tIns="0" rIns="0" bIns="0">
            <a:spAutoFit/>
          </a:bodyPr>
          <a:lstStyle/>
          <a:p>
            <a:pPr marL="0" marR="0" lvl="0" indent="0" algn="ctr" defTabSz="93216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Segoe UI"/>
                <a:ea typeface="Segoe UI" pitchFamily="34" charset="0"/>
                <a:cs typeface="Segoe UI" pitchFamily="34" charset="0"/>
              </a:rPr>
              <a:t>Azure Storage Blobs</a:t>
            </a:r>
          </a:p>
        </p:txBody>
      </p:sp>
      <p:grpSp>
        <p:nvGrpSpPr>
          <p:cNvPr id="53" name="Group 52"/>
          <p:cNvGrpSpPr/>
          <p:nvPr/>
        </p:nvGrpSpPr>
        <p:grpSpPr>
          <a:xfrm>
            <a:off x="5832797" y="1440819"/>
            <a:ext cx="770880" cy="1023118"/>
            <a:chOff x="2294644" y="680860"/>
            <a:chExt cx="3596824" cy="4773730"/>
          </a:xfrm>
        </p:grpSpPr>
        <p:sp>
          <p:nvSpPr>
            <p:cNvPr id="54" name="Freeform 83"/>
            <p:cNvSpPr/>
            <p:nvPr/>
          </p:nvSpPr>
          <p:spPr>
            <a:xfrm>
              <a:off x="2294644" y="1330208"/>
              <a:ext cx="3596824" cy="4115394"/>
            </a:xfrm>
            <a:custGeom>
              <a:avLst/>
              <a:gdLst>
                <a:gd name="connsiteX0" fmla="*/ 0 w 3596824"/>
                <a:gd name="connsiteY0" fmla="*/ 0 h 4115394"/>
                <a:gd name="connsiteX1" fmla="*/ 3596823 w 3596824"/>
                <a:gd name="connsiteY1" fmla="*/ 0 h 4115394"/>
                <a:gd name="connsiteX2" fmla="*/ 3596823 w 3596824"/>
                <a:gd name="connsiteY2" fmla="*/ 3465793 h 4115394"/>
                <a:gd name="connsiteX3" fmla="*/ 3596824 w 3596824"/>
                <a:gd name="connsiteY3" fmla="*/ 3465800 h 4115394"/>
                <a:gd name="connsiteX4" fmla="*/ 3596823 w 3596824"/>
                <a:gd name="connsiteY4" fmla="*/ 3465808 h 4115394"/>
                <a:gd name="connsiteX5" fmla="*/ 3596823 w 3596824"/>
                <a:gd name="connsiteY5" fmla="*/ 3473042 h 4115394"/>
                <a:gd name="connsiteX6" fmla="*/ 3595812 w 3596824"/>
                <a:gd name="connsiteY6" fmla="*/ 3473042 h 4115394"/>
                <a:gd name="connsiteX7" fmla="*/ 3587539 w 3596824"/>
                <a:gd name="connsiteY7" fmla="*/ 3532217 h 4115394"/>
                <a:gd name="connsiteX8" fmla="*/ 1798412 w 3596824"/>
                <a:gd name="connsiteY8" fmla="*/ 4115394 h 4115394"/>
                <a:gd name="connsiteX9" fmla="*/ 9285 w 3596824"/>
                <a:gd name="connsiteY9" fmla="*/ 3532217 h 4115394"/>
                <a:gd name="connsiteX10" fmla="*/ 1013 w 3596824"/>
                <a:gd name="connsiteY10" fmla="*/ 3473042 h 4115394"/>
                <a:gd name="connsiteX11" fmla="*/ 0 w 3596824"/>
                <a:gd name="connsiteY11" fmla="*/ 3473042 h 4115394"/>
                <a:gd name="connsiteX12" fmla="*/ 0 w 3596824"/>
                <a:gd name="connsiteY12" fmla="*/ 3465800 h 4115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6824" h="4115394">
                  <a:moveTo>
                    <a:pt x="0" y="0"/>
                  </a:moveTo>
                  <a:lnTo>
                    <a:pt x="3596823" y="0"/>
                  </a:lnTo>
                  <a:lnTo>
                    <a:pt x="3596823" y="3465793"/>
                  </a:lnTo>
                  <a:lnTo>
                    <a:pt x="3596824" y="3465800"/>
                  </a:lnTo>
                  <a:lnTo>
                    <a:pt x="3596823" y="3465808"/>
                  </a:lnTo>
                  <a:lnTo>
                    <a:pt x="3596823" y="3473042"/>
                  </a:lnTo>
                  <a:lnTo>
                    <a:pt x="3595812" y="3473042"/>
                  </a:lnTo>
                  <a:lnTo>
                    <a:pt x="3587539" y="3532217"/>
                  </a:lnTo>
                  <a:cubicBezTo>
                    <a:pt x="3495443" y="3859779"/>
                    <a:pt x="2729571" y="4115394"/>
                    <a:pt x="1798412" y="4115394"/>
                  </a:cubicBezTo>
                  <a:cubicBezTo>
                    <a:pt x="867253" y="4115394"/>
                    <a:pt x="101382" y="3859779"/>
                    <a:pt x="9285" y="3532217"/>
                  </a:cubicBezTo>
                  <a:lnTo>
                    <a:pt x="1013" y="3473042"/>
                  </a:lnTo>
                  <a:lnTo>
                    <a:pt x="0" y="3473042"/>
                  </a:lnTo>
                  <a:lnTo>
                    <a:pt x="0" y="3465800"/>
                  </a:lnTo>
                  <a:close/>
                </a:path>
              </a:pathLst>
            </a:custGeom>
            <a:solidFill>
              <a:srgbClr val="A59B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5" name="Freeform 84"/>
            <p:cNvSpPr/>
            <p:nvPr/>
          </p:nvSpPr>
          <p:spPr>
            <a:xfrm>
              <a:off x="2294644" y="1319318"/>
              <a:ext cx="1798413" cy="4115394"/>
            </a:xfrm>
            <a:custGeom>
              <a:avLst/>
              <a:gdLst>
                <a:gd name="connsiteX0" fmla="*/ 0 w 1798413"/>
                <a:gd name="connsiteY0" fmla="*/ 0 h 4115394"/>
                <a:gd name="connsiteX1" fmla="*/ 1798413 w 1798413"/>
                <a:gd name="connsiteY1" fmla="*/ 0 h 4115394"/>
                <a:gd name="connsiteX2" fmla="*/ 1798413 w 1798413"/>
                <a:gd name="connsiteY2" fmla="*/ 4115394 h 4115394"/>
                <a:gd name="connsiteX3" fmla="*/ 1798412 w 1798413"/>
                <a:gd name="connsiteY3" fmla="*/ 4115394 h 4115394"/>
                <a:gd name="connsiteX4" fmla="*/ 9285 w 1798413"/>
                <a:gd name="connsiteY4" fmla="*/ 3532217 h 4115394"/>
                <a:gd name="connsiteX5" fmla="*/ 1013 w 1798413"/>
                <a:gd name="connsiteY5" fmla="*/ 3473042 h 4115394"/>
                <a:gd name="connsiteX6" fmla="*/ 0 w 1798413"/>
                <a:gd name="connsiteY6" fmla="*/ 3473042 h 4115394"/>
                <a:gd name="connsiteX7" fmla="*/ 0 w 1798413"/>
                <a:gd name="connsiteY7" fmla="*/ 3465800 h 4115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8413" h="4115394">
                  <a:moveTo>
                    <a:pt x="0" y="0"/>
                  </a:moveTo>
                  <a:lnTo>
                    <a:pt x="1798413" y="0"/>
                  </a:lnTo>
                  <a:lnTo>
                    <a:pt x="1798413" y="4115394"/>
                  </a:lnTo>
                  <a:lnTo>
                    <a:pt x="1798412" y="4115394"/>
                  </a:lnTo>
                  <a:cubicBezTo>
                    <a:pt x="867253" y="4115394"/>
                    <a:pt x="101382" y="3859779"/>
                    <a:pt x="9285" y="3532217"/>
                  </a:cubicBezTo>
                  <a:lnTo>
                    <a:pt x="1013" y="3473042"/>
                  </a:lnTo>
                  <a:lnTo>
                    <a:pt x="0" y="3473042"/>
                  </a:lnTo>
                  <a:lnTo>
                    <a:pt x="0" y="3465800"/>
                  </a:lnTo>
                  <a:close/>
                </a:path>
              </a:pathLst>
            </a:custGeom>
            <a:solidFill>
              <a:srgbClr val="4741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6" name="Oval 55"/>
            <p:cNvSpPr/>
            <p:nvPr/>
          </p:nvSpPr>
          <p:spPr>
            <a:xfrm>
              <a:off x="2294645" y="680860"/>
              <a:ext cx="3596823" cy="1299187"/>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7" name="Oval 56"/>
            <p:cNvSpPr/>
            <p:nvPr/>
          </p:nvSpPr>
          <p:spPr>
            <a:xfrm>
              <a:off x="2666927" y="898175"/>
              <a:ext cx="2852258" cy="864066"/>
            </a:xfrm>
            <a:prstGeom prst="ellipse">
              <a:avLst/>
            </a:prstGeom>
            <a:solidFill>
              <a:srgbClr val="B5CD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8" name="Freeform 87"/>
            <p:cNvSpPr/>
            <p:nvPr/>
          </p:nvSpPr>
          <p:spPr>
            <a:xfrm>
              <a:off x="2920902" y="1388931"/>
              <a:ext cx="2344306" cy="373310"/>
            </a:xfrm>
            <a:custGeom>
              <a:avLst/>
              <a:gdLst>
                <a:gd name="connsiteX0" fmla="*/ 1172153 w 2344306"/>
                <a:gd name="connsiteY0" fmla="*/ 0 h 373310"/>
                <a:gd name="connsiteX1" fmla="*/ 2180579 w 2344306"/>
                <a:gd name="connsiteY1" fmla="*/ 126540 h 373310"/>
                <a:gd name="connsiteX2" fmla="*/ 2344306 w 2344306"/>
                <a:gd name="connsiteY2" fmla="*/ 186655 h 373310"/>
                <a:gd name="connsiteX3" fmla="*/ 2180579 w 2344306"/>
                <a:gd name="connsiteY3" fmla="*/ 246770 h 373310"/>
                <a:gd name="connsiteX4" fmla="*/ 1172153 w 2344306"/>
                <a:gd name="connsiteY4" fmla="*/ 373310 h 373310"/>
                <a:gd name="connsiteX5" fmla="*/ 163728 w 2344306"/>
                <a:gd name="connsiteY5" fmla="*/ 246770 h 373310"/>
                <a:gd name="connsiteX6" fmla="*/ 0 w 2344306"/>
                <a:gd name="connsiteY6" fmla="*/ 186655 h 373310"/>
                <a:gd name="connsiteX7" fmla="*/ 163728 w 2344306"/>
                <a:gd name="connsiteY7" fmla="*/ 126540 h 373310"/>
                <a:gd name="connsiteX8" fmla="*/ 1172153 w 2344306"/>
                <a:gd name="connsiteY8" fmla="*/ 0 h 373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4306" h="373310">
                  <a:moveTo>
                    <a:pt x="1172153" y="0"/>
                  </a:moveTo>
                  <a:cubicBezTo>
                    <a:pt x="1565968" y="0"/>
                    <a:pt x="1922500" y="48357"/>
                    <a:pt x="2180579" y="126540"/>
                  </a:cubicBezTo>
                  <a:lnTo>
                    <a:pt x="2344306" y="186655"/>
                  </a:lnTo>
                  <a:lnTo>
                    <a:pt x="2180579" y="246770"/>
                  </a:lnTo>
                  <a:cubicBezTo>
                    <a:pt x="1922500" y="324953"/>
                    <a:pt x="1565968" y="373310"/>
                    <a:pt x="1172153" y="373310"/>
                  </a:cubicBezTo>
                  <a:cubicBezTo>
                    <a:pt x="778339" y="373310"/>
                    <a:pt x="421806" y="324953"/>
                    <a:pt x="163728" y="246770"/>
                  </a:cubicBezTo>
                  <a:lnTo>
                    <a:pt x="0" y="186655"/>
                  </a:lnTo>
                  <a:lnTo>
                    <a:pt x="163728" y="126540"/>
                  </a:lnTo>
                  <a:cubicBezTo>
                    <a:pt x="421806" y="48357"/>
                    <a:pt x="778339" y="0"/>
                    <a:pt x="1172153" y="0"/>
                  </a:cubicBezTo>
                  <a:close/>
                </a:path>
              </a:pathLst>
            </a:custGeom>
            <a:solidFill>
              <a:srgbClr val="7FB2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9" name="Freeform 88"/>
            <p:cNvSpPr/>
            <p:nvPr/>
          </p:nvSpPr>
          <p:spPr>
            <a:xfrm>
              <a:off x="2294644" y="3274582"/>
              <a:ext cx="3596824" cy="2180008"/>
            </a:xfrm>
            <a:custGeom>
              <a:avLst/>
              <a:gdLst>
                <a:gd name="connsiteX0" fmla="*/ 1167538 w 3596824"/>
                <a:gd name="connsiteY0" fmla="*/ 0 h 2180008"/>
                <a:gd name="connsiteX1" fmla="*/ 1213645 w 3596824"/>
                <a:gd name="connsiteY1" fmla="*/ 78247 h 2180008"/>
                <a:gd name="connsiteX2" fmla="*/ 1798412 w 3596824"/>
                <a:gd name="connsiteY2" fmla="*/ 364647 h 2180008"/>
                <a:gd name="connsiteX3" fmla="*/ 2383179 w 3596824"/>
                <a:gd name="connsiteY3" fmla="*/ 78247 h 2180008"/>
                <a:gd name="connsiteX4" fmla="*/ 2429285 w 3596824"/>
                <a:gd name="connsiteY4" fmla="*/ 1 h 2180008"/>
                <a:gd name="connsiteX5" fmla="*/ 2475392 w 3596824"/>
                <a:gd name="connsiteY5" fmla="*/ 78247 h 2180008"/>
                <a:gd name="connsiteX6" fmla="*/ 3060159 w 3596824"/>
                <a:gd name="connsiteY6" fmla="*/ 364647 h 2180008"/>
                <a:gd name="connsiteX7" fmla="*/ 3558814 w 3596824"/>
                <a:gd name="connsiteY7" fmla="*/ 174385 h 2180008"/>
                <a:gd name="connsiteX8" fmla="*/ 3596823 w 3596824"/>
                <a:gd name="connsiteY8" fmla="*/ 131951 h 2180008"/>
                <a:gd name="connsiteX9" fmla="*/ 3596823 w 3596824"/>
                <a:gd name="connsiteY9" fmla="*/ 1530407 h 2180008"/>
                <a:gd name="connsiteX10" fmla="*/ 3596824 w 3596824"/>
                <a:gd name="connsiteY10" fmla="*/ 1530414 h 2180008"/>
                <a:gd name="connsiteX11" fmla="*/ 3596823 w 3596824"/>
                <a:gd name="connsiteY11" fmla="*/ 1530422 h 2180008"/>
                <a:gd name="connsiteX12" fmla="*/ 3596823 w 3596824"/>
                <a:gd name="connsiteY12" fmla="*/ 1537656 h 2180008"/>
                <a:gd name="connsiteX13" fmla="*/ 3595812 w 3596824"/>
                <a:gd name="connsiteY13" fmla="*/ 1537656 h 2180008"/>
                <a:gd name="connsiteX14" fmla="*/ 3587539 w 3596824"/>
                <a:gd name="connsiteY14" fmla="*/ 1596831 h 2180008"/>
                <a:gd name="connsiteX15" fmla="*/ 1798412 w 3596824"/>
                <a:gd name="connsiteY15" fmla="*/ 2180008 h 2180008"/>
                <a:gd name="connsiteX16" fmla="*/ 9285 w 3596824"/>
                <a:gd name="connsiteY16" fmla="*/ 1596831 h 2180008"/>
                <a:gd name="connsiteX17" fmla="*/ 1013 w 3596824"/>
                <a:gd name="connsiteY17" fmla="*/ 1537656 h 2180008"/>
                <a:gd name="connsiteX18" fmla="*/ 0 w 3596824"/>
                <a:gd name="connsiteY18" fmla="*/ 1537656 h 2180008"/>
                <a:gd name="connsiteX19" fmla="*/ 0 w 3596824"/>
                <a:gd name="connsiteY19" fmla="*/ 1530414 h 2180008"/>
                <a:gd name="connsiteX20" fmla="*/ 0 w 3596824"/>
                <a:gd name="connsiteY20" fmla="*/ 131951 h 2180008"/>
                <a:gd name="connsiteX21" fmla="*/ 38009 w 3596824"/>
                <a:gd name="connsiteY21" fmla="*/ 174385 h 2180008"/>
                <a:gd name="connsiteX22" fmla="*/ 536664 w 3596824"/>
                <a:gd name="connsiteY22" fmla="*/ 364647 h 2180008"/>
                <a:gd name="connsiteX23" fmla="*/ 1121431 w 3596824"/>
                <a:gd name="connsiteY23" fmla="*/ 78247 h 2180008"/>
                <a:gd name="connsiteX24" fmla="*/ 1167538 w 3596824"/>
                <a:gd name="connsiteY24" fmla="*/ 0 h 2180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96824" h="2180008">
                  <a:moveTo>
                    <a:pt x="1167538" y="0"/>
                  </a:moveTo>
                  <a:lnTo>
                    <a:pt x="1213645" y="78247"/>
                  </a:lnTo>
                  <a:cubicBezTo>
                    <a:pt x="1340376" y="251040"/>
                    <a:pt x="1554991" y="364647"/>
                    <a:pt x="1798412" y="364647"/>
                  </a:cubicBezTo>
                  <a:cubicBezTo>
                    <a:pt x="2041833" y="364647"/>
                    <a:pt x="2256449" y="251040"/>
                    <a:pt x="2383179" y="78247"/>
                  </a:cubicBezTo>
                  <a:lnTo>
                    <a:pt x="2429285" y="1"/>
                  </a:lnTo>
                  <a:lnTo>
                    <a:pt x="2475392" y="78247"/>
                  </a:lnTo>
                  <a:cubicBezTo>
                    <a:pt x="2602122" y="251040"/>
                    <a:pt x="2816738" y="364647"/>
                    <a:pt x="3060159" y="364647"/>
                  </a:cubicBezTo>
                  <a:cubicBezTo>
                    <a:pt x="3254896" y="364647"/>
                    <a:pt x="3431197" y="291939"/>
                    <a:pt x="3558814" y="174385"/>
                  </a:cubicBezTo>
                  <a:lnTo>
                    <a:pt x="3596823" y="131951"/>
                  </a:lnTo>
                  <a:lnTo>
                    <a:pt x="3596823" y="1530407"/>
                  </a:lnTo>
                  <a:lnTo>
                    <a:pt x="3596824" y="1530414"/>
                  </a:lnTo>
                  <a:lnTo>
                    <a:pt x="3596823" y="1530422"/>
                  </a:lnTo>
                  <a:lnTo>
                    <a:pt x="3596823" y="1537656"/>
                  </a:lnTo>
                  <a:lnTo>
                    <a:pt x="3595812" y="1537656"/>
                  </a:lnTo>
                  <a:lnTo>
                    <a:pt x="3587539" y="1596831"/>
                  </a:lnTo>
                  <a:cubicBezTo>
                    <a:pt x="3495443" y="1924393"/>
                    <a:pt x="2729571" y="2180008"/>
                    <a:pt x="1798412" y="2180008"/>
                  </a:cubicBezTo>
                  <a:cubicBezTo>
                    <a:pt x="867253" y="2180008"/>
                    <a:pt x="101382" y="1924393"/>
                    <a:pt x="9285" y="1596831"/>
                  </a:cubicBezTo>
                  <a:lnTo>
                    <a:pt x="1013" y="1537656"/>
                  </a:lnTo>
                  <a:lnTo>
                    <a:pt x="0" y="1537656"/>
                  </a:lnTo>
                  <a:lnTo>
                    <a:pt x="0" y="1530414"/>
                  </a:lnTo>
                  <a:lnTo>
                    <a:pt x="0" y="131951"/>
                  </a:lnTo>
                  <a:lnTo>
                    <a:pt x="38009" y="174385"/>
                  </a:lnTo>
                  <a:cubicBezTo>
                    <a:pt x="165626" y="291939"/>
                    <a:pt x="341927" y="364647"/>
                    <a:pt x="536664" y="364647"/>
                  </a:cubicBezTo>
                  <a:cubicBezTo>
                    <a:pt x="780086" y="364647"/>
                    <a:pt x="994701" y="251040"/>
                    <a:pt x="1121431" y="78247"/>
                  </a:cubicBezTo>
                  <a:lnTo>
                    <a:pt x="1167538" y="0"/>
                  </a:lnTo>
                  <a:close/>
                </a:path>
              </a:pathLst>
            </a:custGeom>
            <a:solidFill>
              <a:srgbClr val="73AD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0" name="Freeform 89"/>
            <p:cNvSpPr/>
            <p:nvPr/>
          </p:nvSpPr>
          <p:spPr>
            <a:xfrm>
              <a:off x="2294645" y="3274582"/>
              <a:ext cx="1798413" cy="2171020"/>
            </a:xfrm>
            <a:custGeom>
              <a:avLst/>
              <a:gdLst>
                <a:gd name="connsiteX0" fmla="*/ 1167537 w 1798413"/>
                <a:gd name="connsiteY0" fmla="*/ 0 h 2171020"/>
                <a:gd name="connsiteX1" fmla="*/ 1213644 w 1798413"/>
                <a:gd name="connsiteY1" fmla="*/ 78247 h 2171020"/>
                <a:gd name="connsiteX2" fmla="*/ 1798411 w 1798413"/>
                <a:gd name="connsiteY2" fmla="*/ 364647 h 2171020"/>
                <a:gd name="connsiteX3" fmla="*/ 1798413 w 1798413"/>
                <a:gd name="connsiteY3" fmla="*/ 364647 h 2171020"/>
                <a:gd name="connsiteX4" fmla="*/ 1798413 w 1798413"/>
                <a:gd name="connsiteY4" fmla="*/ 2171020 h 2171020"/>
                <a:gd name="connsiteX5" fmla="*/ 1798412 w 1798413"/>
                <a:gd name="connsiteY5" fmla="*/ 2171020 h 2171020"/>
                <a:gd name="connsiteX6" fmla="*/ 9285 w 1798413"/>
                <a:gd name="connsiteY6" fmla="*/ 1587843 h 2171020"/>
                <a:gd name="connsiteX7" fmla="*/ 1013 w 1798413"/>
                <a:gd name="connsiteY7" fmla="*/ 1528668 h 2171020"/>
                <a:gd name="connsiteX8" fmla="*/ 0 w 1798413"/>
                <a:gd name="connsiteY8" fmla="*/ 1528668 h 2171020"/>
                <a:gd name="connsiteX9" fmla="*/ 0 w 1798413"/>
                <a:gd name="connsiteY9" fmla="*/ 1521426 h 2171020"/>
                <a:gd name="connsiteX10" fmla="*/ 0 w 1798413"/>
                <a:gd name="connsiteY10" fmla="*/ 131952 h 2171020"/>
                <a:gd name="connsiteX11" fmla="*/ 38008 w 1798413"/>
                <a:gd name="connsiteY11" fmla="*/ 174385 h 2171020"/>
                <a:gd name="connsiteX12" fmla="*/ 536663 w 1798413"/>
                <a:gd name="connsiteY12" fmla="*/ 364647 h 2171020"/>
                <a:gd name="connsiteX13" fmla="*/ 1121430 w 1798413"/>
                <a:gd name="connsiteY13" fmla="*/ 78247 h 2171020"/>
                <a:gd name="connsiteX14" fmla="*/ 1167537 w 1798413"/>
                <a:gd name="connsiteY14" fmla="*/ 0 h 2171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98413" h="2171020">
                  <a:moveTo>
                    <a:pt x="1167537" y="0"/>
                  </a:moveTo>
                  <a:lnTo>
                    <a:pt x="1213644" y="78247"/>
                  </a:lnTo>
                  <a:cubicBezTo>
                    <a:pt x="1340375" y="251040"/>
                    <a:pt x="1554990" y="364647"/>
                    <a:pt x="1798411" y="364647"/>
                  </a:cubicBezTo>
                  <a:lnTo>
                    <a:pt x="1798413" y="364647"/>
                  </a:lnTo>
                  <a:lnTo>
                    <a:pt x="1798413" y="2171020"/>
                  </a:lnTo>
                  <a:lnTo>
                    <a:pt x="1798412" y="2171020"/>
                  </a:lnTo>
                  <a:cubicBezTo>
                    <a:pt x="867253" y="2171020"/>
                    <a:pt x="101382" y="1915405"/>
                    <a:pt x="9285" y="1587843"/>
                  </a:cubicBezTo>
                  <a:lnTo>
                    <a:pt x="1013" y="1528668"/>
                  </a:lnTo>
                  <a:lnTo>
                    <a:pt x="0" y="1528668"/>
                  </a:lnTo>
                  <a:lnTo>
                    <a:pt x="0" y="1521426"/>
                  </a:lnTo>
                  <a:lnTo>
                    <a:pt x="0" y="131952"/>
                  </a:lnTo>
                  <a:lnTo>
                    <a:pt x="38008" y="174385"/>
                  </a:lnTo>
                  <a:cubicBezTo>
                    <a:pt x="165625" y="291939"/>
                    <a:pt x="341926" y="364647"/>
                    <a:pt x="536663" y="364647"/>
                  </a:cubicBezTo>
                  <a:cubicBezTo>
                    <a:pt x="780085" y="364647"/>
                    <a:pt x="994700" y="251040"/>
                    <a:pt x="1121430" y="78247"/>
                  </a:cubicBezTo>
                  <a:lnTo>
                    <a:pt x="1167537" y="0"/>
                  </a:lnTo>
                  <a:close/>
                </a:path>
              </a:pathLst>
            </a:custGeom>
            <a:solidFill>
              <a:srgbClr val="5A91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61" name="Group 60"/>
          <p:cNvGrpSpPr/>
          <p:nvPr/>
        </p:nvGrpSpPr>
        <p:grpSpPr>
          <a:xfrm>
            <a:off x="728268" y="5329668"/>
            <a:ext cx="594306" cy="727886"/>
            <a:chOff x="-3084513" y="3390510"/>
            <a:chExt cx="2716213" cy="3363913"/>
          </a:xfrm>
          <a:solidFill>
            <a:schemeClr val="tx1"/>
          </a:solidFill>
        </p:grpSpPr>
        <p:sp>
          <p:nvSpPr>
            <p:cNvPr id="62"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63"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2485947135"/>
      </p:ext>
    </p:extLst>
  </p:cSld>
  <p:clrMapOvr>
    <a:masterClrMapping/>
  </p:clrMapOvr>
  <mc:AlternateContent xmlns:mc="http://schemas.openxmlformats.org/markup-compatibility/2006" xmlns:p14="http://schemas.microsoft.com/office/powerpoint/2010/main">
    <mc:Choice Requires="p14">
      <p:transition p14:dur="0" advTm="5000"/>
    </mc:Choice>
    <mc:Fallback xmlns="">
      <p:transition advTm="500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14" name="Rectangle 13"/>
          <p:cNvSpPr/>
          <p:nvPr>
            <p:custDataLst>
              <p:tags r:id="rId1"/>
            </p:custDataLst>
          </p:nvPr>
        </p:nvSpPr>
        <p:spPr bwMode="auto">
          <a:xfrm>
            <a:off x="5246914" y="194762"/>
            <a:ext cx="6993533" cy="66050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0930" tIns="93953" rIns="140930" bIns="93953" numCol="1" spcCol="0" rtlCol="0" fromWordArt="0" anchor="ctr" anchorCtr="0" forceAA="0" compatLnSpc="1">
            <a:prstTxWarp prst="textNoShape">
              <a:avLst/>
            </a:prstTxWarp>
            <a:noAutofit/>
          </a:bodyPr>
          <a:lstStyle/>
          <a:p>
            <a:pPr defTabSz="932563">
              <a:defRPr/>
            </a:pPr>
            <a:endParaRPr lang="en-US" sz="2379" kern="0" dirty="0">
              <a:solidFill>
                <a:srgbClr val="FFFFFF"/>
              </a:solidFill>
              <a:latin typeface="Segoe UI"/>
              <a:cs typeface="Segoe UI" panose="020B0502040204020203" pitchFamily="34" charset="0"/>
            </a:endParaRPr>
          </a:p>
          <a:p>
            <a:pPr defTabSz="932563">
              <a:defRPr/>
            </a:pPr>
            <a:endParaRPr lang="en-US" sz="2379" kern="0" dirty="0">
              <a:solidFill>
                <a:srgbClr val="FFFFFF"/>
              </a:solidFill>
              <a:latin typeface="Segoe UI"/>
              <a:cs typeface="Segoe UI" panose="020B0502040204020203" pitchFamily="34" charset="0"/>
            </a:endParaRPr>
          </a:p>
          <a:p>
            <a:pPr defTabSz="932563">
              <a:defRPr/>
            </a:pPr>
            <a:r>
              <a:rPr lang="en-US" sz="2379" kern="0" dirty="0">
                <a:solidFill>
                  <a:srgbClr val="FFFFFF"/>
                </a:solidFill>
                <a:latin typeface="Segoe UI"/>
                <a:cs typeface="Segoe UI" panose="020B0502040204020203" pitchFamily="34" charset="0"/>
              </a:rPr>
              <a:t>No limits to </a:t>
            </a:r>
            <a:r>
              <a:rPr lang="en-US" sz="2379" b="1" kern="0" dirty="0">
                <a:solidFill>
                  <a:srgbClr val="FFFFFF"/>
                </a:solidFill>
                <a:latin typeface="Segoe UI"/>
                <a:cs typeface="Segoe UI" panose="020B0502040204020203" pitchFamily="34" charset="0"/>
              </a:rPr>
              <a:t>SCALE</a:t>
            </a:r>
            <a:endParaRPr lang="en-US" sz="2379" kern="0" dirty="0">
              <a:solidFill>
                <a:srgbClr val="FFFFFF"/>
              </a:solidFill>
              <a:latin typeface="Segoe UI"/>
              <a:cs typeface="Segoe UI" panose="020B0502040204020203" pitchFamily="34" charset="0"/>
            </a:endParaRPr>
          </a:p>
          <a:p>
            <a:pPr defTabSz="932563">
              <a:defRPr/>
            </a:pPr>
            <a:endParaRPr lang="en-US" sz="2379" kern="0" dirty="0">
              <a:solidFill>
                <a:srgbClr val="FFFFFF"/>
              </a:solidFill>
              <a:latin typeface="Segoe UI"/>
              <a:cs typeface="Segoe UI" panose="020B0502040204020203" pitchFamily="34" charset="0"/>
            </a:endParaRPr>
          </a:p>
          <a:p>
            <a:pPr defTabSz="932563">
              <a:defRPr/>
            </a:pPr>
            <a:r>
              <a:rPr lang="en-US" sz="2379" kern="0" dirty="0">
                <a:solidFill>
                  <a:srgbClr val="FFFFFF"/>
                </a:solidFill>
                <a:latin typeface="Segoe UI"/>
              </a:rPr>
              <a:t>Includes </a:t>
            </a:r>
            <a:r>
              <a:rPr lang="en-US" sz="2379" b="1" kern="0" dirty="0">
                <a:solidFill>
                  <a:srgbClr val="FFFFFF"/>
                </a:solidFill>
                <a:latin typeface="Segoe UI"/>
              </a:rPr>
              <a:t>U-SQL</a:t>
            </a:r>
            <a:r>
              <a:rPr lang="en-US" sz="2379" kern="0" dirty="0">
                <a:solidFill>
                  <a:srgbClr val="FFFFFF"/>
                </a:solidFill>
                <a:latin typeface="Segoe UI"/>
              </a:rPr>
              <a:t>, a language that unifies the benefits of SQL with the expressive power of C#</a:t>
            </a:r>
            <a:endParaRPr lang="en-US" sz="2379" kern="0" dirty="0">
              <a:solidFill>
                <a:srgbClr val="FFFFFF"/>
              </a:solidFill>
              <a:latin typeface="Segoe UI"/>
              <a:cs typeface="Segoe UI" panose="020B0502040204020203" pitchFamily="34" charset="0"/>
            </a:endParaRPr>
          </a:p>
          <a:p>
            <a:pPr defTabSz="932563">
              <a:defRPr/>
            </a:pPr>
            <a:endParaRPr lang="en-US" sz="2379" kern="0" dirty="0">
              <a:solidFill>
                <a:srgbClr val="FFFFFF"/>
              </a:solidFill>
              <a:latin typeface="Segoe UI"/>
              <a:cs typeface="Segoe UI" panose="020B0502040204020203" pitchFamily="34" charset="0"/>
            </a:endParaRPr>
          </a:p>
          <a:p>
            <a:pPr defTabSz="932563">
              <a:defRPr/>
            </a:pPr>
            <a:r>
              <a:rPr lang="en-US" sz="2379" kern="0" dirty="0">
                <a:solidFill>
                  <a:srgbClr val="FFFFFF"/>
                </a:solidFill>
                <a:latin typeface="Segoe UI"/>
                <a:cs typeface="Segoe UI" panose="020B0502040204020203" pitchFamily="34" charset="0"/>
              </a:rPr>
              <a:t>Optimized to work with </a:t>
            </a:r>
            <a:r>
              <a:rPr lang="en-US" sz="2379" b="1" kern="0" dirty="0">
                <a:solidFill>
                  <a:srgbClr val="FFFFFF"/>
                </a:solidFill>
                <a:latin typeface="Segoe UI"/>
                <a:cs typeface="Segoe UI" panose="020B0502040204020203" pitchFamily="34" charset="0"/>
              </a:rPr>
              <a:t>ADL STORE</a:t>
            </a:r>
          </a:p>
          <a:p>
            <a:pPr defTabSz="932563">
              <a:defRPr/>
            </a:pPr>
            <a:endParaRPr lang="en-US" sz="2379" kern="0" dirty="0">
              <a:solidFill>
                <a:srgbClr val="FFFFFF"/>
              </a:solidFill>
              <a:latin typeface="Segoe UI"/>
            </a:endParaRPr>
          </a:p>
          <a:p>
            <a:pPr defTabSz="932563">
              <a:defRPr/>
            </a:pPr>
            <a:r>
              <a:rPr lang="en-US" sz="2379" kern="0" dirty="0">
                <a:solidFill>
                  <a:srgbClr val="FFFFFF"/>
                </a:solidFill>
                <a:latin typeface="Segoe UI"/>
              </a:rPr>
              <a:t>massive </a:t>
            </a:r>
            <a:r>
              <a:rPr lang="en-US" sz="2379" b="1" kern="0" dirty="0">
                <a:solidFill>
                  <a:srgbClr val="FFFFFF"/>
                </a:solidFill>
                <a:latin typeface="Segoe UI"/>
              </a:rPr>
              <a:t>PARALLELIZATION</a:t>
            </a:r>
            <a:r>
              <a:rPr lang="en-US" sz="2379" kern="0" dirty="0">
                <a:solidFill>
                  <a:srgbClr val="FFFFFF"/>
                </a:solidFill>
                <a:latin typeface="Segoe UI"/>
              </a:rPr>
              <a:t> with simplicity</a:t>
            </a:r>
          </a:p>
          <a:p>
            <a:pPr defTabSz="932563">
              <a:defRPr/>
            </a:pPr>
            <a:endParaRPr lang="en-US" sz="2379" kern="0" dirty="0">
              <a:solidFill>
                <a:srgbClr val="FFFFFF"/>
              </a:solidFill>
              <a:latin typeface="Segoe UI"/>
            </a:endParaRPr>
          </a:p>
          <a:p>
            <a:pPr defTabSz="777000">
              <a:defRPr/>
            </a:pPr>
            <a:r>
              <a:rPr lang="en-US" sz="2379" b="1" kern="0" dirty="0">
                <a:solidFill>
                  <a:srgbClr val="FFFFFF"/>
                </a:solidFill>
                <a:latin typeface="Segoe UI"/>
                <a:cs typeface="Segoe UI" panose="020B0502040204020203" pitchFamily="34" charset="0"/>
              </a:rPr>
              <a:t>ENTERPRISE GRADE </a:t>
            </a:r>
            <a:r>
              <a:rPr lang="en-US" sz="2379" kern="0" dirty="0">
                <a:solidFill>
                  <a:srgbClr val="FFFFFF"/>
                </a:solidFill>
                <a:latin typeface="Segoe UI"/>
                <a:cs typeface="Segoe UI" panose="020B0502040204020203" pitchFamily="34" charset="0"/>
              </a:rPr>
              <a:t>role-based access control and auditing</a:t>
            </a:r>
            <a:endParaRPr lang="en-US" sz="2379" b="1" kern="0" dirty="0">
              <a:solidFill>
                <a:srgbClr val="FFFFFF"/>
              </a:solidFill>
              <a:latin typeface="Segoe UI"/>
              <a:cs typeface="Segoe UI" panose="020B0502040204020203" pitchFamily="34" charset="0"/>
            </a:endParaRPr>
          </a:p>
          <a:p>
            <a:pPr defTabSz="777000">
              <a:defRPr/>
            </a:pPr>
            <a:endParaRPr lang="en-US" sz="2379" b="1" kern="0" dirty="0">
              <a:solidFill>
                <a:srgbClr val="FFFFFF"/>
              </a:solidFill>
              <a:latin typeface="Segoe UI"/>
              <a:cs typeface="Segoe UI" panose="020B0502040204020203" pitchFamily="34" charset="0"/>
            </a:endParaRPr>
          </a:p>
          <a:p>
            <a:pPr defTabSz="932563">
              <a:defRPr/>
            </a:pPr>
            <a:r>
              <a:rPr lang="en-US" sz="2379" kern="0" dirty="0">
                <a:solidFill>
                  <a:srgbClr val="FFFFFF"/>
                </a:solidFill>
                <a:latin typeface="Segoe UI"/>
              </a:rPr>
              <a:t>Pay </a:t>
            </a:r>
            <a:r>
              <a:rPr lang="en-US" sz="2379" b="1" kern="0" dirty="0">
                <a:solidFill>
                  <a:srgbClr val="FFFFFF"/>
                </a:solidFill>
                <a:latin typeface="Segoe UI"/>
              </a:rPr>
              <a:t>PER QUERY</a:t>
            </a:r>
            <a:r>
              <a:rPr lang="en-US" sz="2379" kern="0" dirty="0">
                <a:solidFill>
                  <a:srgbClr val="FFFFFF"/>
                </a:solidFill>
                <a:latin typeface="Segoe UI"/>
              </a:rPr>
              <a:t> and scale </a:t>
            </a:r>
            <a:r>
              <a:rPr lang="en-US" sz="2379" b="1" kern="0" dirty="0">
                <a:solidFill>
                  <a:srgbClr val="FFFFFF"/>
                </a:solidFill>
                <a:latin typeface="Segoe UI"/>
              </a:rPr>
              <a:t>PER QUERY</a:t>
            </a:r>
            <a:endParaRPr lang="en-US" sz="2379" kern="0" dirty="0">
              <a:solidFill>
                <a:srgbClr val="FFFFFF"/>
              </a:solidFill>
              <a:latin typeface="Segoe UI"/>
            </a:endParaRPr>
          </a:p>
          <a:p>
            <a:pPr defTabSz="777000">
              <a:defRPr/>
            </a:pPr>
            <a:endParaRPr lang="en-US" sz="2379" kern="0" dirty="0">
              <a:solidFill>
                <a:srgbClr val="FFFFFF"/>
              </a:solidFill>
              <a:latin typeface="Segoe UI"/>
              <a:cs typeface="Segoe UI" panose="020B0502040204020203" pitchFamily="34" charset="0"/>
            </a:endParaRPr>
          </a:p>
          <a:p>
            <a:pPr defTabSz="777000">
              <a:defRPr/>
            </a:pPr>
            <a:endParaRPr lang="en-US" sz="2379" b="1" kern="0" dirty="0">
              <a:solidFill>
                <a:srgbClr val="FFFFFF"/>
              </a:solidFill>
              <a:latin typeface="Segoe UI"/>
              <a:cs typeface="Segoe UI" panose="020B0502040204020203" pitchFamily="34" charset="0"/>
            </a:endParaRPr>
          </a:p>
        </p:txBody>
      </p:sp>
      <p:sp>
        <p:nvSpPr>
          <p:cNvPr id="15" name="Title 1"/>
          <p:cNvSpPr txBox="1">
            <a:spLocks/>
          </p:cNvSpPr>
          <p:nvPr/>
        </p:nvSpPr>
        <p:spPr>
          <a:xfrm>
            <a:off x="196028" y="2137410"/>
            <a:ext cx="4856621" cy="1513472"/>
          </a:xfrm>
          <a:prstGeom prst="rect">
            <a:avLst/>
          </a:prstGeom>
        </p:spPr>
        <p:txBody>
          <a:bodyPr/>
          <a:lst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a:lstStyle>
          <a:p>
            <a:pPr defTabSz="932399">
              <a:defRPr/>
            </a:pPr>
            <a:r>
              <a:rPr lang="en-US" sz="5098" spc="-126" dirty="0">
                <a:solidFill>
                  <a:srgbClr val="FFFFFF"/>
                </a:solidFill>
                <a:latin typeface="Segoe UI Light"/>
              </a:rPr>
              <a:t>Azure Data Lake Analytics</a:t>
            </a:r>
          </a:p>
        </p:txBody>
      </p:sp>
      <p:sp>
        <p:nvSpPr>
          <p:cNvPr id="16" name="Title 2"/>
          <p:cNvSpPr txBox="1">
            <a:spLocks/>
          </p:cNvSpPr>
          <p:nvPr/>
        </p:nvSpPr>
        <p:spPr>
          <a:xfrm>
            <a:off x="196029" y="3579810"/>
            <a:ext cx="5050884" cy="1481429"/>
          </a:xfrm>
          <a:prstGeom prst="rect">
            <a:avLst/>
          </a:prstGeom>
        </p:spPr>
        <p:txBody>
          <a:bodyPr vert="horz" wrap="square" lIns="146263" tIns="91414" rIns="146263" bIns="91414" rtlCol="0" anchor="t">
            <a:spAutoFit/>
          </a:bodyPr>
          <a:lstStyle>
            <a:lvl1pPr algn="l" defTabSz="931863" rtl="0" fontAlgn="base">
              <a:lnSpc>
                <a:spcPct val="90000"/>
              </a:lnSpc>
              <a:spcBef>
                <a:spcPct val="0"/>
              </a:spcBef>
              <a:spcAft>
                <a:spcPct val="0"/>
              </a:spcAft>
              <a:defRPr lang="en-US" sz="5400" kern="1200" spc="-102" dirty="0">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defTabSz="950407">
              <a:defRPr/>
            </a:pPr>
            <a:r>
              <a:rPr lang="en-US" sz="3060" spc="-104" dirty="0">
                <a:solidFill>
                  <a:srgbClr val="FFFFFF"/>
                </a:solidFill>
                <a:latin typeface="Segoe UI Light"/>
              </a:rPr>
              <a:t>An on-demand analytics job service to power intelligent action</a:t>
            </a:r>
          </a:p>
        </p:txBody>
      </p:sp>
      <p:cxnSp>
        <p:nvCxnSpPr>
          <p:cNvPr id="3" name="Straight Connector 2"/>
          <p:cNvCxnSpPr/>
          <p:nvPr/>
        </p:nvCxnSpPr>
        <p:spPr>
          <a:xfrm>
            <a:off x="5052648" y="653032"/>
            <a:ext cx="0" cy="5688462"/>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p:nvPicPr>
        <p:blipFill>
          <a:blip r:embed="rId4">
            <a:clrChange>
              <a:clrFrom>
                <a:srgbClr val="FFFFFF"/>
              </a:clrFrom>
              <a:clrTo>
                <a:srgbClr val="FFFFFF">
                  <a:alpha val="0"/>
                </a:srgbClr>
              </a:clrTo>
            </a:clrChange>
            <a:biLevel thresh="25000"/>
          </a:blip>
          <a:stretch>
            <a:fillRect/>
          </a:stretch>
        </p:blipFill>
        <p:spPr>
          <a:xfrm>
            <a:off x="11018157" y="68749"/>
            <a:ext cx="1380929" cy="1356168"/>
          </a:xfrm>
          <a:prstGeom prst="rect">
            <a:avLst/>
          </a:prstGeom>
        </p:spPr>
      </p:pic>
      <p:sp>
        <p:nvSpPr>
          <p:cNvPr id="2" name="TextBox 1"/>
          <p:cNvSpPr txBox="1"/>
          <p:nvPr/>
        </p:nvSpPr>
        <p:spPr>
          <a:xfrm>
            <a:off x="10332454" y="6240073"/>
            <a:ext cx="1980919" cy="627822"/>
          </a:xfrm>
          <a:prstGeom prst="rect">
            <a:avLst/>
          </a:prstGeom>
          <a:noFill/>
        </p:spPr>
        <p:txBody>
          <a:bodyPr wrap="square" lIns="182854" tIns="146283" rIns="182854" bIns="146283" rtlCol="0">
            <a:spAutoFit/>
          </a:bodyPr>
          <a:lstStyle/>
          <a:p>
            <a:pPr defTabSz="932563">
              <a:lnSpc>
                <a:spcPct val="90000"/>
              </a:lnSpc>
              <a:spcAft>
                <a:spcPts val="600"/>
              </a:spcAft>
              <a:defRPr/>
            </a:pPr>
            <a:r>
              <a:rPr lang="en-US" sz="2400" kern="0" dirty="0">
                <a:solidFill>
                  <a:srgbClr val="9BD2FF">
                    <a:lumMod val="90000"/>
                  </a:srgbClr>
                </a:solidFill>
                <a:latin typeface="Segoe UI"/>
              </a:rPr>
              <a:t>IN PREVIEW</a:t>
            </a:r>
          </a:p>
        </p:txBody>
      </p:sp>
    </p:spTree>
    <p:extLst>
      <p:ext uri="{BB962C8B-B14F-4D97-AF65-F5344CB8AC3E}">
        <p14:creationId xmlns:p14="http://schemas.microsoft.com/office/powerpoint/2010/main" val="29846608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11594338" y="6761307"/>
            <a:ext cx="566657" cy="136525"/>
          </a:xfrm>
          <a:prstGeom prst="rect">
            <a:avLst/>
          </a:prstGeom>
        </p:spPr>
        <p:txBody>
          <a:bodyPr/>
          <a:lstStyle/>
          <a:p>
            <a:pPr defTabSz="932597">
              <a:defRPr/>
            </a:pPr>
            <a:fld id="{75FAD755-3BD0-2447-A9DF-109DAABEFD99}" type="slidenum">
              <a:rPr sz="1836" kern="0">
                <a:solidFill>
                  <a:sysClr val="windowText" lastClr="000000"/>
                </a:solidFill>
              </a:rPr>
              <a:pPr defTabSz="932597">
                <a:defRPr/>
              </a:pPr>
              <a:t>7</a:t>
            </a:fld>
            <a:endParaRPr sz="1836" kern="0" dirty="0">
              <a:solidFill>
                <a:sysClr val="windowText" lastClr="000000"/>
              </a:solidFill>
            </a:endParaRPr>
          </a:p>
        </p:txBody>
      </p:sp>
      <p:pic>
        <p:nvPicPr>
          <p:cNvPr id="592" name="Picture 591"/>
          <p:cNvPicPr>
            <a:picLocks noChangeAspect="1"/>
          </p:cNvPicPr>
          <p:nvPr/>
        </p:nvPicPr>
        <p:blipFill>
          <a:blip r:embed="rId3"/>
          <a:stretch>
            <a:fillRect/>
          </a:stretch>
        </p:blipFill>
        <p:spPr>
          <a:xfrm>
            <a:off x="9329214" y="3401056"/>
            <a:ext cx="1781790" cy="1781790"/>
          </a:xfrm>
          <a:prstGeom prst="rect">
            <a:avLst/>
          </a:prstGeom>
        </p:spPr>
      </p:pic>
      <p:grpSp>
        <p:nvGrpSpPr>
          <p:cNvPr id="8" name="Group 7"/>
          <p:cNvGrpSpPr/>
          <p:nvPr/>
        </p:nvGrpSpPr>
        <p:grpSpPr>
          <a:xfrm>
            <a:off x="9734734" y="2029409"/>
            <a:ext cx="2690385" cy="3841571"/>
            <a:chOff x="9543859" y="1989798"/>
            <a:chExt cx="2637872" cy="3766588"/>
          </a:xfrm>
        </p:grpSpPr>
        <p:sp>
          <p:nvSpPr>
            <p:cNvPr id="42" name="Rectangle 41"/>
            <p:cNvSpPr/>
            <p:nvPr/>
          </p:nvSpPr>
          <p:spPr bwMode="auto">
            <a:xfrm>
              <a:off x="9543859" y="1989798"/>
              <a:ext cx="2225327" cy="375417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93260" rIns="9326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3260" defTabSz="950989" fontAlgn="base">
                <a:spcBef>
                  <a:spcPct val="0"/>
                </a:spcBef>
                <a:spcAft>
                  <a:spcPct val="0"/>
                </a:spcAft>
                <a:defRPr/>
              </a:pPr>
              <a:r>
                <a:rPr lang="en-US" sz="2040" dirty="0">
                  <a:solidFill>
                    <a:srgbClr val="FFFFFF"/>
                  </a:solidFill>
                  <a:latin typeface="+mj-lt"/>
                  <a:ea typeface="Segoe UI" pitchFamily="34" charset="0"/>
                  <a:cs typeface="Segoe UI Semibold" panose="020B0702040204020203" pitchFamily="34" charset="0"/>
                </a:rPr>
                <a:t>Enterprise-grade security, auditing and support</a:t>
              </a:r>
            </a:p>
          </p:txBody>
        </p:sp>
        <p:pic>
          <p:nvPicPr>
            <p:cNvPr id="610" name="Picture 609"/>
            <p:cNvPicPr>
              <a:picLocks noChangeAspect="1"/>
            </p:cNvPicPr>
            <p:nvPr/>
          </p:nvPicPr>
          <p:blipFill>
            <a:blip r:embed="rId4"/>
            <a:stretch>
              <a:fillRect/>
            </a:stretch>
          </p:blipFill>
          <p:spPr>
            <a:xfrm>
              <a:off x="10179925" y="3754580"/>
              <a:ext cx="2001806" cy="2001806"/>
            </a:xfrm>
            <a:prstGeom prst="rect">
              <a:avLst/>
            </a:prstGeom>
          </p:spPr>
        </p:pic>
        <p:pic>
          <p:nvPicPr>
            <p:cNvPr id="611" name="Picture 610"/>
            <p:cNvPicPr>
              <a:picLocks noChangeAspect="1"/>
            </p:cNvPicPr>
            <p:nvPr/>
          </p:nvPicPr>
          <p:blipFill>
            <a:blip r:embed="rId5"/>
            <a:stretch>
              <a:fillRect/>
            </a:stretch>
          </p:blipFill>
          <p:spPr>
            <a:xfrm>
              <a:off x="9702960" y="4898805"/>
              <a:ext cx="800927" cy="548003"/>
            </a:xfrm>
            <a:prstGeom prst="rect">
              <a:avLst/>
            </a:prstGeom>
          </p:spPr>
        </p:pic>
      </p:grpSp>
      <p:grpSp>
        <p:nvGrpSpPr>
          <p:cNvPr id="6" name="Group 5"/>
          <p:cNvGrpSpPr/>
          <p:nvPr/>
        </p:nvGrpSpPr>
        <p:grpSpPr>
          <a:xfrm>
            <a:off x="4964854" y="2029409"/>
            <a:ext cx="2611289" cy="4048357"/>
            <a:chOff x="4867081" y="1989798"/>
            <a:chExt cx="2560320" cy="3969338"/>
          </a:xfrm>
        </p:grpSpPr>
        <p:sp>
          <p:nvSpPr>
            <p:cNvPr id="38" name="Rectangle 37"/>
            <p:cNvSpPr/>
            <p:nvPr/>
          </p:nvSpPr>
          <p:spPr bwMode="auto">
            <a:xfrm>
              <a:off x="4986922" y="1989798"/>
              <a:ext cx="2225327" cy="375417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93260" rIns="9326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3260" defTabSz="950989" fontAlgn="base">
                <a:spcBef>
                  <a:spcPct val="0"/>
                </a:spcBef>
                <a:spcAft>
                  <a:spcPct val="0"/>
                </a:spcAft>
                <a:defRPr/>
              </a:pPr>
              <a:r>
                <a:rPr lang="en-US" sz="2040" dirty="0">
                  <a:solidFill>
                    <a:srgbClr val="FFFFFF"/>
                  </a:solidFill>
                  <a:latin typeface="+mj-lt"/>
                  <a:ea typeface="Segoe UI" pitchFamily="34" charset="0"/>
                  <a:cs typeface="Segoe UI Semibold" panose="020B0702040204020203" pitchFamily="34" charset="0"/>
                </a:rPr>
                <a:t>Debug and optimize your Big Data programs with ease</a:t>
              </a:r>
            </a:p>
          </p:txBody>
        </p:sp>
        <p:pic>
          <p:nvPicPr>
            <p:cNvPr id="620" name="Picture 619"/>
            <p:cNvPicPr>
              <a:picLocks noChangeAspect="1"/>
            </p:cNvPicPr>
            <p:nvPr/>
          </p:nvPicPr>
          <p:blipFill>
            <a:blip r:embed="rId6"/>
            <a:stretch>
              <a:fillRect/>
            </a:stretch>
          </p:blipFill>
          <p:spPr>
            <a:xfrm>
              <a:off x="4867081" y="3398816"/>
              <a:ext cx="2560320" cy="2560320"/>
            </a:xfrm>
            <a:prstGeom prst="rect">
              <a:avLst/>
            </a:prstGeom>
          </p:spPr>
        </p:pic>
      </p:grpSp>
      <p:grpSp>
        <p:nvGrpSpPr>
          <p:cNvPr id="4" name="Group 3"/>
          <p:cNvGrpSpPr/>
          <p:nvPr/>
        </p:nvGrpSpPr>
        <p:grpSpPr>
          <a:xfrm>
            <a:off x="2748261" y="2029409"/>
            <a:ext cx="2269627" cy="3828914"/>
            <a:chOff x="2693753" y="1989798"/>
            <a:chExt cx="2225327" cy="3754178"/>
          </a:xfrm>
        </p:grpSpPr>
        <p:sp>
          <p:nvSpPr>
            <p:cNvPr id="16" name="Rectangle 15"/>
            <p:cNvSpPr/>
            <p:nvPr/>
          </p:nvSpPr>
          <p:spPr bwMode="auto">
            <a:xfrm>
              <a:off x="2693753" y="1989798"/>
              <a:ext cx="2225327" cy="375417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93260" rIns="9326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3260" defTabSz="950989" fontAlgn="base">
                <a:spcBef>
                  <a:spcPct val="0"/>
                </a:spcBef>
                <a:spcAft>
                  <a:spcPct val="0"/>
                </a:spcAft>
                <a:defRPr/>
              </a:pPr>
              <a:r>
                <a:rPr lang="en-US" sz="2040" dirty="0">
                  <a:solidFill>
                    <a:srgbClr val="FFFFFF"/>
                  </a:solidFill>
                  <a:latin typeface="+mj-lt"/>
                  <a:ea typeface="Segoe UI" pitchFamily="34" charset="0"/>
                  <a:cs typeface="Segoe UI Semibold" panose="020B0702040204020203" pitchFamily="34" charset="0"/>
                </a:rPr>
                <a:t>Develop massively parallel programs with simplicity</a:t>
              </a:r>
              <a:endParaRPr lang="en-US" sz="2448" dirty="0">
                <a:solidFill>
                  <a:srgbClr val="FFFFFF"/>
                </a:solidFill>
                <a:latin typeface="+mj-lt"/>
                <a:ea typeface="Segoe UI" pitchFamily="34" charset="0"/>
                <a:cs typeface="Segoe UI Semibold" panose="020B0702040204020203" pitchFamily="34" charset="0"/>
              </a:endParaRPr>
            </a:p>
          </p:txBody>
        </p:sp>
        <p:pic>
          <p:nvPicPr>
            <p:cNvPr id="820" name="Picture 2" descr="https://issues.jboss.org/secure/attachment/12358227/modeshape-scale-out.png"/>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2804029" y="4349663"/>
              <a:ext cx="2012182" cy="1174899"/>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71" name="Title 1"/>
          <p:cNvSpPr>
            <a:spLocks noGrp="1"/>
          </p:cNvSpPr>
          <p:nvPr>
            <p:ph type="title"/>
          </p:nvPr>
        </p:nvSpPr>
        <p:spPr>
          <a:xfrm>
            <a:off x="275163" y="292082"/>
            <a:ext cx="11885514" cy="946413"/>
          </a:xfrm>
        </p:spPr>
        <p:txBody>
          <a:bodyPr/>
          <a:lstStyle/>
          <a:p>
            <a:r>
              <a:rPr lang="en-US" dirty="0"/>
              <a:t>Azure Data Lake Analytics</a:t>
            </a:r>
            <a:endParaRPr lang="en-US" sz="3672" dirty="0">
              <a:solidFill>
                <a:schemeClr val="accent2"/>
              </a:solidFill>
            </a:endParaRPr>
          </a:p>
        </p:txBody>
      </p:sp>
      <p:grpSp>
        <p:nvGrpSpPr>
          <p:cNvPr id="7" name="Group 6"/>
          <p:cNvGrpSpPr/>
          <p:nvPr/>
        </p:nvGrpSpPr>
        <p:grpSpPr>
          <a:xfrm>
            <a:off x="7327889" y="2029409"/>
            <a:ext cx="2435661" cy="3828914"/>
            <a:chOff x="7183993" y="1989798"/>
            <a:chExt cx="2388120" cy="3754178"/>
          </a:xfrm>
        </p:grpSpPr>
        <p:sp>
          <p:nvSpPr>
            <p:cNvPr id="36" name="Rectangle 35"/>
            <p:cNvSpPr/>
            <p:nvPr/>
          </p:nvSpPr>
          <p:spPr bwMode="auto">
            <a:xfrm>
              <a:off x="7265390" y="1989798"/>
              <a:ext cx="2225327" cy="375417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93260" rIns="9326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3260" defTabSz="950989" fontAlgn="base">
                <a:spcBef>
                  <a:spcPct val="0"/>
                </a:spcBef>
                <a:spcAft>
                  <a:spcPct val="0"/>
                </a:spcAft>
                <a:defRPr/>
              </a:pPr>
              <a:r>
                <a:rPr lang="en-US" sz="2040" dirty="0">
                  <a:solidFill>
                    <a:srgbClr val="FFFFFF"/>
                  </a:solidFill>
                  <a:latin typeface="+mj-lt"/>
                  <a:ea typeface="Segoe UI" pitchFamily="34" charset="0"/>
                  <a:cs typeface="Segoe UI Semibold" panose="020B0702040204020203" pitchFamily="34" charset="0"/>
                </a:rPr>
                <a:t>Virtualize your analytics</a:t>
              </a:r>
              <a:endParaRPr lang="en-US" sz="2448" dirty="0">
                <a:solidFill>
                  <a:srgbClr val="FFFFFF"/>
                </a:solidFill>
                <a:latin typeface="+mj-lt"/>
                <a:ea typeface="Segoe UI" pitchFamily="34" charset="0"/>
                <a:cs typeface="Segoe UI Semibold" panose="020B0702040204020203" pitchFamily="34" charset="0"/>
              </a:endParaRPr>
            </a:p>
          </p:txBody>
        </p:sp>
        <p:sp>
          <p:nvSpPr>
            <p:cNvPr id="819" name="Rectangle 818"/>
            <p:cNvSpPr/>
            <p:nvPr/>
          </p:nvSpPr>
          <p:spPr>
            <a:xfrm>
              <a:off x="7183993" y="3958872"/>
              <a:ext cx="2388120" cy="1783582"/>
            </a:xfrm>
            <a:prstGeom prst="rect">
              <a:avLst/>
            </a:prstGeom>
          </p:spPr>
          <p:txBody>
            <a:bodyPr wrap="square">
              <a:spAutoFit/>
            </a:bodyPr>
            <a:lstStyle/>
            <a:p>
              <a:pPr defTabSz="931881">
                <a:defRPr/>
              </a:pPr>
              <a:r>
                <a:rPr lang="en-US" sz="1122" kern="0" dirty="0">
                  <a:solidFill>
                    <a:schemeClr val="accent1">
                      <a:lumMod val="75000"/>
                      <a:lumOff val="25000"/>
                    </a:schemeClr>
                  </a:solidFill>
                  <a:latin typeface="Segoe UI Semibold" panose="020B0702040204020203" pitchFamily="34" charset="0"/>
                  <a:cs typeface="Segoe UI Semibold" panose="020B0702040204020203" pitchFamily="34" charset="0"/>
                </a:rPr>
                <a:t>010010100100010101010010100100010101010010100100010101010010100100010101010010100100010101010010100100010101010010100100010101010010100100010101010010100100010101010010100100010101010010100100010101010010100100010101010010100100010101010010100100010101010010100100010101010010100100010101010010100100010101010010100</a:t>
              </a:r>
            </a:p>
          </p:txBody>
        </p:sp>
        <p:grpSp>
          <p:nvGrpSpPr>
            <p:cNvPr id="711" name="Group 710"/>
            <p:cNvGrpSpPr/>
            <p:nvPr/>
          </p:nvGrpSpPr>
          <p:grpSpPr>
            <a:xfrm>
              <a:off x="8717199" y="4149475"/>
              <a:ext cx="638976" cy="445613"/>
              <a:chOff x="6942579" y="498882"/>
              <a:chExt cx="287338" cy="255587"/>
            </a:xfrm>
          </p:grpSpPr>
          <p:sp>
            <p:nvSpPr>
              <p:cNvPr id="640" name="Freeform 96"/>
              <p:cNvSpPr>
                <a:spLocks/>
              </p:cNvSpPr>
              <p:nvPr/>
            </p:nvSpPr>
            <p:spPr bwMode="auto">
              <a:xfrm>
                <a:off x="7006079" y="605244"/>
                <a:ext cx="153988" cy="57150"/>
              </a:xfrm>
              <a:custGeom>
                <a:avLst/>
                <a:gdLst>
                  <a:gd name="T0" fmla="*/ 100 w 206"/>
                  <a:gd name="T1" fmla="*/ 0 h 77"/>
                  <a:gd name="T2" fmla="*/ 0 w 206"/>
                  <a:gd name="T3" fmla="*/ 40 h 77"/>
                  <a:gd name="T4" fmla="*/ 24 w 206"/>
                  <a:gd name="T5" fmla="*/ 72 h 77"/>
                  <a:gd name="T6" fmla="*/ 100 w 206"/>
                  <a:gd name="T7" fmla="*/ 40 h 77"/>
                  <a:gd name="T8" fmla="*/ 180 w 206"/>
                  <a:gd name="T9" fmla="*/ 77 h 77"/>
                  <a:gd name="T10" fmla="*/ 206 w 206"/>
                  <a:gd name="T11" fmla="*/ 46 h 77"/>
                  <a:gd name="T12" fmla="*/ 100 w 206"/>
                  <a:gd name="T13" fmla="*/ 0 h 77"/>
                </a:gdLst>
                <a:ahLst/>
                <a:cxnLst>
                  <a:cxn ang="0">
                    <a:pos x="T0" y="T1"/>
                  </a:cxn>
                  <a:cxn ang="0">
                    <a:pos x="T2" y="T3"/>
                  </a:cxn>
                  <a:cxn ang="0">
                    <a:pos x="T4" y="T5"/>
                  </a:cxn>
                  <a:cxn ang="0">
                    <a:pos x="T6" y="T7"/>
                  </a:cxn>
                  <a:cxn ang="0">
                    <a:pos x="T8" y="T9"/>
                  </a:cxn>
                  <a:cxn ang="0">
                    <a:pos x="T10" y="T11"/>
                  </a:cxn>
                  <a:cxn ang="0">
                    <a:pos x="T12" y="T13"/>
                  </a:cxn>
                </a:cxnLst>
                <a:rect l="0" t="0" r="r" b="b"/>
                <a:pathLst>
                  <a:path w="206" h="77">
                    <a:moveTo>
                      <a:pt x="100" y="0"/>
                    </a:moveTo>
                    <a:cubicBezTo>
                      <a:pt x="61" y="0"/>
                      <a:pt x="26" y="15"/>
                      <a:pt x="0" y="40"/>
                    </a:cubicBezTo>
                    <a:cubicBezTo>
                      <a:pt x="24" y="72"/>
                      <a:pt x="24" y="72"/>
                      <a:pt x="24" y="72"/>
                    </a:cubicBezTo>
                    <a:cubicBezTo>
                      <a:pt x="43" y="53"/>
                      <a:pt x="70" y="40"/>
                      <a:pt x="100" y="40"/>
                    </a:cubicBezTo>
                    <a:cubicBezTo>
                      <a:pt x="132" y="40"/>
                      <a:pt x="160" y="55"/>
                      <a:pt x="180" y="77"/>
                    </a:cubicBezTo>
                    <a:cubicBezTo>
                      <a:pt x="206" y="46"/>
                      <a:pt x="206" y="46"/>
                      <a:pt x="206" y="46"/>
                    </a:cubicBezTo>
                    <a:cubicBezTo>
                      <a:pt x="179" y="18"/>
                      <a:pt x="142" y="0"/>
                      <a:pt x="10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41" name="Freeform 97"/>
              <p:cNvSpPr>
                <a:spLocks/>
              </p:cNvSpPr>
              <p:nvPr/>
            </p:nvSpPr>
            <p:spPr bwMode="auto">
              <a:xfrm>
                <a:off x="6974329" y="551269"/>
                <a:ext cx="220663" cy="71438"/>
              </a:xfrm>
              <a:custGeom>
                <a:avLst/>
                <a:gdLst>
                  <a:gd name="T0" fmla="*/ 0 w 295"/>
                  <a:gd name="T1" fmla="*/ 53 h 94"/>
                  <a:gd name="T2" fmla="*/ 24 w 295"/>
                  <a:gd name="T3" fmla="*/ 85 h 94"/>
                  <a:gd name="T4" fmla="*/ 142 w 295"/>
                  <a:gd name="T5" fmla="*/ 40 h 94"/>
                  <a:gd name="T6" fmla="*/ 269 w 295"/>
                  <a:gd name="T7" fmla="*/ 94 h 94"/>
                  <a:gd name="T8" fmla="*/ 295 w 295"/>
                  <a:gd name="T9" fmla="*/ 64 h 94"/>
                  <a:gd name="T10" fmla="*/ 142 w 295"/>
                  <a:gd name="T11" fmla="*/ 0 h 94"/>
                  <a:gd name="T12" fmla="*/ 0 w 295"/>
                  <a:gd name="T13" fmla="*/ 53 h 94"/>
                </a:gdLst>
                <a:ahLst/>
                <a:cxnLst>
                  <a:cxn ang="0">
                    <a:pos x="T0" y="T1"/>
                  </a:cxn>
                  <a:cxn ang="0">
                    <a:pos x="T2" y="T3"/>
                  </a:cxn>
                  <a:cxn ang="0">
                    <a:pos x="T4" y="T5"/>
                  </a:cxn>
                  <a:cxn ang="0">
                    <a:pos x="T6" y="T7"/>
                  </a:cxn>
                  <a:cxn ang="0">
                    <a:pos x="T8" y="T9"/>
                  </a:cxn>
                  <a:cxn ang="0">
                    <a:pos x="T10" y="T11"/>
                  </a:cxn>
                  <a:cxn ang="0">
                    <a:pos x="T12" y="T13"/>
                  </a:cxn>
                </a:cxnLst>
                <a:rect l="0" t="0" r="r" b="b"/>
                <a:pathLst>
                  <a:path w="295" h="94">
                    <a:moveTo>
                      <a:pt x="0" y="53"/>
                    </a:moveTo>
                    <a:cubicBezTo>
                      <a:pt x="24" y="85"/>
                      <a:pt x="24" y="85"/>
                      <a:pt x="24" y="85"/>
                    </a:cubicBezTo>
                    <a:cubicBezTo>
                      <a:pt x="55" y="57"/>
                      <a:pt x="96" y="40"/>
                      <a:pt x="142" y="40"/>
                    </a:cubicBezTo>
                    <a:cubicBezTo>
                      <a:pt x="192" y="40"/>
                      <a:pt x="237" y="61"/>
                      <a:pt x="269" y="94"/>
                    </a:cubicBezTo>
                    <a:cubicBezTo>
                      <a:pt x="295" y="64"/>
                      <a:pt x="295" y="64"/>
                      <a:pt x="295" y="64"/>
                    </a:cubicBezTo>
                    <a:cubicBezTo>
                      <a:pt x="256" y="25"/>
                      <a:pt x="201" y="0"/>
                      <a:pt x="142" y="0"/>
                    </a:cubicBezTo>
                    <a:cubicBezTo>
                      <a:pt x="88" y="0"/>
                      <a:pt x="38" y="20"/>
                      <a:pt x="0"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42" name="Freeform 98"/>
              <p:cNvSpPr>
                <a:spLocks/>
              </p:cNvSpPr>
              <p:nvPr/>
            </p:nvSpPr>
            <p:spPr bwMode="auto">
              <a:xfrm>
                <a:off x="6942579" y="498882"/>
                <a:ext cx="287338" cy="82550"/>
              </a:xfrm>
              <a:custGeom>
                <a:avLst/>
                <a:gdLst>
                  <a:gd name="T0" fmla="*/ 184 w 384"/>
                  <a:gd name="T1" fmla="*/ 40 h 111"/>
                  <a:gd name="T2" fmla="*/ 358 w 384"/>
                  <a:gd name="T3" fmla="*/ 111 h 111"/>
                  <a:gd name="T4" fmla="*/ 384 w 384"/>
                  <a:gd name="T5" fmla="*/ 81 h 111"/>
                  <a:gd name="T6" fmla="*/ 184 w 384"/>
                  <a:gd name="T7" fmla="*/ 0 h 111"/>
                  <a:gd name="T8" fmla="*/ 0 w 384"/>
                  <a:gd name="T9" fmla="*/ 66 h 111"/>
                  <a:gd name="T10" fmla="*/ 24 w 384"/>
                  <a:gd name="T11" fmla="*/ 99 h 111"/>
                  <a:gd name="T12" fmla="*/ 184 w 384"/>
                  <a:gd name="T13" fmla="*/ 40 h 111"/>
                </a:gdLst>
                <a:ahLst/>
                <a:cxnLst>
                  <a:cxn ang="0">
                    <a:pos x="T0" y="T1"/>
                  </a:cxn>
                  <a:cxn ang="0">
                    <a:pos x="T2" y="T3"/>
                  </a:cxn>
                  <a:cxn ang="0">
                    <a:pos x="T4" y="T5"/>
                  </a:cxn>
                  <a:cxn ang="0">
                    <a:pos x="T6" y="T7"/>
                  </a:cxn>
                  <a:cxn ang="0">
                    <a:pos x="T8" y="T9"/>
                  </a:cxn>
                  <a:cxn ang="0">
                    <a:pos x="T10" y="T11"/>
                  </a:cxn>
                  <a:cxn ang="0">
                    <a:pos x="T12" y="T13"/>
                  </a:cxn>
                </a:cxnLst>
                <a:rect l="0" t="0" r="r" b="b"/>
                <a:pathLst>
                  <a:path w="384" h="111">
                    <a:moveTo>
                      <a:pt x="184" y="40"/>
                    </a:moveTo>
                    <a:cubicBezTo>
                      <a:pt x="251" y="40"/>
                      <a:pt x="313" y="67"/>
                      <a:pt x="358" y="111"/>
                    </a:cubicBezTo>
                    <a:cubicBezTo>
                      <a:pt x="384" y="81"/>
                      <a:pt x="384" y="81"/>
                      <a:pt x="384" y="81"/>
                    </a:cubicBezTo>
                    <a:cubicBezTo>
                      <a:pt x="332" y="31"/>
                      <a:pt x="261" y="0"/>
                      <a:pt x="184" y="0"/>
                    </a:cubicBezTo>
                    <a:cubicBezTo>
                      <a:pt x="114" y="0"/>
                      <a:pt x="50" y="25"/>
                      <a:pt x="0" y="66"/>
                    </a:cubicBezTo>
                    <a:cubicBezTo>
                      <a:pt x="24" y="99"/>
                      <a:pt x="24" y="99"/>
                      <a:pt x="24" y="99"/>
                    </a:cubicBezTo>
                    <a:cubicBezTo>
                      <a:pt x="67" y="62"/>
                      <a:pt x="123" y="40"/>
                      <a:pt x="184"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43" name="Oval 99"/>
              <p:cNvSpPr>
                <a:spLocks noChangeArrowheads="1"/>
              </p:cNvSpPr>
              <p:nvPr/>
            </p:nvSpPr>
            <p:spPr bwMode="auto">
              <a:xfrm>
                <a:off x="7039416" y="675094"/>
                <a:ext cx="80963" cy="793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765" name="Group 764"/>
            <p:cNvGrpSpPr/>
            <p:nvPr/>
          </p:nvGrpSpPr>
          <p:grpSpPr>
            <a:xfrm>
              <a:off x="7389720" y="4217647"/>
              <a:ext cx="766485" cy="1333220"/>
              <a:chOff x="844550" y="3381375"/>
              <a:chExt cx="523875" cy="911225"/>
            </a:xfrm>
          </p:grpSpPr>
          <p:sp>
            <p:nvSpPr>
              <p:cNvPr id="716" name="Freeform 171"/>
              <p:cNvSpPr>
                <a:spLocks noEditPoints="1"/>
              </p:cNvSpPr>
              <p:nvPr/>
            </p:nvSpPr>
            <p:spPr bwMode="auto">
              <a:xfrm>
                <a:off x="920750" y="3443288"/>
                <a:ext cx="195262" cy="198437"/>
              </a:xfrm>
              <a:custGeom>
                <a:avLst/>
                <a:gdLst>
                  <a:gd name="T0" fmla="*/ 34 w 69"/>
                  <a:gd name="T1" fmla="*/ 70 h 70"/>
                  <a:gd name="T2" fmla="*/ 0 w 69"/>
                  <a:gd name="T3" fmla="*/ 35 h 70"/>
                  <a:gd name="T4" fmla="*/ 34 w 69"/>
                  <a:gd name="T5" fmla="*/ 0 h 70"/>
                  <a:gd name="T6" fmla="*/ 69 w 69"/>
                  <a:gd name="T7" fmla="*/ 35 h 70"/>
                  <a:gd name="T8" fmla="*/ 34 w 69"/>
                  <a:gd name="T9" fmla="*/ 70 h 70"/>
                  <a:gd name="T10" fmla="*/ 34 w 69"/>
                  <a:gd name="T11" fmla="*/ 4 h 70"/>
                  <a:gd name="T12" fmla="*/ 3 w 69"/>
                  <a:gd name="T13" fmla="*/ 35 h 70"/>
                  <a:gd name="T14" fmla="*/ 34 w 69"/>
                  <a:gd name="T15" fmla="*/ 66 h 70"/>
                  <a:gd name="T16" fmla="*/ 65 w 69"/>
                  <a:gd name="T17" fmla="*/ 35 h 70"/>
                  <a:gd name="T18" fmla="*/ 34 w 69"/>
                  <a:gd name="T19" fmla="*/ 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70">
                    <a:moveTo>
                      <a:pt x="34" y="70"/>
                    </a:moveTo>
                    <a:cubicBezTo>
                      <a:pt x="15" y="70"/>
                      <a:pt x="0" y="54"/>
                      <a:pt x="0" y="35"/>
                    </a:cubicBezTo>
                    <a:cubicBezTo>
                      <a:pt x="0" y="16"/>
                      <a:pt x="15" y="0"/>
                      <a:pt x="34" y="0"/>
                    </a:cubicBezTo>
                    <a:cubicBezTo>
                      <a:pt x="53" y="0"/>
                      <a:pt x="69" y="16"/>
                      <a:pt x="69" y="35"/>
                    </a:cubicBezTo>
                    <a:cubicBezTo>
                      <a:pt x="69" y="54"/>
                      <a:pt x="53" y="70"/>
                      <a:pt x="34" y="70"/>
                    </a:cubicBezTo>
                    <a:close/>
                    <a:moveTo>
                      <a:pt x="34" y="4"/>
                    </a:moveTo>
                    <a:cubicBezTo>
                      <a:pt x="17" y="4"/>
                      <a:pt x="3" y="18"/>
                      <a:pt x="3" y="35"/>
                    </a:cubicBezTo>
                    <a:cubicBezTo>
                      <a:pt x="3" y="52"/>
                      <a:pt x="17" y="66"/>
                      <a:pt x="34" y="66"/>
                    </a:cubicBezTo>
                    <a:cubicBezTo>
                      <a:pt x="51" y="66"/>
                      <a:pt x="65" y="52"/>
                      <a:pt x="65" y="35"/>
                    </a:cubicBezTo>
                    <a:cubicBezTo>
                      <a:pt x="65" y="18"/>
                      <a:pt x="51" y="4"/>
                      <a:pt x="3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17" name="Freeform 172"/>
              <p:cNvSpPr>
                <a:spLocks noEditPoints="1"/>
              </p:cNvSpPr>
              <p:nvPr/>
            </p:nvSpPr>
            <p:spPr bwMode="auto">
              <a:xfrm>
                <a:off x="855663" y="3381375"/>
                <a:ext cx="325437" cy="322262"/>
              </a:xfrm>
              <a:custGeom>
                <a:avLst/>
                <a:gdLst>
                  <a:gd name="T0" fmla="*/ 57 w 115"/>
                  <a:gd name="T1" fmla="*/ 114 h 114"/>
                  <a:gd name="T2" fmla="*/ 0 w 115"/>
                  <a:gd name="T3" fmla="*/ 57 h 114"/>
                  <a:gd name="T4" fmla="*/ 57 w 115"/>
                  <a:gd name="T5" fmla="*/ 0 h 114"/>
                  <a:gd name="T6" fmla="*/ 115 w 115"/>
                  <a:gd name="T7" fmla="*/ 57 h 114"/>
                  <a:gd name="T8" fmla="*/ 57 w 115"/>
                  <a:gd name="T9" fmla="*/ 114 h 114"/>
                  <a:gd name="T10" fmla="*/ 57 w 115"/>
                  <a:gd name="T11" fmla="*/ 3 h 114"/>
                  <a:gd name="T12" fmla="*/ 3 w 115"/>
                  <a:gd name="T13" fmla="*/ 57 h 114"/>
                  <a:gd name="T14" fmla="*/ 57 w 115"/>
                  <a:gd name="T15" fmla="*/ 111 h 114"/>
                  <a:gd name="T16" fmla="*/ 111 w 115"/>
                  <a:gd name="T17" fmla="*/ 57 h 114"/>
                  <a:gd name="T18" fmla="*/ 57 w 115"/>
                  <a:gd name="T19" fmla="*/ 3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114">
                    <a:moveTo>
                      <a:pt x="57" y="114"/>
                    </a:moveTo>
                    <a:cubicBezTo>
                      <a:pt x="26" y="114"/>
                      <a:pt x="0" y="89"/>
                      <a:pt x="0" y="57"/>
                    </a:cubicBezTo>
                    <a:cubicBezTo>
                      <a:pt x="0" y="25"/>
                      <a:pt x="26" y="0"/>
                      <a:pt x="57" y="0"/>
                    </a:cubicBezTo>
                    <a:cubicBezTo>
                      <a:pt x="89" y="0"/>
                      <a:pt x="115" y="25"/>
                      <a:pt x="115" y="57"/>
                    </a:cubicBezTo>
                    <a:cubicBezTo>
                      <a:pt x="115" y="89"/>
                      <a:pt x="89" y="114"/>
                      <a:pt x="57" y="114"/>
                    </a:cubicBezTo>
                    <a:close/>
                    <a:moveTo>
                      <a:pt x="57" y="3"/>
                    </a:moveTo>
                    <a:cubicBezTo>
                      <a:pt x="28" y="3"/>
                      <a:pt x="3" y="27"/>
                      <a:pt x="3" y="57"/>
                    </a:cubicBezTo>
                    <a:cubicBezTo>
                      <a:pt x="3" y="87"/>
                      <a:pt x="28" y="111"/>
                      <a:pt x="57" y="111"/>
                    </a:cubicBezTo>
                    <a:cubicBezTo>
                      <a:pt x="87" y="111"/>
                      <a:pt x="111" y="87"/>
                      <a:pt x="111" y="57"/>
                    </a:cubicBezTo>
                    <a:cubicBezTo>
                      <a:pt x="111" y="27"/>
                      <a:pt x="87" y="3"/>
                      <a:pt x="57"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18" name="Freeform 173"/>
              <p:cNvSpPr>
                <a:spLocks/>
              </p:cNvSpPr>
              <p:nvPr/>
            </p:nvSpPr>
            <p:spPr bwMode="auto">
              <a:xfrm>
                <a:off x="844550" y="3497263"/>
                <a:ext cx="523875" cy="795337"/>
              </a:xfrm>
              <a:custGeom>
                <a:avLst/>
                <a:gdLst>
                  <a:gd name="T0" fmla="*/ 184 w 185"/>
                  <a:gd name="T1" fmla="*/ 196 h 281"/>
                  <a:gd name="T2" fmla="*/ 185 w 185"/>
                  <a:gd name="T3" fmla="*/ 189 h 281"/>
                  <a:gd name="T4" fmla="*/ 184 w 185"/>
                  <a:gd name="T5" fmla="*/ 189 h 281"/>
                  <a:gd name="T6" fmla="*/ 184 w 185"/>
                  <a:gd name="T7" fmla="*/ 159 h 281"/>
                  <a:gd name="T8" fmla="*/ 184 w 185"/>
                  <a:gd name="T9" fmla="*/ 121 h 281"/>
                  <a:gd name="T10" fmla="*/ 184 w 185"/>
                  <a:gd name="T11" fmla="*/ 121 h 281"/>
                  <a:gd name="T12" fmla="*/ 167 w 185"/>
                  <a:gd name="T13" fmla="*/ 103 h 281"/>
                  <a:gd name="T14" fmla="*/ 149 w 185"/>
                  <a:gd name="T15" fmla="*/ 121 h 281"/>
                  <a:gd name="T16" fmla="*/ 149 w 185"/>
                  <a:gd name="T17" fmla="*/ 112 h 281"/>
                  <a:gd name="T18" fmla="*/ 131 w 185"/>
                  <a:gd name="T19" fmla="*/ 94 h 281"/>
                  <a:gd name="T20" fmla="*/ 114 w 185"/>
                  <a:gd name="T21" fmla="*/ 112 h 281"/>
                  <a:gd name="T22" fmla="*/ 114 w 185"/>
                  <a:gd name="T23" fmla="*/ 103 h 281"/>
                  <a:gd name="T24" fmla="*/ 96 w 185"/>
                  <a:gd name="T25" fmla="*/ 85 h 281"/>
                  <a:gd name="T26" fmla="*/ 78 w 185"/>
                  <a:gd name="T27" fmla="*/ 103 h 281"/>
                  <a:gd name="T28" fmla="*/ 78 w 185"/>
                  <a:gd name="T29" fmla="*/ 17 h 281"/>
                  <a:gd name="T30" fmla="*/ 61 w 185"/>
                  <a:gd name="T31" fmla="*/ 0 h 281"/>
                  <a:gd name="T32" fmla="*/ 43 w 185"/>
                  <a:gd name="T33" fmla="*/ 17 h 281"/>
                  <a:gd name="T34" fmla="*/ 43 w 185"/>
                  <a:gd name="T35" fmla="*/ 121 h 281"/>
                  <a:gd name="T36" fmla="*/ 43 w 185"/>
                  <a:gd name="T37" fmla="*/ 171 h 281"/>
                  <a:gd name="T38" fmla="*/ 35 w 185"/>
                  <a:gd name="T39" fmla="*/ 180 h 281"/>
                  <a:gd name="T40" fmla="*/ 35 w 185"/>
                  <a:gd name="T41" fmla="*/ 137 h 281"/>
                  <a:gd name="T42" fmla="*/ 18 w 185"/>
                  <a:gd name="T43" fmla="*/ 119 h 281"/>
                  <a:gd name="T44" fmla="*/ 0 w 185"/>
                  <a:gd name="T45" fmla="*/ 119 h 281"/>
                  <a:gd name="T46" fmla="*/ 0 w 185"/>
                  <a:gd name="T47" fmla="*/ 137 h 281"/>
                  <a:gd name="T48" fmla="*/ 0 w 185"/>
                  <a:gd name="T49" fmla="*/ 189 h 281"/>
                  <a:gd name="T50" fmla="*/ 0 w 185"/>
                  <a:gd name="T51" fmla="*/ 189 h 281"/>
                  <a:gd name="T52" fmla="*/ 0 w 185"/>
                  <a:gd name="T53" fmla="*/ 189 h 281"/>
                  <a:gd name="T54" fmla="*/ 92 w 185"/>
                  <a:gd name="T55" fmla="*/ 281 h 281"/>
                  <a:gd name="T56" fmla="*/ 184 w 185"/>
                  <a:gd name="T57" fmla="*/ 199 h 281"/>
                  <a:gd name="T58" fmla="*/ 184 w 185"/>
                  <a:gd name="T59" fmla="*/ 199 h 281"/>
                  <a:gd name="T60" fmla="*/ 184 w 185"/>
                  <a:gd name="T61" fmla="*/ 196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5" h="281">
                    <a:moveTo>
                      <a:pt x="184" y="196"/>
                    </a:moveTo>
                    <a:cubicBezTo>
                      <a:pt x="185" y="194"/>
                      <a:pt x="185" y="191"/>
                      <a:pt x="185" y="189"/>
                    </a:cubicBezTo>
                    <a:cubicBezTo>
                      <a:pt x="184" y="189"/>
                      <a:pt x="184" y="189"/>
                      <a:pt x="184" y="189"/>
                    </a:cubicBezTo>
                    <a:cubicBezTo>
                      <a:pt x="184" y="159"/>
                      <a:pt x="184" y="159"/>
                      <a:pt x="184" y="159"/>
                    </a:cubicBezTo>
                    <a:cubicBezTo>
                      <a:pt x="184" y="121"/>
                      <a:pt x="184" y="121"/>
                      <a:pt x="184" y="121"/>
                    </a:cubicBezTo>
                    <a:cubicBezTo>
                      <a:pt x="184" y="121"/>
                      <a:pt x="184" y="121"/>
                      <a:pt x="184" y="121"/>
                    </a:cubicBezTo>
                    <a:cubicBezTo>
                      <a:pt x="184" y="111"/>
                      <a:pt x="177" y="103"/>
                      <a:pt x="167" y="103"/>
                    </a:cubicBezTo>
                    <a:cubicBezTo>
                      <a:pt x="157" y="103"/>
                      <a:pt x="149" y="111"/>
                      <a:pt x="149" y="121"/>
                    </a:cubicBezTo>
                    <a:cubicBezTo>
                      <a:pt x="149" y="112"/>
                      <a:pt x="149" y="112"/>
                      <a:pt x="149" y="112"/>
                    </a:cubicBezTo>
                    <a:cubicBezTo>
                      <a:pt x="149" y="102"/>
                      <a:pt x="141" y="94"/>
                      <a:pt x="131" y="94"/>
                    </a:cubicBezTo>
                    <a:cubicBezTo>
                      <a:pt x="122" y="94"/>
                      <a:pt x="114" y="102"/>
                      <a:pt x="114" y="112"/>
                    </a:cubicBezTo>
                    <a:cubicBezTo>
                      <a:pt x="114" y="103"/>
                      <a:pt x="114" y="103"/>
                      <a:pt x="114" y="103"/>
                    </a:cubicBezTo>
                    <a:cubicBezTo>
                      <a:pt x="114" y="93"/>
                      <a:pt x="106" y="85"/>
                      <a:pt x="96" y="85"/>
                    </a:cubicBezTo>
                    <a:cubicBezTo>
                      <a:pt x="86" y="85"/>
                      <a:pt x="78" y="93"/>
                      <a:pt x="78" y="103"/>
                    </a:cubicBezTo>
                    <a:cubicBezTo>
                      <a:pt x="78" y="17"/>
                      <a:pt x="78" y="17"/>
                      <a:pt x="78" y="17"/>
                    </a:cubicBezTo>
                    <a:cubicBezTo>
                      <a:pt x="78" y="8"/>
                      <a:pt x="70" y="0"/>
                      <a:pt x="61" y="0"/>
                    </a:cubicBezTo>
                    <a:cubicBezTo>
                      <a:pt x="51" y="0"/>
                      <a:pt x="43" y="8"/>
                      <a:pt x="43" y="17"/>
                    </a:cubicBezTo>
                    <a:cubicBezTo>
                      <a:pt x="43" y="121"/>
                      <a:pt x="43" y="121"/>
                      <a:pt x="43" y="121"/>
                    </a:cubicBezTo>
                    <a:cubicBezTo>
                      <a:pt x="43" y="171"/>
                      <a:pt x="43" y="171"/>
                      <a:pt x="43" y="171"/>
                    </a:cubicBezTo>
                    <a:cubicBezTo>
                      <a:pt x="43" y="175"/>
                      <a:pt x="41" y="180"/>
                      <a:pt x="35" y="180"/>
                    </a:cubicBezTo>
                    <a:cubicBezTo>
                      <a:pt x="35" y="137"/>
                      <a:pt x="35" y="137"/>
                      <a:pt x="35" y="137"/>
                    </a:cubicBezTo>
                    <a:cubicBezTo>
                      <a:pt x="35" y="127"/>
                      <a:pt x="28" y="119"/>
                      <a:pt x="18" y="119"/>
                    </a:cubicBezTo>
                    <a:cubicBezTo>
                      <a:pt x="0" y="119"/>
                      <a:pt x="0" y="119"/>
                      <a:pt x="0" y="119"/>
                    </a:cubicBezTo>
                    <a:cubicBezTo>
                      <a:pt x="0" y="137"/>
                      <a:pt x="0" y="137"/>
                      <a:pt x="0" y="137"/>
                    </a:cubicBezTo>
                    <a:cubicBezTo>
                      <a:pt x="0" y="189"/>
                      <a:pt x="0" y="189"/>
                      <a:pt x="0" y="189"/>
                    </a:cubicBezTo>
                    <a:cubicBezTo>
                      <a:pt x="0" y="189"/>
                      <a:pt x="0" y="189"/>
                      <a:pt x="0" y="189"/>
                    </a:cubicBezTo>
                    <a:cubicBezTo>
                      <a:pt x="0" y="189"/>
                      <a:pt x="0" y="189"/>
                      <a:pt x="0" y="189"/>
                    </a:cubicBezTo>
                    <a:cubicBezTo>
                      <a:pt x="0" y="240"/>
                      <a:pt x="41" y="281"/>
                      <a:pt x="92" y="281"/>
                    </a:cubicBezTo>
                    <a:cubicBezTo>
                      <a:pt x="140" y="281"/>
                      <a:pt x="179" y="245"/>
                      <a:pt x="184" y="199"/>
                    </a:cubicBezTo>
                    <a:cubicBezTo>
                      <a:pt x="184" y="199"/>
                      <a:pt x="184" y="199"/>
                      <a:pt x="184" y="199"/>
                    </a:cubicBezTo>
                    <a:lnTo>
                      <a:pt x="184" y="196"/>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grpSp>
          <p:nvGrpSpPr>
            <p:cNvPr id="764" name="Group 763"/>
            <p:cNvGrpSpPr/>
            <p:nvPr/>
          </p:nvGrpSpPr>
          <p:grpSpPr>
            <a:xfrm>
              <a:off x="9044496" y="5135995"/>
              <a:ext cx="362661" cy="467300"/>
              <a:chOff x="1752600" y="4260851"/>
              <a:chExt cx="657225" cy="957262"/>
            </a:xfrm>
          </p:grpSpPr>
          <p:sp>
            <p:nvSpPr>
              <p:cNvPr id="723" name="Freeform 178"/>
              <p:cNvSpPr>
                <a:spLocks/>
              </p:cNvSpPr>
              <p:nvPr/>
            </p:nvSpPr>
            <p:spPr bwMode="auto">
              <a:xfrm>
                <a:off x="1752600" y="4479926"/>
                <a:ext cx="112713" cy="130175"/>
              </a:xfrm>
              <a:custGeom>
                <a:avLst/>
                <a:gdLst>
                  <a:gd name="T0" fmla="*/ 8 w 40"/>
                  <a:gd name="T1" fmla="*/ 46 h 46"/>
                  <a:gd name="T2" fmla="*/ 40 w 40"/>
                  <a:gd name="T3" fmla="*/ 46 h 46"/>
                  <a:gd name="T4" fmla="*/ 40 w 40"/>
                  <a:gd name="T5" fmla="*/ 0 h 46"/>
                  <a:gd name="T6" fmla="*/ 8 w 40"/>
                  <a:gd name="T7" fmla="*/ 0 h 46"/>
                  <a:gd name="T8" fmla="*/ 0 w 40"/>
                  <a:gd name="T9" fmla="*/ 8 h 46"/>
                  <a:gd name="T10" fmla="*/ 0 w 40"/>
                  <a:gd name="T11" fmla="*/ 38 h 46"/>
                  <a:gd name="T12" fmla="*/ 8 w 40"/>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40" h="46">
                    <a:moveTo>
                      <a:pt x="8" y="46"/>
                    </a:moveTo>
                    <a:cubicBezTo>
                      <a:pt x="40" y="46"/>
                      <a:pt x="40" y="46"/>
                      <a:pt x="40" y="46"/>
                    </a:cubicBezTo>
                    <a:cubicBezTo>
                      <a:pt x="40" y="0"/>
                      <a:pt x="40" y="0"/>
                      <a:pt x="40" y="0"/>
                    </a:cubicBezTo>
                    <a:cubicBezTo>
                      <a:pt x="8" y="0"/>
                      <a:pt x="8" y="0"/>
                      <a:pt x="8" y="0"/>
                    </a:cubicBezTo>
                    <a:cubicBezTo>
                      <a:pt x="4" y="0"/>
                      <a:pt x="0" y="4"/>
                      <a:pt x="0" y="8"/>
                    </a:cubicBezTo>
                    <a:cubicBezTo>
                      <a:pt x="0" y="38"/>
                      <a:pt x="0" y="38"/>
                      <a:pt x="0" y="38"/>
                    </a:cubicBezTo>
                    <a:cubicBezTo>
                      <a:pt x="0" y="42"/>
                      <a:pt x="4" y="46"/>
                      <a:pt x="8" y="4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24" name="Rectangle 179"/>
              <p:cNvSpPr>
                <a:spLocks noChangeArrowheads="1"/>
              </p:cNvSpPr>
              <p:nvPr/>
            </p:nvSpPr>
            <p:spPr bwMode="auto">
              <a:xfrm>
                <a:off x="1792288" y="4610101"/>
                <a:ext cx="44450" cy="1349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25" name="Rectangle 180"/>
              <p:cNvSpPr>
                <a:spLocks noChangeArrowheads="1"/>
              </p:cNvSpPr>
              <p:nvPr/>
            </p:nvSpPr>
            <p:spPr bwMode="auto">
              <a:xfrm>
                <a:off x="1792288" y="4610101"/>
                <a:ext cx="44450" cy="444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26" name="Rectangle 181"/>
              <p:cNvSpPr>
                <a:spLocks noChangeArrowheads="1"/>
              </p:cNvSpPr>
              <p:nvPr/>
            </p:nvSpPr>
            <p:spPr bwMode="auto">
              <a:xfrm>
                <a:off x="1792288" y="4821238"/>
                <a:ext cx="44450" cy="1000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27" name="Rectangle 182"/>
              <p:cNvSpPr>
                <a:spLocks noChangeArrowheads="1"/>
              </p:cNvSpPr>
              <p:nvPr/>
            </p:nvSpPr>
            <p:spPr bwMode="auto">
              <a:xfrm>
                <a:off x="1792288" y="4821238"/>
                <a:ext cx="44450"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28" name="Freeform 183"/>
              <p:cNvSpPr>
                <a:spLocks/>
              </p:cNvSpPr>
              <p:nvPr/>
            </p:nvSpPr>
            <p:spPr bwMode="auto">
              <a:xfrm>
                <a:off x="1766888" y="4686301"/>
                <a:ext cx="96838" cy="134938"/>
              </a:xfrm>
              <a:custGeom>
                <a:avLst/>
                <a:gdLst>
                  <a:gd name="T0" fmla="*/ 34 w 34"/>
                  <a:gd name="T1" fmla="*/ 38 h 48"/>
                  <a:gd name="T2" fmla="*/ 24 w 34"/>
                  <a:gd name="T3" fmla="*/ 48 h 48"/>
                  <a:gd name="T4" fmla="*/ 10 w 34"/>
                  <a:gd name="T5" fmla="*/ 48 h 48"/>
                  <a:gd name="T6" fmla="*/ 0 w 34"/>
                  <a:gd name="T7" fmla="*/ 38 h 48"/>
                  <a:gd name="T8" fmla="*/ 0 w 34"/>
                  <a:gd name="T9" fmla="*/ 10 h 48"/>
                  <a:gd name="T10" fmla="*/ 10 w 34"/>
                  <a:gd name="T11" fmla="*/ 0 h 48"/>
                  <a:gd name="T12" fmla="*/ 24 w 34"/>
                  <a:gd name="T13" fmla="*/ 0 h 48"/>
                  <a:gd name="T14" fmla="*/ 34 w 34"/>
                  <a:gd name="T15" fmla="*/ 10 h 48"/>
                  <a:gd name="T16" fmla="*/ 34 w 34"/>
                  <a:gd name="T17" fmla="*/ 3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48">
                    <a:moveTo>
                      <a:pt x="34" y="38"/>
                    </a:moveTo>
                    <a:cubicBezTo>
                      <a:pt x="34" y="43"/>
                      <a:pt x="29" y="48"/>
                      <a:pt x="24" y="48"/>
                    </a:cubicBezTo>
                    <a:cubicBezTo>
                      <a:pt x="10" y="48"/>
                      <a:pt x="10" y="48"/>
                      <a:pt x="10" y="48"/>
                    </a:cubicBezTo>
                    <a:cubicBezTo>
                      <a:pt x="5" y="48"/>
                      <a:pt x="0" y="43"/>
                      <a:pt x="0" y="38"/>
                    </a:cubicBezTo>
                    <a:cubicBezTo>
                      <a:pt x="0" y="10"/>
                      <a:pt x="0" y="10"/>
                      <a:pt x="0" y="10"/>
                    </a:cubicBezTo>
                    <a:cubicBezTo>
                      <a:pt x="0" y="5"/>
                      <a:pt x="5" y="0"/>
                      <a:pt x="10" y="0"/>
                    </a:cubicBezTo>
                    <a:cubicBezTo>
                      <a:pt x="24" y="0"/>
                      <a:pt x="24" y="0"/>
                      <a:pt x="24" y="0"/>
                    </a:cubicBezTo>
                    <a:cubicBezTo>
                      <a:pt x="29" y="0"/>
                      <a:pt x="34" y="5"/>
                      <a:pt x="34" y="10"/>
                    </a:cubicBezTo>
                    <a:lnTo>
                      <a:pt x="34" y="3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29" name="Rectangle 184"/>
              <p:cNvSpPr>
                <a:spLocks noChangeArrowheads="1"/>
              </p:cNvSpPr>
              <p:nvPr/>
            </p:nvSpPr>
            <p:spPr bwMode="auto">
              <a:xfrm>
                <a:off x="1968500" y="4676776"/>
                <a:ext cx="236538" cy="1301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30" name="Rectangle 185"/>
              <p:cNvSpPr>
                <a:spLocks noChangeArrowheads="1"/>
              </p:cNvSpPr>
              <p:nvPr/>
            </p:nvSpPr>
            <p:spPr bwMode="auto">
              <a:xfrm>
                <a:off x="1968500" y="4651376"/>
                <a:ext cx="236538" cy="254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31" name="Rectangle 186"/>
              <p:cNvSpPr>
                <a:spLocks noChangeArrowheads="1"/>
              </p:cNvSpPr>
              <p:nvPr/>
            </p:nvSpPr>
            <p:spPr bwMode="auto">
              <a:xfrm>
                <a:off x="1865313" y="4433888"/>
                <a:ext cx="433388" cy="2206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32" name="Freeform 187"/>
              <p:cNvSpPr>
                <a:spLocks/>
              </p:cNvSpPr>
              <p:nvPr/>
            </p:nvSpPr>
            <p:spPr bwMode="auto">
              <a:xfrm>
                <a:off x="1944688" y="4297363"/>
                <a:ext cx="284163" cy="142875"/>
              </a:xfrm>
              <a:custGeom>
                <a:avLst/>
                <a:gdLst>
                  <a:gd name="T0" fmla="*/ 50 w 100"/>
                  <a:gd name="T1" fmla="*/ 0 h 50"/>
                  <a:gd name="T2" fmla="*/ 0 w 100"/>
                  <a:gd name="T3" fmla="*/ 50 h 50"/>
                  <a:gd name="T4" fmla="*/ 100 w 100"/>
                  <a:gd name="T5" fmla="*/ 50 h 50"/>
                  <a:gd name="T6" fmla="*/ 50 w 100"/>
                  <a:gd name="T7" fmla="*/ 0 h 50"/>
                </a:gdLst>
                <a:ahLst/>
                <a:cxnLst>
                  <a:cxn ang="0">
                    <a:pos x="T0" y="T1"/>
                  </a:cxn>
                  <a:cxn ang="0">
                    <a:pos x="T2" y="T3"/>
                  </a:cxn>
                  <a:cxn ang="0">
                    <a:pos x="T4" y="T5"/>
                  </a:cxn>
                  <a:cxn ang="0">
                    <a:pos x="T6" y="T7"/>
                  </a:cxn>
                </a:cxnLst>
                <a:rect l="0" t="0" r="r" b="b"/>
                <a:pathLst>
                  <a:path w="100" h="50">
                    <a:moveTo>
                      <a:pt x="50" y="0"/>
                    </a:moveTo>
                    <a:cubicBezTo>
                      <a:pt x="22" y="0"/>
                      <a:pt x="0" y="22"/>
                      <a:pt x="0" y="50"/>
                    </a:cubicBezTo>
                    <a:cubicBezTo>
                      <a:pt x="100" y="50"/>
                      <a:pt x="100" y="50"/>
                      <a:pt x="100" y="50"/>
                    </a:cubicBezTo>
                    <a:cubicBezTo>
                      <a:pt x="100" y="22"/>
                      <a:pt x="77" y="0"/>
                      <a:pt x="5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33" name="Oval 188"/>
              <p:cNvSpPr>
                <a:spLocks noChangeArrowheads="1"/>
              </p:cNvSpPr>
              <p:nvPr/>
            </p:nvSpPr>
            <p:spPr bwMode="auto">
              <a:xfrm>
                <a:off x="1998663" y="4362451"/>
                <a:ext cx="36513"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34" name="Oval 189"/>
              <p:cNvSpPr>
                <a:spLocks noChangeArrowheads="1"/>
              </p:cNvSpPr>
              <p:nvPr/>
            </p:nvSpPr>
            <p:spPr bwMode="auto">
              <a:xfrm>
                <a:off x="2138363" y="4362451"/>
                <a:ext cx="36513"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35" name="Freeform 190"/>
              <p:cNvSpPr>
                <a:spLocks/>
              </p:cNvSpPr>
              <p:nvPr/>
            </p:nvSpPr>
            <p:spPr bwMode="auto">
              <a:xfrm>
                <a:off x="1958975" y="4498976"/>
                <a:ext cx="246063" cy="90488"/>
              </a:xfrm>
              <a:custGeom>
                <a:avLst/>
                <a:gdLst>
                  <a:gd name="T0" fmla="*/ 87 w 87"/>
                  <a:gd name="T1" fmla="*/ 16 h 32"/>
                  <a:gd name="T2" fmla="*/ 71 w 87"/>
                  <a:gd name="T3" fmla="*/ 32 h 32"/>
                  <a:gd name="T4" fmla="*/ 16 w 87"/>
                  <a:gd name="T5" fmla="*/ 32 h 32"/>
                  <a:gd name="T6" fmla="*/ 0 w 87"/>
                  <a:gd name="T7" fmla="*/ 16 h 32"/>
                  <a:gd name="T8" fmla="*/ 0 w 87"/>
                  <a:gd name="T9" fmla="*/ 16 h 32"/>
                  <a:gd name="T10" fmla="*/ 16 w 87"/>
                  <a:gd name="T11" fmla="*/ 0 h 32"/>
                  <a:gd name="T12" fmla="*/ 71 w 87"/>
                  <a:gd name="T13" fmla="*/ 0 h 32"/>
                  <a:gd name="T14" fmla="*/ 87 w 87"/>
                  <a:gd name="T15" fmla="*/ 16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32">
                    <a:moveTo>
                      <a:pt x="87" y="16"/>
                    </a:moveTo>
                    <a:cubicBezTo>
                      <a:pt x="87" y="25"/>
                      <a:pt x="79" y="32"/>
                      <a:pt x="71" y="32"/>
                    </a:cubicBezTo>
                    <a:cubicBezTo>
                      <a:pt x="16" y="32"/>
                      <a:pt x="16" y="32"/>
                      <a:pt x="16" y="32"/>
                    </a:cubicBezTo>
                    <a:cubicBezTo>
                      <a:pt x="7" y="32"/>
                      <a:pt x="0" y="25"/>
                      <a:pt x="0" y="16"/>
                    </a:cubicBezTo>
                    <a:cubicBezTo>
                      <a:pt x="0" y="16"/>
                      <a:pt x="0" y="16"/>
                      <a:pt x="0" y="16"/>
                    </a:cubicBezTo>
                    <a:cubicBezTo>
                      <a:pt x="0" y="7"/>
                      <a:pt x="7" y="0"/>
                      <a:pt x="16" y="0"/>
                    </a:cubicBezTo>
                    <a:cubicBezTo>
                      <a:pt x="71" y="0"/>
                      <a:pt x="71" y="0"/>
                      <a:pt x="71" y="0"/>
                    </a:cubicBezTo>
                    <a:cubicBezTo>
                      <a:pt x="79" y="0"/>
                      <a:pt x="87" y="7"/>
                      <a:pt x="87"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36" name="Freeform 191"/>
              <p:cNvSpPr>
                <a:spLocks/>
              </p:cNvSpPr>
              <p:nvPr/>
            </p:nvSpPr>
            <p:spPr bwMode="auto">
              <a:xfrm>
                <a:off x="2074863" y="4521201"/>
                <a:ext cx="11113"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37" name="Freeform 192"/>
              <p:cNvSpPr>
                <a:spLocks/>
              </p:cNvSpPr>
              <p:nvPr/>
            </p:nvSpPr>
            <p:spPr bwMode="auto">
              <a:xfrm>
                <a:off x="2049463" y="4521201"/>
                <a:ext cx="9525" cy="53975"/>
              </a:xfrm>
              <a:custGeom>
                <a:avLst/>
                <a:gdLst>
                  <a:gd name="T0" fmla="*/ 3 w 3"/>
                  <a:gd name="T1" fmla="*/ 17 h 19"/>
                  <a:gd name="T2" fmla="*/ 2 w 3"/>
                  <a:gd name="T3" fmla="*/ 19 h 19"/>
                  <a:gd name="T4" fmla="*/ 2 w 3"/>
                  <a:gd name="T5" fmla="*/ 19 h 19"/>
                  <a:gd name="T6" fmla="*/ 0 w 3"/>
                  <a:gd name="T7" fmla="*/ 17 h 19"/>
                  <a:gd name="T8" fmla="*/ 0 w 3"/>
                  <a:gd name="T9" fmla="*/ 1 h 19"/>
                  <a:gd name="T10" fmla="*/ 2 w 3"/>
                  <a:gd name="T11" fmla="*/ 0 h 19"/>
                  <a:gd name="T12" fmla="*/ 2 w 3"/>
                  <a:gd name="T13" fmla="*/ 0 h 19"/>
                  <a:gd name="T14" fmla="*/ 3 w 3"/>
                  <a:gd name="T15" fmla="*/ 1 h 19"/>
                  <a:gd name="T16" fmla="*/ 3 w 3"/>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9">
                    <a:moveTo>
                      <a:pt x="3" y="17"/>
                    </a:moveTo>
                    <a:cubicBezTo>
                      <a:pt x="3"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3" y="0"/>
                      <a:pt x="3" y="1"/>
                    </a:cubicBezTo>
                    <a:lnTo>
                      <a:pt x="3"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38" name="Freeform 193"/>
              <p:cNvSpPr>
                <a:spLocks/>
              </p:cNvSpPr>
              <p:nvPr/>
            </p:nvSpPr>
            <p:spPr bwMode="auto">
              <a:xfrm>
                <a:off x="2020888" y="4521201"/>
                <a:ext cx="12700"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39" name="Freeform 194"/>
              <p:cNvSpPr>
                <a:spLocks/>
              </p:cNvSpPr>
              <p:nvPr/>
            </p:nvSpPr>
            <p:spPr bwMode="auto">
              <a:xfrm>
                <a:off x="1995488" y="4521201"/>
                <a:ext cx="9525" cy="53975"/>
              </a:xfrm>
              <a:custGeom>
                <a:avLst/>
                <a:gdLst>
                  <a:gd name="T0" fmla="*/ 3 w 3"/>
                  <a:gd name="T1" fmla="*/ 17 h 19"/>
                  <a:gd name="T2" fmla="*/ 1 w 3"/>
                  <a:gd name="T3" fmla="*/ 19 h 19"/>
                  <a:gd name="T4" fmla="*/ 1 w 3"/>
                  <a:gd name="T5" fmla="*/ 19 h 19"/>
                  <a:gd name="T6" fmla="*/ 0 w 3"/>
                  <a:gd name="T7" fmla="*/ 17 h 19"/>
                  <a:gd name="T8" fmla="*/ 0 w 3"/>
                  <a:gd name="T9" fmla="*/ 1 h 19"/>
                  <a:gd name="T10" fmla="*/ 1 w 3"/>
                  <a:gd name="T11" fmla="*/ 0 h 19"/>
                  <a:gd name="T12" fmla="*/ 1 w 3"/>
                  <a:gd name="T13" fmla="*/ 0 h 19"/>
                  <a:gd name="T14" fmla="*/ 3 w 3"/>
                  <a:gd name="T15" fmla="*/ 1 h 19"/>
                  <a:gd name="T16" fmla="*/ 3 w 3"/>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9">
                    <a:moveTo>
                      <a:pt x="3" y="17"/>
                    </a:moveTo>
                    <a:cubicBezTo>
                      <a:pt x="3" y="18"/>
                      <a:pt x="2" y="19"/>
                      <a:pt x="1" y="19"/>
                    </a:cubicBezTo>
                    <a:cubicBezTo>
                      <a:pt x="1" y="19"/>
                      <a:pt x="1" y="19"/>
                      <a:pt x="1" y="19"/>
                    </a:cubicBezTo>
                    <a:cubicBezTo>
                      <a:pt x="0" y="19"/>
                      <a:pt x="0" y="18"/>
                      <a:pt x="0" y="17"/>
                    </a:cubicBezTo>
                    <a:cubicBezTo>
                      <a:pt x="0" y="1"/>
                      <a:pt x="0" y="1"/>
                      <a:pt x="0" y="1"/>
                    </a:cubicBezTo>
                    <a:cubicBezTo>
                      <a:pt x="0" y="0"/>
                      <a:pt x="0" y="0"/>
                      <a:pt x="1" y="0"/>
                    </a:cubicBezTo>
                    <a:cubicBezTo>
                      <a:pt x="1" y="0"/>
                      <a:pt x="1" y="0"/>
                      <a:pt x="1" y="0"/>
                    </a:cubicBezTo>
                    <a:cubicBezTo>
                      <a:pt x="2" y="0"/>
                      <a:pt x="3" y="0"/>
                      <a:pt x="3" y="1"/>
                    </a:cubicBezTo>
                    <a:lnTo>
                      <a:pt x="3"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40" name="Freeform 195"/>
              <p:cNvSpPr>
                <a:spLocks/>
              </p:cNvSpPr>
              <p:nvPr/>
            </p:nvSpPr>
            <p:spPr bwMode="auto">
              <a:xfrm>
                <a:off x="2157413" y="4521201"/>
                <a:ext cx="11113"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41" name="Freeform 196"/>
              <p:cNvSpPr>
                <a:spLocks/>
              </p:cNvSpPr>
              <p:nvPr/>
            </p:nvSpPr>
            <p:spPr bwMode="auto">
              <a:xfrm>
                <a:off x="2128838" y="4521201"/>
                <a:ext cx="11113"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42" name="Freeform 197"/>
              <p:cNvSpPr>
                <a:spLocks/>
              </p:cNvSpPr>
              <p:nvPr/>
            </p:nvSpPr>
            <p:spPr bwMode="auto">
              <a:xfrm>
                <a:off x="2103438" y="4521201"/>
                <a:ext cx="11113"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43" name="Freeform 198"/>
              <p:cNvSpPr>
                <a:spLocks/>
              </p:cNvSpPr>
              <p:nvPr/>
            </p:nvSpPr>
            <p:spPr bwMode="auto">
              <a:xfrm>
                <a:off x="1914525" y="4794251"/>
                <a:ext cx="333375" cy="92075"/>
              </a:xfrm>
              <a:custGeom>
                <a:avLst/>
                <a:gdLst>
                  <a:gd name="T0" fmla="*/ 10 w 118"/>
                  <a:gd name="T1" fmla="*/ 33 h 33"/>
                  <a:gd name="T2" fmla="*/ 0 w 118"/>
                  <a:gd name="T3" fmla="*/ 23 h 33"/>
                  <a:gd name="T4" fmla="*/ 0 w 118"/>
                  <a:gd name="T5" fmla="*/ 9 h 33"/>
                  <a:gd name="T6" fmla="*/ 10 w 118"/>
                  <a:gd name="T7" fmla="*/ 0 h 33"/>
                  <a:gd name="T8" fmla="*/ 109 w 118"/>
                  <a:gd name="T9" fmla="*/ 0 h 33"/>
                  <a:gd name="T10" fmla="*/ 118 w 118"/>
                  <a:gd name="T11" fmla="*/ 9 h 33"/>
                  <a:gd name="T12" fmla="*/ 118 w 118"/>
                  <a:gd name="T13" fmla="*/ 23 h 33"/>
                  <a:gd name="T14" fmla="*/ 109 w 118"/>
                  <a:gd name="T15" fmla="*/ 33 h 33"/>
                  <a:gd name="T16" fmla="*/ 10 w 118"/>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33">
                    <a:moveTo>
                      <a:pt x="10" y="33"/>
                    </a:moveTo>
                    <a:cubicBezTo>
                      <a:pt x="5" y="33"/>
                      <a:pt x="0" y="28"/>
                      <a:pt x="0" y="23"/>
                    </a:cubicBezTo>
                    <a:cubicBezTo>
                      <a:pt x="0" y="9"/>
                      <a:pt x="0" y="9"/>
                      <a:pt x="0" y="9"/>
                    </a:cubicBezTo>
                    <a:cubicBezTo>
                      <a:pt x="0" y="4"/>
                      <a:pt x="5" y="0"/>
                      <a:pt x="10" y="0"/>
                    </a:cubicBezTo>
                    <a:cubicBezTo>
                      <a:pt x="109" y="0"/>
                      <a:pt x="109" y="0"/>
                      <a:pt x="109" y="0"/>
                    </a:cubicBezTo>
                    <a:cubicBezTo>
                      <a:pt x="114" y="0"/>
                      <a:pt x="118" y="4"/>
                      <a:pt x="118" y="9"/>
                    </a:cubicBezTo>
                    <a:cubicBezTo>
                      <a:pt x="118" y="23"/>
                      <a:pt x="118" y="23"/>
                      <a:pt x="118" y="23"/>
                    </a:cubicBezTo>
                    <a:cubicBezTo>
                      <a:pt x="118" y="28"/>
                      <a:pt x="114" y="33"/>
                      <a:pt x="109" y="33"/>
                    </a:cubicBezTo>
                    <a:lnTo>
                      <a:pt x="10" y="3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44" name="Rectangle 199"/>
              <p:cNvSpPr>
                <a:spLocks noChangeArrowheads="1"/>
              </p:cNvSpPr>
              <p:nvPr/>
            </p:nvSpPr>
            <p:spPr bwMode="auto">
              <a:xfrm>
                <a:off x="1973263" y="4886326"/>
                <a:ext cx="42863" cy="2667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45" name="Rectangle 200"/>
              <p:cNvSpPr>
                <a:spLocks noChangeArrowheads="1"/>
              </p:cNvSpPr>
              <p:nvPr/>
            </p:nvSpPr>
            <p:spPr bwMode="auto">
              <a:xfrm>
                <a:off x="1973263" y="4886326"/>
                <a:ext cx="4286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46" name="Rectangle 201"/>
              <p:cNvSpPr>
                <a:spLocks noChangeArrowheads="1"/>
              </p:cNvSpPr>
              <p:nvPr/>
            </p:nvSpPr>
            <p:spPr bwMode="auto">
              <a:xfrm>
                <a:off x="2163763" y="4886326"/>
                <a:ext cx="41275" cy="2667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47" name="Rectangle 202"/>
              <p:cNvSpPr>
                <a:spLocks noChangeArrowheads="1"/>
              </p:cNvSpPr>
              <p:nvPr/>
            </p:nvSpPr>
            <p:spPr bwMode="auto">
              <a:xfrm>
                <a:off x="2163763" y="4886326"/>
                <a:ext cx="412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48" name="Freeform 203"/>
              <p:cNvSpPr>
                <a:spLocks/>
              </p:cNvSpPr>
              <p:nvPr/>
            </p:nvSpPr>
            <p:spPr bwMode="auto">
              <a:xfrm>
                <a:off x="2236788" y="4368801"/>
                <a:ext cx="25400" cy="47625"/>
              </a:xfrm>
              <a:custGeom>
                <a:avLst/>
                <a:gdLst>
                  <a:gd name="T0" fmla="*/ 0 w 9"/>
                  <a:gd name="T1" fmla="*/ 0 h 17"/>
                  <a:gd name="T2" fmla="*/ 0 w 9"/>
                  <a:gd name="T3" fmla="*/ 0 h 17"/>
                  <a:gd name="T4" fmla="*/ 0 w 9"/>
                  <a:gd name="T5" fmla="*/ 17 h 17"/>
                  <a:gd name="T6" fmla="*/ 0 w 9"/>
                  <a:gd name="T7" fmla="*/ 17 h 17"/>
                  <a:gd name="T8" fmla="*/ 9 w 9"/>
                  <a:gd name="T9" fmla="*/ 8 h 17"/>
                  <a:gd name="T10" fmla="*/ 0 w 9"/>
                  <a:gd name="T11" fmla="*/ 0 h 17"/>
                </a:gdLst>
                <a:ahLst/>
                <a:cxnLst>
                  <a:cxn ang="0">
                    <a:pos x="T0" y="T1"/>
                  </a:cxn>
                  <a:cxn ang="0">
                    <a:pos x="T2" y="T3"/>
                  </a:cxn>
                  <a:cxn ang="0">
                    <a:pos x="T4" y="T5"/>
                  </a:cxn>
                  <a:cxn ang="0">
                    <a:pos x="T6" y="T7"/>
                  </a:cxn>
                  <a:cxn ang="0">
                    <a:pos x="T8" y="T9"/>
                  </a:cxn>
                  <a:cxn ang="0">
                    <a:pos x="T10" y="T11"/>
                  </a:cxn>
                </a:cxnLst>
                <a:rect l="0" t="0" r="r" b="b"/>
                <a:pathLst>
                  <a:path w="9" h="17">
                    <a:moveTo>
                      <a:pt x="0" y="0"/>
                    </a:moveTo>
                    <a:cubicBezTo>
                      <a:pt x="0" y="0"/>
                      <a:pt x="0" y="0"/>
                      <a:pt x="0" y="0"/>
                    </a:cubicBezTo>
                    <a:cubicBezTo>
                      <a:pt x="0" y="17"/>
                      <a:pt x="0" y="17"/>
                      <a:pt x="0" y="17"/>
                    </a:cubicBezTo>
                    <a:cubicBezTo>
                      <a:pt x="0" y="17"/>
                      <a:pt x="0" y="17"/>
                      <a:pt x="0" y="17"/>
                    </a:cubicBezTo>
                    <a:cubicBezTo>
                      <a:pt x="5" y="17"/>
                      <a:pt x="9" y="13"/>
                      <a:pt x="9" y="8"/>
                    </a:cubicBezTo>
                    <a:cubicBezTo>
                      <a:pt x="9" y="4"/>
                      <a:pt x="5"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49" name="Rectangle 204"/>
              <p:cNvSpPr>
                <a:spLocks noChangeArrowheads="1"/>
              </p:cNvSpPr>
              <p:nvPr/>
            </p:nvSpPr>
            <p:spPr bwMode="auto">
              <a:xfrm>
                <a:off x="2236788" y="4260851"/>
                <a:ext cx="6350" cy="1301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50" name="Freeform 205"/>
              <p:cNvSpPr>
                <a:spLocks/>
              </p:cNvSpPr>
              <p:nvPr/>
            </p:nvSpPr>
            <p:spPr bwMode="auto">
              <a:xfrm>
                <a:off x="1911350" y="4368801"/>
                <a:ext cx="25400" cy="47625"/>
              </a:xfrm>
              <a:custGeom>
                <a:avLst/>
                <a:gdLst>
                  <a:gd name="T0" fmla="*/ 9 w 9"/>
                  <a:gd name="T1" fmla="*/ 0 h 17"/>
                  <a:gd name="T2" fmla="*/ 9 w 9"/>
                  <a:gd name="T3" fmla="*/ 0 h 17"/>
                  <a:gd name="T4" fmla="*/ 9 w 9"/>
                  <a:gd name="T5" fmla="*/ 17 h 17"/>
                  <a:gd name="T6" fmla="*/ 9 w 9"/>
                  <a:gd name="T7" fmla="*/ 17 h 17"/>
                  <a:gd name="T8" fmla="*/ 0 w 9"/>
                  <a:gd name="T9" fmla="*/ 8 h 17"/>
                  <a:gd name="T10" fmla="*/ 9 w 9"/>
                  <a:gd name="T11" fmla="*/ 0 h 17"/>
                </a:gdLst>
                <a:ahLst/>
                <a:cxnLst>
                  <a:cxn ang="0">
                    <a:pos x="T0" y="T1"/>
                  </a:cxn>
                  <a:cxn ang="0">
                    <a:pos x="T2" y="T3"/>
                  </a:cxn>
                  <a:cxn ang="0">
                    <a:pos x="T4" y="T5"/>
                  </a:cxn>
                  <a:cxn ang="0">
                    <a:pos x="T6" y="T7"/>
                  </a:cxn>
                  <a:cxn ang="0">
                    <a:pos x="T8" y="T9"/>
                  </a:cxn>
                  <a:cxn ang="0">
                    <a:pos x="T10" y="T11"/>
                  </a:cxn>
                </a:cxnLst>
                <a:rect l="0" t="0" r="r" b="b"/>
                <a:pathLst>
                  <a:path w="9" h="17">
                    <a:moveTo>
                      <a:pt x="9" y="0"/>
                    </a:moveTo>
                    <a:cubicBezTo>
                      <a:pt x="9" y="0"/>
                      <a:pt x="9" y="0"/>
                      <a:pt x="9" y="0"/>
                    </a:cubicBezTo>
                    <a:cubicBezTo>
                      <a:pt x="9" y="17"/>
                      <a:pt x="9" y="17"/>
                      <a:pt x="9" y="17"/>
                    </a:cubicBezTo>
                    <a:cubicBezTo>
                      <a:pt x="9" y="17"/>
                      <a:pt x="9" y="17"/>
                      <a:pt x="9" y="17"/>
                    </a:cubicBezTo>
                    <a:cubicBezTo>
                      <a:pt x="4" y="17"/>
                      <a:pt x="0" y="13"/>
                      <a:pt x="0" y="8"/>
                    </a:cubicBezTo>
                    <a:cubicBezTo>
                      <a:pt x="0" y="4"/>
                      <a:pt x="4" y="0"/>
                      <a:pt x="9"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51" name="Rectangle 206"/>
              <p:cNvSpPr>
                <a:spLocks noChangeArrowheads="1"/>
              </p:cNvSpPr>
              <p:nvPr/>
            </p:nvSpPr>
            <p:spPr bwMode="auto">
              <a:xfrm>
                <a:off x="1930400" y="4260851"/>
                <a:ext cx="6350" cy="1301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52" name="Freeform 207"/>
              <p:cNvSpPr>
                <a:spLocks/>
              </p:cNvSpPr>
              <p:nvPr/>
            </p:nvSpPr>
            <p:spPr bwMode="auto">
              <a:xfrm>
                <a:off x="1928813" y="5145088"/>
                <a:ext cx="131763" cy="47625"/>
              </a:xfrm>
              <a:custGeom>
                <a:avLst/>
                <a:gdLst>
                  <a:gd name="T0" fmla="*/ 47 w 47"/>
                  <a:gd name="T1" fmla="*/ 17 h 17"/>
                  <a:gd name="T2" fmla="*/ 30 w 47"/>
                  <a:gd name="T3" fmla="*/ 0 h 17"/>
                  <a:gd name="T4" fmla="*/ 17 w 47"/>
                  <a:gd name="T5" fmla="*/ 0 h 17"/>
                  <a:gd name="T6" fmla="*/ 0 w 47"/>
                  <a:gd name="T7" fmla="*/ 17 h 17"/>
                  <a:gd name="T8" fmla="*/ 47 w 47"/>
                  <a:gd name="T9" fmla="*/ 17 h 17"/>
                </a:gdLst>
                <a:ahLst/>
                <a:cxnLst>
                  <a:cxn ang="0">
                    <a:pos x="T0" y="T1"/>
                  </a:cxn>
                  <a:cxn ang="0">
                    <a:pos x="T2" y="T3"/>
                  </a:cxn>
                  <a:cxn ang="0">
                    <a:pos x="T4" y="T5"/>
                  </a:cxn>
                  <a:cxn ang="0">
                    <a:pos x="T6" y="T7"/>
                  </a:cxn>
                  <a:cxn ang="0">
                    <a:pos x="T8" y="T9"/>
                  </a:cxn>
                </a:cxnLst>
                <a:rect l="0" t="0" r="r" b="b"/>
                <a:pathLst>
                  <a:path w="47" h="17">
                    <a:moveTo>
                      <a:pt x="47" y="17"/>
                    </a:moveTo>
                    <a:cubicBezTo>
                      <a:pt x="46" y="7"/>
                      <a:pt x="39" y="0"/>
                      <a:pt x="30" y="0"/>
                    </a:cubicBezTo>
                    <a:cubicBezTo>
                      <a:pt x="17" y="0"/>
                      <a:pt x="17" y="0"/>
                      <a:pt x="17" y="0"/>
                    </a:cubicBezTo>
                    <a:cubicBezTo>
                      <a:pt x="8" y="0"/>
                      <a:pt x="1" y="7"/>
                      <a:pt x="0" y="17"/>
                    </a:cubicBezTo>
                    <a:lnTo>
                      <a:pt x="47" y="1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53" name="Rectangle 208"/>
              <p:cNvSpPr>
                <a:spLocks noChangeArrowheads="1"/>
              </p:cNvSpPr>
              <p:nvPr/>
            </p:nvSpPr>
            <p:spPr bwMode="auto">
              <a:xfrm>
                <a:off x="1928813" y="5192713"/>
                <a:ext cx="131763" cy="254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54" name="Freeform 209"/>
              <p:cNvSpPr>
                <a:spLocks/>
              </p:cNvSpPr>
              <p:nvPr/>
            </p:nvSpPr>
            <p:spPr bwMode="auto">
              <a:xfrm>
                <a:off x="2117725" y="5145088"/>
                <a:ext cx="133350" cy="47625"/>
              </a:xfrm>
              <a:custGeom>
                <a:avLst/>
                <a:gdLst>
                  <a:gd name="T0" fmla="*/ 47 w 47"/>
                  <a:gd name="T1" fmla="*/ 17 h 17"/>
                  <a:gd name="T2" fmla="*/ 30 w 47"/>
                  <a:gd name="T3" fmla="*/ 0 h 17"/>
                  <a:gd name="T4" fmla="*/ 17 w 47"/>
                  <a:gd name="T5" fmla="*/ 0 h 17"/>
                  <a:gd name="T6" fmla="*/ 0 w 47"/>
                  <a:gd name="T7" fmla="*/ 17 h 17"/>
                  <a:gd name="T8" fmla="*/ 47 w 47"/>
                  <a:gd name="T9" fmla="*/ 17 h 17"/>
                </a:gdLst>
                <a:ahLst/>
                <a:cxnLst>
                  <a:cxn ang="0">
                    <a:pos x="T0" y="T1"/>
                  </a:cxn>
                  <a:cxn ang="0">
                    <a:pos x="T2" y="T3"/>
                  </a:cxn>
                  <a:cxn ang="0">
                    <a:pos x="T4" y="T5"/>
                  </a:cxn>
                  <a:cxn ang="0">
                    <a:pos x="T6" y="T7"/>
                  </a:cxn>
                  <a:cxn ang="0">
                    <a:pos x="T8" y="T9"/>
                  </a:cxn>
                </a:cxnLst>
                <a:rect l="0" t="0" r="r" b="b"/>
                <a:pathLst>
                  <a:path w="47" h="17">
                    <a:moveTo>
                      <a:pt x="47" y="17"/>
                    </a:moveTo>
                    <a:cubicBezTo>
                      <a:pt x="46" y="7"/>
                      <a:pt x="39" y="0"/>
                      <a:pt x="30" y="0"/>
                    </a:cubicBezTo>
                    <a:cubicBezTo>
                      <a:pt x="17" y="0"/>
                      <a:pt x="17" y="0"/>
                      <a:pt x="17" y="0"/>
                    </a:cubicBezTo>
                    <a:cubicBezTo>
                      <a:pt x="8" y="0"/>
                      <a:pt x="1" y="7"/>
                      <a:pt x="0" y="17"/>
                    </a:cubicBezTo>
                    <a:lnTo>
                      <a:pt x="47" y="1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55" name="Rectangle 210"/>
              <p:cNvSpPr>
                <a:spLocks noChangeArrowheads="1"/>
              </p:cNvSpPr>
              <p:nvPr/>
            </p:nvSpPr>
            <p:spPr bwMode="auto">
              <a:xfrm>
                <a:off x="2117725" y="5192713"/>
                <a:ext cx="133350" cy="254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56" name="Freeform 211"/>
              <p:cNvSpPr>
                <a:spLocks/>
              </p:cNvSpPr>
              <p:nvPr/>
            </p:nvSpPr>
            <p:spPr bwMode="auto">
              <a:xfrm>
                <a:off x="1752600" y="4899026"/>
                <a:ext cx="127000" cy="106363"/>
              </a:xfrm>
              <a:custGeom>
                <a:avLst/>
                <a:gdLst>
                  <a:gd name="T0" fmla="*/ 14 w 45"/>
                  <a:gd name="T1" fmla="*/ 30 h 38"/>
                  <a:gd name="T2" fmla="*/ 11 w 45"/>
                  <a:gd name="T3" fmla="*/ 23 h 38"/>
                  <a:gd name="T4" fmla="*/ 22 w 45"/>
                  <a:gd name="T5" fmla="*/ 11 h 38"/>
                  <a:gd name="T6" fmla="*/ 33 w 45"/>
                  <a:gd name="T7" fmla="*/ 23 h 38"/>
                  <a:gd name="T8" fmla="*/ 30 w 45"/>
                  <a:gd name="T9" fmla="*/ 30 h 38"/>
                  <a:gd name="T10" fmla="*/ 38 w 45"/>
                  <a:gd name="T11" fmla="*/ 38 h 38"/>
                  <a:gd name="T12" fmla="*/ 45 w 45"/>
                  <a:gd name="T13" fmla="*/ 23 h 38"/>
                  <a:gd name="T14" fmla="*/ 22 w 45"/>
                  <a:gd name="T15" fmla="*/ 0 h 38"/>
                  <a:gd name="T16" fmla="*/ 0 w 45"/>
                  <a:gd name="T17" fmla="*/ 23 h 38"/>
                  <a:gd name="T18" fmla="*/ 6 w 45"/>
                  <a:gd name="T19" fmla="*/ 38 h 38"/>
                  <a:gd name="T20" fmla="*/ 14 w 45"/>
                  <a:gd name="T21" fmla="*/ 3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38">
                    <a:moveTo>
                      <a:pt x="14" y="30"/>
                    </a:moveTo>
                    <a:cubicBezTo>
                      <a:pt x="12" y="28"/>
                      <a:pt x="11" y="26"/>
                      <a:pt x="11" y="23"/>
                    </a:cubicBezTo>
                    <a:cubicBezTo>
                      <a:pt x="11" y="16"/>
                      <a:pt x="16" y="11"/>
                      <a:pt x="22" y="11"/>
                    </a:cubicBezTo>
                    <a:cubicBezTo>
                      <a:pt x="28" y="11"/>
                      <a:pt x="33" y="16"/>
                      <a:pt x="33" y="23"/>
                    </a:cubicBezTo>
                    <a:cubicBezTo>
                      <a:pt x="33" y="26"/>
                      <a:pt x="32" y="28"/>
                      <a:pt x="30" y="30"/>
                    </a:cubicBezTo>
                    <a:cubicBezTo>
                      <a:pt x="38" y="38"/>
                      <a:pt x="38" y="38"/>
                      <a:pt x="38" y="38"/>
                    </a:cubicBezTo>
                    <a:cubicBezTo>
                      <a:pt x="42" y="34"/>
                      <a:pt x="45" y="29"/>
                      <a:pt x="45" y="23"/>
                    </a:cubicBezTo>
                    <a:cubicBezTo>
                      <a:pt x="45" y="10"/>
                      <a:pt x="34" y="0"/>
                      <a:pt x="22" y="0"/>
                    </a:cubicBezTo>
                    <a:cubicBezTo>
                      <a:pt x="10" y="0"/>
                      <a:pt x="0" y="10"/>
                      <a:pt x="0" y="23"/>
                    </a:cubicBezTo>
                    <a:cubicBezTo>
                      <a:pt x="0" y="29"/>
                      <a:pt x="2" y="34"/>
                      <a:pt x="6" y="38"/>
                    </a:cubicBezTo>
                    <a:lnTo>
                      <a:pt x="14"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57" name="Freeform 212"/>
              <p:cNvSpPr>
                <a:spLocks/>
              </p:cNvSpPr>
              <p:nvPr/>
            </p:nvSpPr>
            <p:spPr bwMode="auto">
              <a:xfrm>
                <a:off x="2295525" y="4479926"/>
                <a:ext cx="111125" cy="130175"/>
              </a:xfrm>
              <a:custGeom>
                <a:avLst/>
                <a:gdLst>
                  <a:gd name="T0" fmla="*/ 31 w 39"/>
                  <a:gd name="T1" fmla="*/ 46 h 46"/>
                  <a:gd name="T2" fmla="*/ 0 w 39"/>
                  <a:gd name="T3" fmla="*/ 46 h 46"/>
                  <a:gd name="T4" fmla="*/ 0 w 39"/>
                  <a:gd name="T5" fmla="*/ 0 h 46"/>
                  <a:gd name="T6" fmla="*/ 31 w 39"/>
                  <a:gd name="T7" fmla="*/ 0 h 46"/>
                  <a:gd name="T8" fmla="*/ 39 w 39"/>
                  <a:gd name="T9" fmla="*/ 8 h 46"/>
                  <a:gd name="T10" fmla="*/ 39 w 39"/>
                  <a:gd name="T11" fmla="*/ 38 h 46"/>
                  <a:gd name="T12" fmla="*/ 31 w 39"/>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39" h="46">
                    <a:moveTo>
                      <a:pt x="31" y="46"/>
                    </a:moveTo>
                    <a:cubicBezTo>
                      <a:pt x="0" y="46"/>
                      <a:pt x="0" y="46"/>
                      <a:pt x="0" y="46"/>
                    </a:cubicBezTo>
                    <a:cubicBezTo>
                      <a:pt x="0" y="0"/>
                      <a:pt x="0" y="0"/>
                      <a:pt x="0" y="0"/>
                    </a:cubicBezTo>
                    <a:cubicBezTo>
                      <a:pt x="31" y="0"/>
                      <a:pt x="31" y="0"/>
                      <a:pt x="31" y="0"/>
                    </a:cubicBezTo>
                    <a:cubicBezTo>
                      <a:pt x="36" y="0"/>
                      <a:pt x="39" y="4"/>
                      <a:pt x="39" y="8"/>
                    </a:cubicBezTo>
                    <a:cubicBezTo>
                      <a:pt x="39" y="38"/>
                      <a:pt x="39" y="38"/>
                      <a:pt x="39" y="38"/>
                    </a:cubicBezTo>
                    <a:cubicBezTo>
                      <a:pt x="39" y="42"/>
                      <a:pt x="36" y="46"/>
                      <a:pt x="31" y="4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58" name="Rectangle 213"/>
              <p:cNvSpPr>
                <a:spLocks noChangeArrowheads="1"/>
              </p:cNvSpPr>
              <p:nvPr/>
            </p:nvSpPr>
            <p:spPr bwMode="auto">
              <a:xfrm>
                <a:off x="2324100" y="4610101"/>
                <a:ext cx="42863" cy="1349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59" name="Rectangle 214"/>
              <p:cNvSpPr>
                <a:spLocks noChangeArrowheads="1"/>
              </p:cNvSpPr>
              <p:nvPr/>
            </p:nvSpPr>
            <p:spPr bwMode="auto">
              <a:xfrm>
                <a:off x="2324100" y="4610101"/>
                <a:ext cx="42863" cy="444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60" name="Rectangle 215"/>
              <p:cNvSpPr>
                <a:spLocks noChangeArrowheads="1"/>
              </p:cNvSpPr>
              <p:nvPr/>
            </p:nvSpPr>
            <p:spPr bwMode="auto">
              <a:xfrm>
                <a:off x="2324100" y="4821238"/>
                <a:ext cx="42863" cy="1000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61" name="Rectangle 216"/>
              <p:cNvSpPr>
                <a:spLocks noChangeArrowheads="1"/>
              </p:cNvSpPr>
              <p:nvPr/>
            </p:nvSpPr>
            <p:spPr bwMode="auto">
              <a:xfrm>
                <a:off x="2324100" y="4821238"/>
                <a:ext cx="4286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62" name="Freeform 217"/>
              <p:cNvSpPr>
                <a:spLocks/>
              </p:cNvSpPr>
              <p:nvPr/>
            </p:nvSpPr>
            <p:spPr bwMode="auto">
              <a:xfrm>
                <a:off x="2298700" y="4686301"/>
                <a:ext cx="93663" cy="134938"/>
              </a:xfrm>
              <a:custGeom>
                <a:avLst/>
                <a:gdLst>
                  <a:gd name="T0" fmla="*/ 0 w 33"/>
                  <a:gd name="T1" fmla="*/ 38 h 48"/>
                  <a:gd name="T2" fmla="*/ 9 w 33"/>
                  <a:gd name="T3" fmla="*/ 48 h 48"/>
                  <a:gd name="T4" fmla="*/ 24 w 33"/>
                  <a:gd name="T5" fmla="*/ 48 h 48"/>
                  <a:gd name="T6" fmla="*/ 33 w 33"/>
                  <a:gd name="T7" fmla="*/ 38 h 48"/>
                  <a:gd name="T8" fmla="*/ 33 w 33"/>
                  <a:gd name="T9" fmla="*/ 10 h 48"/>
                  <a:gd name="T10" fmla="*/ 24 w 33"/>
                  <a:gd name="T11" fmla="*/ 0 h 48"/>
                  <a:gd name="T12" fmla="*/ 9 w 33"/>
                  <a:gd name="T13" fmla="*/ 0 h 48"/>
                  <a:gd name="T14" fmla="*/ 0 w 33"/>
                  <a:gd name="T15" fmla="*/ 10 h 48"/>
                  <a:gd name="T16" fmla="*/ 0 w 33"/>
                  <a:gd name="T17" fmla="*/ 3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48">
                    <a:moveTo>
                      <a:pt x="0" y="38"/>
                    </a:moveTo>
                    <a:cubicBezTo>
                      <a:pt x="0" y="43"/>
                      <a:pt x="4" y="48"/>
                      <a:pt x="9" y="48"/>
                    </a:cubicBezTo>
                    <a:cubicBezTo>
                      <a:pt x="24" y="48"/>
                      <a:pt x="24" y="48"/>
                      <a:pt x="24" y="48"/>
                    </a:cubicBezTo>
                    <a:cubicBezTo>
                      <a:pt x="29" y="48"/>
                      <a:pt x="33" y="43"/>
                      <a:pt x="33" y="38"/>
                    </a:cubicBezTo>
                    <a:cubicBezTo>
                      <a:pt x="33" y="10"/>
                      <a:pt x="33" y="10"/>
                      <a:pt x="33" y="10"/>
                    </a:cubicBezTo>
                    <a:cubicBezTo>
                      <a:pt x="33" y="5"/>
                      <a:pt x="29" y="0"/>
                      <a:pt x="24" y="0"/>
                    </a:cubicBezTo>
                    <a:cubicBezTo>
                      <a:pt x="9" y="0"/>
                      <a:pt x="9" y="0"/>
                      <a:pt x="9" y="0"/>
                    </a:cubicBezTo>
                    <a:cubicBezTo>
                      <a:pt x="4" y="0"/>
                      <a:pt x="0" y="5"/>
                      <a:pt x="0" y="10"/>
                    </a:cubicBezTo>
                    <a:lnTo>
                      <a:pt x="0" y="3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63" name="Freeform 218"/>
              <p:cNvSpPr>
                <a:spLocks/>
              </p:cNvSpPr>
              <p:nvPr/>
            </p:nvSpPr>
            <p:spPr bwMode="auto">
              <a:xfrm>
                <a:off x="2282825" y="4899026"/>
                <a:ext cx="127000" cy="106363"/>
              </a:xfrm>
              <a:custGeom>
                <a:avLst/>
                <a:gdLst>
                  <a:gd name="T0" fmla="*/ 30 w 45"/>
                  <a:gd name="T1" fmla="*/ 30 h 38"/>
                  <a:gd name="T2" fmla="*/ 34 w 45"/>
                  <a:gd name="T3" fmla="*/ 23 h 38"/>
                  <a:gd name="T4" fmla="*/ 22 w 45"/>
                  <a:gd name="T5" fmla="*/ 11 h 38"/>
                  <a:gd name="T6" fmla="*/ 11 w 45"/>
                  <a:gd name="T7" fmla="*/ 23 h 38"/>
                  <a:gd name="T8" fmla="*/ 14 w 45"/>
                  <a:gd name="T9" fmla="*/ 30 h 38"/>
                  <a:gd name="T10" fmla="*/ 6 w 45"/>
                  <a:gd name="T11" fmla="*/ 38 h 38"/>
                  <a:gd name="T12" fmla="*/ 0 w 45"/>
                  <a:gd name="T13" fmla="*/ 23 h 38"/>
                  <a:gd name="T14" fmla="*/ 22 w 45"/>
                  <a:gd name="T15" fmla="*/ 0 h 38"/>
                  <a:gd name="T16" fmla="*/ 45 w 45"/>
                  <a:gd name="T17" fmla="*/ 23 h 38"/>
                  <a:gd name="T18" fmla="*/ 38 w 45"/>
                  <a:gd name="T19" fmla="*/ 38 h 38"/>
                  <a:gd name="T20" fmla="*/ 30 w 45"/>
                  <a:gd name="T21" fmla="*/ 3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38">
                    <a:moveTo>
                      <a:pt x="30" y="30"/>
                    </a:moveTo>
                    <a:cubicBezTo>
                      <a:pt x="32" y="28"/>
                      <a:pt x="34" y="26"/>
                      <a:pt x="34" y="23"/>
                    </a:cubicBezTo>
                    <a:cubicBezTo>
                      <a:pt x="34" y="16"/>
                      <a:pt x="29" y="11"/>
                      <a:pt x="22" y="11"/>
                    </a:cubicBezTo>
                    <a:cubicBezTo>
                      <a:pt x="16" y="11"/>
                      <a:pt x="11" y="16"/>
                      <a:pt x="11" y="23"/>
                    </a:cubicBezTo>
                    <a:cubicBezTo>
                      <a:pt x="11" y="26"/>
                      <a:pt x="12" y="28"/>
                      <a:pt x="14" y="30"/>
                    </a:cubicBezTo>
                    <a:cubicBezTo>
                      <a:pt x="6" y="38"/>
                      <a:pt x="6" y="38"/>
                      <a:pt x="6" y="38"/>
                    </a:cubicBezTo>
                    <a:cubicBezTo>
                      <a:pt x="2" y="34"/>
                      <a:pt x="0" y="29"/>
                      <a:pt x="0" y="23"/>
                    </a:cubicBezTo>
                    <a:cubicBezTo>
                      <a:pt x="0" y="10"/>
                      <a:pt x="10" y="0"/>
                      <a:pt x="22" y="0"/>
                    </a:cubicBezTo>
                    <a:cubicBezTo>
                      <a:pt x="35" y="0"/>
                      <a:pt x="45" y="10"/>
                      <a:pt x="45" y="23"/>
                    </a:cubicBezTo>
                    <a:cubicBezTo>
                      <a:pt x="45" y="29"/>
                      <a:pt x="42" y="34"/>
                      <a:pt x="38" y="38"/>
                    </a:cubicBezTo>
                    <a:lnTo>
                      <a:pt x="30"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pic>
          <p:nvPicPr>
            <p:cNvPr id="69" name="Picture 68"/>
            <p:cNvPicPr>
              <a:picLocks noChangeAspect="1"/>
            </p:cNvPicPr>
            <p:nvPr/>
          </p:nvPicPr>
          <p:blipFill>
            <a:blip r:embed="rId8"/>
            <a:stretch>
              <a:fillRect/>
            </a:stretch>
          </p:blipFill>
          <p:spPr>
            <a:xfrm>
              <a:off x="7934045" y="4240811"/>
              <a:ext cx="1376001" cy="1376001"/>
            </a:xfrm>
            <a:prstGeom prst="rect">
              <a:avLst/>
            </a:prstGeom>
          </p:spPr>
        </p:pic>
      </p:grpSp>
      <p:grpSp>
        <p:nvGrpSpPr>
          <p:cNvPr id="3" name="Group 2"/>
          <p:cNvGrpSpPr/>
          <p:nvPr/>
        </p:nvGrpSpPr>
        <p:grpSpPr>
          <a:xfrm>
            <a:off x="403005" y="2029409"/>
            <a:ext cx="2269627" cy="3828914"/>
            <a:chOff x="394274" y="1989798"/>
            <a:chExt cx="2225327" cy="3754178"/>
          </a:xfrm>
        </p:grpSpPr>
        <p:sp>
          <p:nvSpPr>
            <p:cNvPr id="15" name="Rectangle 14"/>
            <p:cNvSpPr/>
            <p:nvPr/>
          </p:nvSpPr>
          <p:spPr bwMode="auto">
            <a:xfrm>
              <a:off x="394274" y="1989798"/>
              <a:ext cx="2225327" cy="375417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93260" rIns="9326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3260" defTabSz="950989" fontAlgn="base">
                <a:spcBef>
                  <a:spcPct val="0"/>
                </a:spcBef>
                <a:spcAft>
                  <a:spcPct val="0"/>
                </a:spcAft>
                <a:defRPr/>
              </a:pPr>
              <a:r>
                <a:rPr lang="en-US" sz="2040" dirty="0">
                  <a:solidFill>
                    <a:srgbClr val="FFFFFF"/>
                  </a:solidFill>
                  <a:latin typeface="+mj-lt"/>
                  <a:ea typeface="Segoe UI" pitchFamily="34" charset="0"/>
                  <a:cs typeface="Segoe UI Semibold" panose="020B0702040204020203" pitchFamily="34" charset="0"/>
                </a:rPr>
                <a:t>Start in seconds Scale instantly</a:t>
              </a:r>
            </a:p>
            <a:p>
              <a:pPr marL="93260" defTabSz="950989" fontAlgn="base">
                <a:spcBef>
                  <a:spcPct val="0"/>
                </a:spcBef>
                <a:spcAft>
                  <a:spcPct val="0"/>
                </a:spcAft>
                <a:defRPr/>
              </a:pPr>
              <a:r>
                <a:rPr lang="en-US" sz="2040" dirty="0">
                  <a:solidFill>
                    <a:srgbClr val="FFFFFF"/>
                  </a:solidFill>
                  <a:latin typeface="+mj-lt"/>
                  <a:ea typeface="Segoe UI" pitchFamily="34" charset="0"/>
                  <a:cs typeface="Segoe UI Semibold" panose="020B0702040204020203" pitchFamily="34" charset="0"/>
                </a:rPr>
                <a:t>Pay per job</a:t>
              </a:r>
            </a:p>
          </p:txBody>
        </p:sp>
        <p:sp>
          <p:nvSpPr>
            <p:cNvPr id="5" name="Freeform 5"/>
            <p:cNvSpPr>
              <a:spLocks/>
            </p:cNvSpPr>
            <p:nvPr/>
          </p:nvSpPr>
          <p:spPr bwMode="auto">
            <a:xfrm>
              <a:off x="568043" y="4060221"/>
              <a:ext cx="1841783" cy="1485017"/>
            </a:xfrm>
            <a:custGeom>
              <a:avLst/>
              <a:gdLst>
                <a:gd name="T0" fmla="*/ 8 w 1476"/>
                <a:gd name="T1" fmla="*/ 513 h 513"/>
                <a:gd name="T2" fmla="*/ 0 w 1476"/>
                <a:gd name="T3" fmla="*/ 478 h 513"/>
                <a:gd name="T4" fmla="*/ 429 w 1476"/>
                <a:gd name="T5" fmla="*/ 374 h 513"/>
                <a:gd name="T6" fmla="*/ 780 w 1476"/>
                <a:gd name="T7" fmla="*/ 155 h 513"/>
                <a:gd name="T8" fmla="*/ 1213 w 1476"/>
                <a:gd name="T9" fmla="*/ 138 h 513"/>
                <a:gd name="T10" fmla="*/ 1476 w 1476"/>
                <a:gd name="T11" fmla="*/ 0 h 513"/>
                <a:gd name="T12" fmla="*/ 1476 w 1476"/>
                <a:gd name="T13" fmla="*/ 0 h 513"/>
                <a:gd name="T14" fmla="*/ 1476 w 1476"/>
                <a:gd name="T15" fmla="*/ 36 h 513"/>
                <a:gd name="T16" fmla="*/ 1476 w 1476"/>
                <a:gd name="T17" fmla="*/ 39 h 513"/>
                <a:gd name="T18" fmla="*/ 1222 w 1476"/>
                <a:gd name="T19" fmla="*/ 175 h 513"/>
                <a:gd name="T20" fmla="*/ 792 w 1476"/>
                <a:gd name="T21" fmla="*/ 190 h 513"/>
                <a:gd name="T22" fmla="*/ 443 w 1476"/>
                <a:gd name="T23" fmla="*/ 407 h 513"/>
                <a:gd name="T24" fmla="*/ 8 w 1476"/>
                <a:gd name="T25" fmla="*/ 513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6" h="513">
                  <a:moveTo>
                    <a:pt x="8" y="513"/>
                  </a:moveTo>
                  <a:lnTo>
                    <a:pt x="0" y="478"/>
                  </a:lnTo>
                  <a:lnTo>
                    <a:pt x="429" y="374"/>
                  </a:lnTo>
                  <a:lnTo>
                    <a:pt x="780" y="155"/>
                  </a:lnTo>
                  <a:lnTo>
                    <a:pt x="1213" y="138"/>
                  </a:lnTo>
                  <a:lnTo>
                    <a:pt x="1476" y="0"/>
                  </a:lnTo>
                  <a:lnTo>
                    <a:pt x="1476" y="0"/>
                  </a:lnTo>
                  <a:lnTo>
                    <a:pt x="1476" y="36"/>
                  </a:lnTo>
                  <a:lnTo>
                    <a:pt x="1476" y="39"/>
                  </a:lnTo>
                  <a:lnTo>
                    <a:pt x="1222" y="175"/>
                  </a:lnTo>
                  <a:lnTo>
                    <a:pt x="792" y="190"/>
                  </a:lnTo>
                  <a:lnTo>
                    <a:pt x="443" y="407"/>
                  </a:lnTo>
                  <a:lnTo>
                    <a:pt x="8" y="513"/>
                  </a:lnTo>
                  <a:close/>
                </a:path>
              </a:pathLst>
            </a:custGeom>
            <a:solidFill>
              <a:schemeClr val="accent5"/>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55" name="Isosceles Triangle 554"/>
            <p:cNvSpPr/>
            <p:nvPr/>
          </p:nvSpPr>
          <p:spPr bwMode="auto">
            <a:xfrm rot="2530879">
              <a:off x="2295489" y="3957556"/>
              <a:ext cx="278116" cy="305300"/>
            </a:xfrm>
            <a:prstGeom prst="triangle">
              <a:avLst/>
            </a:prstGeom>
            <a:solidFill>
              <a:schemeClr val="accent5"/>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000000"/>
                </a:solidFill>
              </a:endParaRPr>
            </a:p>
          </p:txBody>
        </p:sp>
        <p:sp>
          <p:nvSpPr>
            <p:cNvPr id="558" name="Freeform 557"/>
            <p:cNvSpPr/>
            <p:nvPr/>
          </p:nvSpPr>
          <p:spPr bwMode="auto">
            <a:xfrm>
              <a:off x="558415" y="3806579"/>
              <a:ext cx="1853370" cy="1744794"/>
            </a:xfrm>
            <a:custGeom>
              <a:avLst/>
              <a:gdLst>
                <a:gd name="connsiteX0" fmla="*/ 0 w 4470400"/>
                <a:gd name="connsiteY0" fmla="*/ 0 h 1866900"/>
                <a:gd name="connsiteX1" fmla="*/ 0 w 4470400"/>
                <a:gd name="connsiteY1" fmla="*/ 1866900 h 1866900"/>
                <a:gd name="connsiteX2" fmla="*/ 4470400 w 4470400"/>
                <a:gd name="connsiteY2" fmla="*/ 1866900 h 1866900"/>
              </a:gdLst>
              <a:ahLst/>
              <a:cxnLst>
                <a:cxn ang="0">
                  <a:pos x="connsiteX0" y="connsiteY0"/>
                </a:cxn>
                <a:cxn ang="0">
                  <a:pos x="connsiteX1" y="connsiteY1"/>
                </a:cxn>
                <a:cxn ang="0">
                  <a:pos x="connsiteX2" y="connsiteY2"/>
                </a:cxn>
              </a:cxnLst>
              <a:rect l="l" t="t" r="r" b="b"/>
              <a:pathLst>
                <a:path w="4470400" h="1866900">
                  <a:moveTo>
                    <a:pt x="0" y="0"/>
                  </a:moveTo>
                  <a:lnTo>
                    <a:pt x="0" y="1866900"/>
                  </a:lnTo>
                  <a:lnTo>
                    <a:pt x="4470400" y="1866900"/>
                  </a:lnTo>
                </a:path>
              </a:pathLst>
            </a:custGeom>
            <a:ln w="38100">
              <a:solidFill>
                <a:srgbClr val="FFB9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kern="0">
                <a:solidFill>
                  <a:srgbClr val="000000"/>
                </a:solidFill>
              </a:endParaRPr>
            </a:p>
          </p:txBody>
        </p:sp>
        <p:pic>
          <p:nvPicPr>
            <p:cNvPr id="72" name="Picture 71"/>
            <p:cNvPicPr>
              <a:picLocks noChangeAspect="1"/>
            </p:cNvPicPr>
            <p:nvPr/>
          </p:nvPicPr>
          <p:blipFill>
            <a:blip r:embed="rId9"/>
            <a:stretch>
              <a:fillRect/>
            </a:stretch>
          </p:blipFill>
          <p:spPr>
            <a:xfrm>
              <a:off x="1305584" y="5051599"/>
              <a:ext cx="860768" cy="478026"/>
            </a:xfrm>
            <a:prstGeom prst="rect">
              <a:avLst/>
            </a:prstGeom>
          </p:spPr>
        </p:pic>
        <p:sp>
          <p:nvSpPr>
            <p:cNvPr id="73" name="Freeform 15"/>
            <p:cNvSpPr/>
            <p:nvPr/>
          </p:nvSpPr>
          <p:spPr>
            <a:xfrm>
              <a:off x="1072986" y="5162939"/>
              <a:ext cx="587123" cy="377380"/>
            </a:xfrm>
            <a:custGeom>
              <a:avLst/>
              <a:gdLst/>
              <a:ahLst/>
              <a:cxnLst/>
              <a:rect l="l" t="t" r="r" b="b"/>
              <a:pathLst>
                <a:path w="4369237" h="2818280">
                  <a:moveTo>
                    <a:pt x="0" y="1653849"/>
                  </a:moveTo>
                  <a:lnTo>
                    <a:pt x="505854" y="1653849"/>
                  </a:lnTo>
                  <a:cubicBezTo>
                    <a:pt x="540151" y="1653849"/>
                    <a:pt x="567954" y="1681652"/>
                    <a:pt x="567954" y="1715949"/>
                  </a:cubicBezTo>
                  <a:lnTo>
                    <a:pt x="567954" y="2563099"/>
                  </a:lnTo>
                  <a:cubicBezTo>
                    <a:pt x="567954" y="2597396"/>
                    <a:pt x="540151" y="2625199"/>
                    <a:pt x="505854" y="2625199"/>
                  </a:cubicBezTo>
                  <a:lnTo>
                    <a:pt x="0" y="2625199"/>
                  </a:lnTo>
                  <a:close/>
                  <a:moveTo>
                    <a:pt x="1471058" y="1564552"/>
                  </a:moveTo>
                  <a:cubicBezTo>
                    <a:pt x="1628088" y="1562633"/>
                    <a:pt x="1785714" y="1589291"/>
                    <a:pt x="1911787" y="1628449"/>
                  </a:cubicBezTo>
                  <a:cubicBezTo>
                    <a:pt x="2274001" y="1753861"/>
                    <a:pt x="2536204" y="1617337"/>
                    <a:pt x="2817456" y="1592731"/>
                  </a:cubicBezTo>
                  <a:cubicBezTo>
                    <a:pt x="3066032" y="1586248"/>
                    <a:pt x="3195281" y="1704650"/>
                    <a:pt x="3188931" y="1768150"/>
                  </a:cubicBezTo>
                  <a:cubicBezTo>
                    <a:pt x="3206393" y="1829269"/>
                    <a:pt x="3037720" y="2011170"/>
                    <a:pt x="2781737" y="1968968"/>
                  </a:cubicBezTo>
                  <a:cubicBezTo>
                    <a:pt x="2491226" y="1948595"/>
                    <a:pt x="2319775" y="1942510"/>
                    <a:pt x="2150706" y="2050724"/>
                  </a:cubicBezTo>
                  <a:lnTo>
                    <a:pt x="2098318" y="2072949"/>
                  </a:lnTo>
                  <a:cubicBezTo>
                    <a:pt x="2265271" y="2125337"/>
                    <a:pt x="2436985" y="2213443"/>
                    <a:pt x="2584887" y="2301549"/>
                  </a:cubicBezTo>
                  <a:cubicBezTo>
                    <a:pt x="2693101" y="2260538"/>
                    <a:pt x="3006103" y="2288585"/>
                    <a:pt x="3247668" y="2309487"/>
                  </a:cubicBezTo>
                  <a:cubicBezTo>
                    <a:pt x="3392130" y="2262920"/>
                    <a:pt x="3555644" y="2183015"/>
                    <a:pt x="3712012" y="2176930"/>
                  </a:cubicBezTo>
                  <a:cubicBezTo>
                    <a:pt x="3817580" y="2092528"/>
                    <a:pt x="3932674" y="1996220"/>
                    <a:pt x="4035862" y="1961824"/>
                  </a:cubicBezTo>
                  <a:cubicBezTo>
                    <a:pt x="4189055" y="1899911"/>
                    <a:pt x="4287481" y="1985636"/>
                    <a:pt x="4369237" y="2066599"/>
                  </a:cubicBezTo>
                  <a:lnTo>
                    <a:pt x="4185087" y="2199949"/>
                  </a:lnTo>
                  <a:cubicBezTo>
                    <a:pt x="4165507" y="2247838"/>
                    <a:pt x="4153073" y="2245722"/>
                    <a:pt x="4140637" y="2250749"/>
                  </a:cubicBezTo>
                  <a:cubicBezTo>
                    <a:pt x="4040095" y="2342294"/>
                    <a:pt x="3949079" y="2419553"/>
                    <a:pt x="3867587" y="2482524"/>
                  </a:cubicBezTo>
                  <a:cubicBezTo>
                    <a:pt x="3694550" y="2512686"/>
                    <a:pt x="3454837" y="2640480"/>
                    <a:pt x="3334187" y="2701599"/>
                  </a:cubicBezTo>
                  <a:cubicBezTo>
                    <a:pt x="3037589" y="2687312"/>
                    <a:pt x="2705273" y="2758748"/>
                    <a:pt x="2453918" y="2818280"/>
                  </a:cubicBezTo>
                  <a:cubicBezTo>
                    <a:pt x="2197933" y="2781768"/>
                    <a:pt x="1984416" y="2797776"/>
                    <a:pt x="1445856" y="2680169"/>
                  </a:cubicBezTo>
                  <a:cubicBezTo>
                    <a:pt x="1150184" y="2614950"/>
                    <a:pt x="861523" y="2543908"/>
                    <a:pt x="679887" y="2498399"/>
                  </a:cubicBezTo>
                  <a:lnTo>
                    <a:pt x="679887" y="1837999"/>
                  </a:lnTo>
                  <a:cubicBezTo>
                    <a:pt x="817735" y="1813657"/>
                    <a:pt x="922245" y="1736928"/>
                    <a:pt x="1033899" y="1672105"/>
                  </a:cubicBezTo>
                  <a:cubicBezTo>
                    <a:pt x="1157592" y="1596963"/>
                    <a:pt x="1314027" y="1566470"/>
                    <a:pt x="1471058" y="1564552"/>
                  </a:cubicBezTo>
                  <a:close/>
                  <a:moveTo>
                    <a:pt x="2769181" y="0"/>
                  </a:moveTo>
                  <a:lnTo>
                    <a:pt x="2946494" y="0"/>
                  </a:lnTo>
                  <a:lnTo>
                    <a:pt x="2946494" y="143415"/>
                  </a:lnTo>
                  <a:cubicBezTo>
                    <a:pt x="3029067" y="145588"/>
                    <a:pt x="3090779" y="156887"/>
                    <a:pt x="3162921" y="177313"/>
                  </a:cubicBezTo>
                  <a:lnTo>
                    <a:pt x="3162921" y="445891"/>
                  </a:lnTo>
                  <a:cubicBezTo>
                    <a:pt x="3039932" y="380702"/>
                    <a:pt x="2886955" y="350715"/>
                    <a:pt x="2836977" y="383310"/>
                  </a:cubicBezTo>
                  <a:cubicBezTo>
                    <a:pt x="2787868" y="402867"/>
                    <a:pt x="2792214" y="469359"/>
                    <a:pt x="2826547" y="492827"/>
                  </a:cubicBezTo>
                  <a:cubicBezTo>
                    <a:pt x="2869572" y="553235"/>
                    <a:pt x="3243756" y="612339"/>
                    <a:pt x="3209857" y="896997"/>
                  </a:cubicBezTo>
                  <a:cubicBezTo>
                    <a:pt x="3193343" y="1095171"/>
                    <a:pt x="3017767" y="1159056"/>
                    <a:pt x="2949102" y="1178613"/>
                  </a:cubicBezTo>
                  <a:lnTo>
                    <a:pt x="2949102" y="1345496"/>
                  </a:lnTo>
                  <a:lnTo>
                    <a:pt x="2771788" y="1345496"/>
                  </a:lnTo>
                  <a:lnTo>
                    <a:pt x="2771788" y="1199473"/>
                  </a:lnTo>
                  <a:cubicBezTo>
                    <a:pt x="2667051" y="1196865"/>
                    <a:pt x="2540151" y="1168182"/>
                    <a:pt x="2492780" y="1136892"/>
                  </a:cubicBezTo>
                  <a:lnTo>
                    <a:pt x="2492780" y="857884"/>
                  </a:lnTo>
                  <a:cubicBezTo>
                    <a:pt x="2589694" y="941325"/>
                    <a:pt x="2732240" y="975224"/>
                    <a:pt x="2810901" y="967401"/>
                  </a:cubicBezTo>
                  <a:cubicBezTo>
                    <a:pt x="2887390" y="959144"/>
                    <a:pt x="2889563" y="876571"/>
                    <a:pt x="2852622" y="844846"/>
                  </a:cubicBezTo>
                  <a:cubicBezTo>
                    <a:pt x="2801341" y="772269"/>
                    <a:pt x="2418899" y="746628"/>
                    <a:pt x="2487565" y="396348"/>
                  </a:cubicBezTo>
                  <a:cubicBezTo>
                    <a:pt x="2518421" y="217730"/>
                    <a:pt x="2697907" y="160364"/>
                    <a:pt x="2771788" y="153845"/>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93260" rIns="93260" bIns="9326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932559">
                <a:defRPr/>
              </a:pPr>
              <a:endParaRPr lang="en-US" sz="1224" dirty="0" err="1"/>
            </a:p>
          </p:txBody>
        </p:sp>
      </p:grpSp>
    </p:spTree>
    <p:extLst>
      <p:ext uri="{BB962C8B-B14F-4D97-AF65-F5344CB8AC3E}">
        <p14:creationId xmlns:p14="http://schemas.microsoft.com/office/powerpoint/2010/main" val="1098462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2000" fill="hold"/>
                                        <p:tgtEl>
                                          <p:spTgt spid="3"/>
                                        </p:tgtEl>
                                      </p:cBhvr>
                                      <p:by x="150000" y="150000"/>
                                    </p:animScale>
                                  </p:childTnLst>
                                </p:cTn>
                              </p:par>
                              <p:par>
                                <p:cTn id="7" presetID="9" presetClass="emph" presetSubtype="0" nodeType="withEffect">
                                  <p:stCondLst>
                                    <p:cond delay="0"/>
                                  </p:stCondLst>
                                  <p:childTnLst>
                                    <p:set>
                                      <p:cBhvr>
                                        <p:cTn id="8" dur="indefinite"/>
                                        <p:tgtEl>
                                          <p:spTgt spid="592"/>
                                        </p:tgtEl>
                                        <p:attrNameLst>
                                          <p:attrName>style.opacity</p:attrName>
                                        </p:attrNameLst>
                                      </p:cBhvr>
                                      <p:to>
                                        <p:strVal val="0.5"/>
                                      </p:to>
                                    </p:set>
                                    <p:animEffect filter="image" prLst="opacity: 0.5">
                                      <p:cBhvr rctx="IE">
                                        <p:cTn id="9" dur="indefinite"/>
                                        <p:tgtEl>
                                          <p:spTgt spid="592"/>
                                        </p:tgtEl>
                                      </p:cBhvr>
                                    </p:animEffect>
                                  </p:childTnLst>
                                </p:cTn>
                              </p:par>
                              <p:par>
                                <p:cTn id="10" presetID="9" presetClass="emph" presetSubtype="0" nodeType="withEffect">
                                  <p:stCondLst>
                                    <p:cond delay="0"/>
                                  </p:stCondLst>
                                  <p:childTnLst>
                                    <p:set>
                                      <p:cBhvr>
                                        <p:cTn id="11" dur="indefinite"/>
                                        <p:tgtEl>
                                          <p:spTgt spid="6"/>
                                        </p:tgtEl>
                                        <p:attrNameLst>
                                          <p:attrName>style.opacity</p:attrName>
                                        </p:attrNameLst>
                                      </p:cBhvr>
                                      <p:to>
                                        <p:strVal val="0.5"/>
                                      </p:to>
                                    </p:set>
                                    <p:animEffect filter="image" prLst="opacity: 0.5">
                                      <p:cBhvr rctx="IE">
                                        <p:cTn id="12" dur="indefinite"/>
                                        <p:tgtEl>
                                          <p:spTgt spid="6"/>
                                        </p:tgtEl>
                                      </p:cBhvr>
                                    </p:animEffect>
                                  </p:childTnLst>
                                </p:cTn>
                              </p:par>
                              <p:par>
                                <p:cTn id="13" presetID="9" presetClass="emph" presetSubtype="0" nodeType="withEffect">
                                  <p:stCondLst>
                                    <p:cond delay="0"/>
                                  </p:stCondLst>
                                  <p:childTnLst>
                                    <p:set>
                                      <p:cBhvr>
                                        <p:cTn id="14" dur="indefinite"/>
                                        <p:tgtEl>
                                          <p:spTgt spid="4"/>
                                        </p:tgtEl>
                                        <p:attrNameLst>
                                          <p:attrName>style.opacity</p:attrName>
                                        </p:attrNameLst>
                                      </p:cBhvr>
                                      <p:to>
                                        <p:strVal val="0.5"/>
                                      </p:to>
                                    </p:set>
                                    <p:animEffect filter="image" prLst="opacity: 0.5">
                                      <p:cBhvr rctx="IE">
                                        <p:cTn id="15" dur="indefinite"/>
                                        <p:tgtEl>
                                          <p:spTgt spid="4"/>
                                        </p:tgtEl>
                                      </p:cBhvr>
                                    </p:animEffect>
                                  </p:childTnLst>
                                </p:cTn>
                              </p:par>
                              <p:par>
                                <p:cTn id="16" presetID="9" presetClass="emph" presetSubtype="0" nodeType="withEffect">
                                  <p:stCondLst>
                                    <p:cond delay="0"/>
                                  </p:stCondLst>
                                  <p:childTnLst>
                                    <p:set>
                                      <p:cBhvr>
                                        <p:cTn id="17" dur="indefinite"/>
                                        <p:tgtEl>
                                          <p:spTgt spid="7"/>
                                        </p:tgtEl>
                                        <p:attrNameLst>
                                          <p:attrName>style.opacity</p:attrName>
                                        </p:attrNameLst>
                                      </p:cBhvr>
                                      <p:to>
                                        <p:strVal val="0.5"/>
                                      </p:to>
                                    </p:set>
                                    <p:animEffect filter="image" prLst="opacity: 0.5">
                                      <p:cBhvr rctx="IE">
                                        <p:cTn id="18" dur="indefinite"/>
                                        <p:tgtEl>
                                          <p:spTgt spid="7"/>
                                        </p:tgtEl>
                                      </p:cBhvr>
                                    </p:animEffect>
                                  </p:childTnLst>
                                </p:cTn>
                              </p:par>
                              <p:par>
                                <p:cTn id="19" presetID="9" presetClass="emph" presetSubtype="0" nodeType="withEffect">
                                  <p:stCondLst>
                                    <p:cond delay="0"/>
                                  </p:stCondLst>
                                  <p:childTnLst>
                                    <p:set>
                                      <p:cBhvr>
                                        <p:cTn id="20" dur="indefinite"/>
                                        <p:tgtEl>
                                          <p:spTgt spid="8"/>
                                        </p:tgtEl>
                                        <p:attrNameLst>
                                          <p:attrName>style.opacity</p:attrName>
                                        </p:attrNameLst>
                                      </p:cBhvr>
                                      <p:to>
                                        <p:strVal val="0.5"/>
                                      </p:to>
                                    </p:set>
                                    <p:animEffect filter="image" prLst="opacity: 0.5">
                                      <p:cBhvr rctx="IE">
                                        <p:cTn id="21" dur="indefinite"/>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82" y="1155156"/>
            <a:ext cx="12434711" cy="52988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dirty="0">
              <a:solidFill>
                <a:srgbClr val="FFFFFF"/>
              </a:solidFill>
              <a:latin typeface="Segoe UI Light"/>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What can you do in the </a:t>
            </a:r>
            <a:r>
              <a:rPr lang="en-US" dirty="0">
                <a:solidFill>
                  <a:schemeClr val="accent2"/>
                </a:solidFill>
              </a:rPr>
              <a:t>Azure Portal</a:t>
            </a:r>
            <a:r>
              <a:rPr lang="en-US" dirty="0"/>
              <a:t>?</a:t>
            </a:r>
          </a:p>
        </p:txBody>
      </p:sp>
      <p:grpSp>
        <p:nvGrpSpPr>
          <p:cNvPr id="52" name="Group 51"/>
          <p:cNvGrpSpPr/>
          <p:nvPr/>
        </p:nvGrpSpPr>
        <p:grpSpPr>
          <a:xfrm>
            <a:off x="275162" y="2054716"/>
            <a:ext cx="6351339" cy="652822"/>
            <a:chOff x="4756504" y="2020050"/>
            <a:chExt cx="6227368" cy="640080"/>
          </a:xfrm>
        </p:grpSpPr>
        <p:sp>
          <p:nvSpPr>
            <p:cNvPr id="25" name="Oval 24" hidden="1"/>
            <p:cNvSpPr/>
            <p:nvPr/>
          </p:nvSpPr>
          <p:spPr bwMode="auto">
            <a:xfrm>
              <a:off x="4756504" y="2020050"/>
              <a:ext cx="640080" cy="640080"/>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040" b="1" kern="0" dirty="0">
                <a:solidFill>
                  <a:srgbClr val="FFFFFF"/>
                </a:solidFill>
                <a:latin typeface="Segoe UI Light"/>
                <a:ea typeface="Segoe UI" pitchFamily="34" charset="0"/>
                <a:cs typeface="Segoe UI" pitchFamily="34" charset="0"/>
              </a:endParaRPr>
            </a:p>
          </p:txBody>
        </p:sp>
        <p:sp>
          <p:nvSpPr>
            <p:cNvPr id="59" name="TextBox 58"/>
            <p:cNvSpPr txBox="1"/>
            <p:nvPr/>
          </p:nvSpPr>
          <p:spPr>
            <a:xfrm>
              <a:off x="5331735" y="2109258"/>
              <a:ext cx="5652137" cy="498598"/>
            </a:xfrm>
            <a:prstGeom prst="rect">
              <a:avLst/>
            </a:prstGeom>
            <a:noFill/>
          </p:spPr>
          <p:txBody>
            <a:bodyPr wrap="square" lIns="186521" tIns="93260" rIns="186521" bIns="93260" rtlCol="0">
              <a:spAutoFit/>
            </a:bodyPr>
            <a:lstStyle/>
            <a:p>
              <a:pPr defTabSz="932597">
                <a:spcAft>
                  <a:spcPts val="612"/>
                </a:spcAft>
                <a:defRPr/>
              </a:pPr>
              <a:r>
                <a:rPr lang="en-US" sz="2040" kern="0" dirty="0">
                  <a:solidFill>
                    <a:srgbClr val="505050"/>
                  </a:solidFill>
                  <a:latin typeface="Segoe UI"/>
                </a:rPr>
                <a:t>Author U-SQL scripts</a:t>
              </a:r>
            </a:p>
          </p:txBody>
        </p:sp>
        <p:sp>
          <p:nvSpPr>
            <p:cNvPr id="68" name="Freeform 67"/>
            <p:cNvSpPr/>
            <p:nvPr/>
          </p:nvSpPr>
          <p:spPr>
            <a:xfrm>
              <a:off x="4851176" y="2109405"/>
              <a:ext cx="412637" cy="423270"/>
            </a:xfrm>
            <a:custGeom>
              <a:avLst/>
              <a:gdLst>
                <a:gd name="connsiteX0" fmla="*/ 260828 w 900424"/>
                <a:gd name="connsiteY0" fmla="*/ 764648 h 923624"/>
                <a:gd name="connsiteX1" fmla="*/ 260828 w 900424"/>
                <a:gd name="connsiteY1" fmla="*/ 794160 h 923624"/>
                <a:gd name="connsiteX2" fmla="*/ 752690 w 900424"/>
                <a:gd name="connsiteY2" fmla="*/ 794160 h 923624"/>
                <a:gd name="connsiteX3" fmla="*/ 752690 w 900424"/>
                <a:gd name="connsiteY3" fmla="*/ 764648 h 923624"/>
                <a:gd name="connsiteX4" fmla="*/ 523025 w 900424"/>
                <a:gd name="connsiteY4" fmla="*/ 689333 h 923624"/>
                <a:gd name="connsiteX5" fmla="*/ 529392 w 900424"/>
                <a:gd name="connsiteY5" fmla="*/ 718845 h 923624"/>
                <a:gd name="connsiteX6" fmla="*/ 752690 w 900424"/>
                <a:gd name="connsiteY6" fmla="*/ 718845 h 923624"/>
                <a:gd name="connsiteX7" fmla="*/ 752690 w 900424"/>
                <a:gd name="connsiteY7" fmla="*/ 689333 h 923624"/>
                <a:gd name="connsiteX8" fmla="*/ 260828 w 900424"/>
                <a:gd name="connsiteY8" fmla="*/ 689333 h 923624"/>
                <a:gd name="connsiteX9" fmla="*/ 260828 w 900424"/>
                <a:gd name="connsiteY9" fmla="*/ 718845 h 923624"/>
                <a:gd name="connsiteX10" fmla="*/ 520342 w 900424"/>
                <a:gd name="connsiteY10" fmla="*/ 718845 h 923624"/>
                <a:gd name="connsiteX11" fmla="*/ 427300 w 900424"/>
                <a:gd name="connsiteY11" fmla="*/ 689333 h 923624"/>
                <a:gd name="connsiteX12" fmla="*/ 506777 w 900424"/>
                <a:gd name="connsiteY12" fmla="*/ 614015 h 923624"/>
                <a:gd name="connsiteX13" fmla="*/ 513144 w 900424"/>
                <a:gd name="connsiteY13" fmla="*/ 643527 h 923624"/>
                <a:gd name="connsiteX14" fmla="*/ 752690 w 900424"/>
                <a:gd name="connsiteY14" fmla="*/ 643527 h 923624"/>
                <a:gd name="connsiteX15" fmla="*/ 752690 w 900424"/>
                <a:gd name="connsiteY15" fmla="*/ 614015 h 923624"/>
                <a:gd name="connsiteX16" fmla="*/ 260828 w 900424"/>
                <a:gd name="connsiteY16" fmla="*/ 614015 h 923624"/>
                <a:gd name="connsiteX17" fmla="*/ 260828 w 900424"/>
                <a:gd name="connsiteY17" fmla="*/ 643527 h 923624"/>
                <a:gd name="connsiteX18" fmla="*/ 334546 w 900424"/>
                <a:gd name="connsiteY18" fmla="*/ 643527 h 923624"/>
                <a:gd name="connsiteX19" fmla="*/ 307478 w 900424"/>
                <a:gd name="connsiteY19" fmla="*/ 614015 h 923624"/>
                <a:gd name="connsiteX20" fmla="*/ 467940 w 900424"/>
                <a:gd name="connsiteY20" fmla="*/ 571407 h 923624"/>
                <a:gd name="connsiteX21" fmla="*/ 385032 w 900424"/>
                <a:gd name="connsiteY21" fmla="*/ 646669 h 923624"/>
                <a:gd name="connsiteX22" fmla="*/ 506739 w 900424"/>
                <a:gd name="connsiteY22" fmla="*/ 697133 h 923624"/>
                <a:gd name="connsiteX23" fmla="*/ 260828 w 900424"/>
                <a:gd name="connsiteY23" fmla="*/ 563154 h 923624"/>
                <a:gd name="connsiteX24" fmla="*/ 260828 w 900424"/>
                <a:gd name="connsiteY24" fmla="*/ 568210 h 923624"/>
                <a:gd name="connsiteX25" fmla="*/ 265465 w 900424"/>
                <a:gd name="connsiteY25" fmla="*/ 568210 h 923624"/>
                <a:gd name="connsiteX26" fmla="*/ 477023 w 900424"/>
                <a:gd name="connsiteY26" fmla="*/ 538699 h 923624"/>
                <a:gd name="connsiteX27" fmla="*/ 477810 w 900424"/>
                <a:gd name="connsiteY27" fmla="*/ 539556 h 923624"/>
                <a:gd name="connsiteX28" fmla="*/ 481962 w 900424"/>
                <a:gd name="connsiteY28" fmla="*/ 568210 h 923624"/>
                <a:gd name="connsiteX29" fmla="*/ 752690 w 900424"/>
                <a:gd name="connsiteY29" fmla="*/ 568210 h 923624"/>
                <a:gd name="connsiteX30" fmla="*/ 752690 w 900424"/>
                <a:gd name="connsiteY30" fmla="*/ 538699 h 923624"/>
                <a:gd name="connsiteX31" fmla="*/ 407941 w 900424"/>
                <a:gd name="connsiteY31" fmla="*/ 463381 h 923624"/>
                <a:gd name="connsiteX32" fmla="*/ 435010 w 900424"/>
                <a:gd name="connsiteY32" fmla="*/ 492893 h 923624"/>
                <a:gd name="connsiteX33" fmla="*/ 752690 w 900424"/>
                <a:gd name="connsiteY33" fmla="*/ 492893 h 923624"/>
                <a:gd name="connsiteX34" fmla="*/ 752690 w 900424"/>
                <a:gd name="connsiteY34" fmla="*/ 463381 h 923624"/>
                <a:gd name="connsiteX35" fmla="*/ 338860 w 900424"/>
                <a:gd name="connsiteY35" fmla="*/ 388063 h 923624"/>
                <a:gd name="connsiteX36" fmla="*/ 365929 w 900424"/>
                <a:gd name="connsiteY36" fmla="*/ 417575 h 923624"/>
                <a:gd name="connsiteX37" fmla="*/ 752690 w 900424"/>
                <a:gd name="connsiteY37" fmla="*/ 417575 h 923624"/>
                <a:gd name="connsiteX38" fmla="*/ 752690 w 900424"/>
                <a:gd name="connsiteY38" fmla="*/ 388063 h 923624"/>
                <a:gd name="connsiteX39" fmla="*/ 208773 w 900424"/>
                <a:gd name="connsiteY39" fmla="*/ 287934 h 923624"/>
                <a:gd name="connsiteX40" fmla="*/ 191984 w 900424"/>
                <a:gd name="connsiteY40" fmla="*/ 292572 h 923624"/>
                <a:gd name="connsiteX41" fmla="*/ 127335 w 900424"/>
                <a:gd name="connsiteY41" fmla="*/ 351868 h 923624"/>
                <a:gd name="connsiteX42" fmla="*/ 129474 w 900424"/>
                <a:gd name="connsiteY42" fmla="*/ 386647 h 923624"/>
                <a:gd name="connsiteX43" fmla="*/ 350534 w 900424"/>
                <a:gd name="connsiteY43" fmla="*/ 627663 h 923624"/>
                <a:gd name="connsiteX44" fmla="*/ 384998 w 900424"/>
                <a:gd name="connsiteY44" fmla="*/ 632793 h 923624"/>
                <a:gd name="connsiteX45" fmla="*/ 449647 w 900424"/>
                <a:gd name="connsiteY45" fmla="*/ 573497 h 923624"/>
                <a:gd name="connsiteX46" fmla="*/ 447509 w 900424"/>
                <a:gd name="connsiteY46" fmla="*/ 538719 h 923624"/>
                <a:gd name="connsiteX47" fmla="*/ 226448 w 900424"/>
                <a:gd name="connsiteY47" fmla="*/ 297702 h 923624"/>
                <a:gd name="connsiteX48" fmla="*/ 208773 w 900424"/>
                <a:gd name="connsiteY48" fmla="*/ 287934 h 923624"/>
                <a:gd name="connsiteX49" fmla="*/ 260828 w 900424"/>
                <a:gd name="connsiteY49" fmla="*/ 270220 h 923624"/>
                <a:gd name="connsiteX50" fmla="*/ 260828 w 900424"/>
                <a:gd name="connsiteY50" fmla="*/ 302986 h 923624"/>
                <a:gd name="connsiteX51" fmla="*/ 266867 w 900424"/>
                <a:gd name="connsiteY51" fmla="*/ 309569 h 923624"/>
                <a:gd name="connsiteX52" fmla="*/ 555945 w 900424"/>
                <a:gd name="connsiteY52" fmla="*/ 309569 h 923624"/>
                <a:gd name="connsiteX53" fmla="*/ 555945 w 900424"/>
                <a:gd name="connsiteY53" fmla="*/ 270220 h 923624"/>
                <a:gd name="connsiteX54" fmla="*/ 593007 w 900424"/>
                <a:gd name="connsiteY54" fmla="*/ 119089 h 923624"/>
                <a:gd name="connsiteX55" fmla="*/ 593004 w 900424"/>
                <a:gd name="connsiteY55" fmla="*/ 272798 h 923624"/>
                <a:gd name="connsiteX56" fmla="*/ 636152 w 900424"/>
                <a:gd name="connsiteY56" fmla="*/ 321336 h 923624"/>
                <a:gd name="connsiteX57" fmla="*/ 797949 w 900424"/>
                <a:gd name="connsiteY57" fmla="*/ 324032 h 923624"/>
                <a:gd name="connsiteX58" fmla="*/ 655342 w 900424"/>
                <a:gd name="connsiteY58" fmla="*/ 99448 h 923624"/>
                <a:gd name="connsiteX59" fmla="*/ 721150 w 900424"/>
                <a:gd name="connsiteY59" fmla="*/ 99448 h 923624"/>
                <a:gd name="connsiteX60" fmla="*/ 900424 w 900424"/>
                <a:gd name="connsiteY60" fmla="*/ 281060 h 923624"/>
                <a:gd name="connsiteX61" fmla="*/ 900424 w 900424"/>
                <a:gd name="connsiteY61" fmla="*/ 853516 h 923624"/>
                <a:gd name="connsiteX62" fmla="*/ 852052 w 900424"/>
                <a:gd name="connsiteY62" fmla="*/ 905556 h 923624"/>
                <a:gd name="connsiteX63" fmla="*/ 828360 w 900424"/>
                <a:gd name="connsiteY63" fmla="*/ 905556 h 923624"/>
                <a:gd name="connsiteX64" fmla="*/ 849187 w 900424"/>
                <a:gd name="connsiteY64" fmla="*/ 863467 h 923624"/>
                <a:gd name="connsiteX65" fmla="*/ 849187 w 900424"/>
                <a:gd name="connsiteY65" fmla="*/ 293293 h 923624"/>
                <a:gd name="connsiteX66" fmla="*/ 284672 w 900424"/>
                <a:gd name="connsiteY66" fmla="*/ 26544 h 923624"/>
                <a:gd name="connsiteX67" fmla="*/ 306902 w 900424"/>
                <a:gd name="connsiteY67" fmla="*/ 26544 h 923624"/>
                <a:gd name="connsiteX68" fmla="*/ 312459 w 900424"/>
                <a:gd name="connsiteY68" fmla="*/ 32101 h 923624"/>
                <a:gd name="connsiteX69" fmla="*/ 312459 w 900424"/>
                <a:gd name="connsiteY69" fmla="*/ 71134 h 923624"/>
                <a:gd name="connsiteX70" fmla="*/ 341829 w 900424"/>
                <a:gd name="connsiteY70" fmla="*/ 71134 h 923624"/>
                <a:gd name="connsiteX71" fmla="*/ 341829 w 900424"/>
                <a:gd name="connsiteY71" fmla="*/ 32101 h 923624"/>
                <a:gd name="connsiteX72" fmla="*/ 347386 w 900424"/>
                <a:gd name="connsiteY72" fmla="*/ 26544 h 923624"/>
                <a:gd name="connsiteX73" fmla="*/ 369616 w 900424"/>
                <a:gd name="connsiteY73" fmla="*/ 26544 h 923624"/>
                <a:gd name="connsiteX74" fmla="*/ 375173 w 900424"/>
                <a:gd name="connsiteY74" fmla="*/ 32101 h 923624"/>
                <a:gd name="connsiteX75" fmla="*/ 375173 w 900424"/>
                <a:gd name="connsiteY75" fmla="*/ 71134 h 923624"/>
                <a:gd name="connsiteX76" fmla="*/ 404543 w 900424"/>
                <a:gd name="connsiteY76" fmla="*/ 71134 h 923624"/>
                <a:gd name="connsiteX77" fmla="*/ 404543 w 900424"/>
                <a:gd name="connsiteY77" fmla="*/ 32101 h 923624"/>
                <a:gd name="connsiteX78" fmla="*/ 410100 w 900424"/>
                <a:gd name="connsiteY78" fmla="*/ 26544 h 923624"/>
                <a:gd name="connsiteX79" fmla="*/ 432330 w 900424"/>
                <a:gd name="connsiteY79" fmla="*/ 26544 h 923624"/>
                <a:gd name="connsiteX80" fmla="*/ 437887 w 900424"/>
                <a:gd name="connsiteY80" fmla="*/ 32101 h 923624"/>
                <a:gd name="connsiteX81" fmla="*/ 437887 w 900424"/>
                <a:gd name="connsiteY81" fmla="*/ 71134 h 923624"/>
                <a:gd name="connsiteX82" fmla="*/ 467255 w 900424"/>
                <a:gd name="connsiteY82" fmla="*/ 71134 h 923624"/>
                <a:gd name="connsiteX83" fmla="*/ 467255 w 900424"/>
                <a:gd name="connsiteY83" fmla="*/ 32101 h 923624"/>
                <a:gd name="connsiteX84" fmla="*/ 472813 w 900424"/>
                <a:gd name="connsiteY84" fmla="*/ 26544 h 923624"/>
                <a:gd name="connsiteX85" fmla="*/ 495042 w 900424"/>
                <a:gd name="connsiteY85" fmla="*/ 26544 h 923624"/>
                <a:gd name="connsiteX86" fmla="*/ 500600 w 900424"/>
                <a:gd name="connsiteY86" fmla="*/ 32101 h 923624"/>
                <a:gd name="connsiteX87" fmla="*/ 500600 w 900424"/>
                <a:gd name="connsiteY87" fmla="*/ 71134 h 923624"/>
                <a:gd name="connsiteX88" fmla="*/ 606532 w 900424"/>
                <a:gd name="connsiteY88" fmla="*/ 71134 h 923624"/>
                <a:gd name="connsiteX89" fmla="*/ 833814 w 900424"/>
                <a:gd name="connsiteY89" fmla="*/ 298416 h 923624"/>
                <a:gd name="connsiteX90" fmla="*/ 833814 w 900424"/>
                <a:gd name="connsiteY90" fmla="*/ 868590 h 923624"/>
                <a:gd name="connsiteX91" fmla="*/ 778780 w 900424"/>
                <a:gd name="connsiteY91" fmla="*/ 923624 h 923624"/>
                <a:gd name="connsiteX92" fmla="*/ 239864 w 900424"/>
                <a:gd name="connsiteY92" fmla="*/ 923624 h 923624"/>
                <a:gd name="connsiteX93" fmla="*/ 184830 w 900424"/>
                <a:gd name="connsiteY93" fmla="*/ 868590 h 923624"/>
                <a:gd name="connsiteX94" fmla="*/ 184830 w 900424"/>
                <a:gd name="connsiteY94" fmla="*/ 480294 h 923624"/>
                <a:gd name="connsiteX95" fmla="*/ 108913 w 900424"/>
                <a:gd name="connsiteY95" fmla="*/ 397523 h 923624"/>
                <a:gd name="connsiteX96" fmla="*/ 110701 w 900424"/>
                <a:gd name="connsiteY96" fmla="*/ 356111 h 923624"/>
                <a:gd name="connsiteX97" fmla="*/ 184830 w 900424"/>
                <a:gd name="connsiteY97" fmla="*/ 288121 h 923624"/>
                <a:gd name="connsiteX98" fmla="*/ 184830 w 900424"/>
                <a:gd name="connsiteY98" fmla="*/ 255779 h 923624"/>
                <a:gd name="connsiteX99" fmla="*/ 182259 w 900424"/>
                <a:gd name="connsiteY99" fmla="*/ 258139 h 923624"/>
                <a:gd name="connsiteX100" fmla="*/ 181841 w 900424"/>
                <a:gd name="connsiteY100" fmla="*/ 251347 h 923624"/>
                <a:gd name="connsiteX101" fmla="*/ 140694 w 900424"/>
                <a:gd name="connsiteY101" fmla="*/ 206486 h 923624"/>
                <a:gd name="connsiteX102" fmla="*/ 121321 w 900424"/>
                <a:gd name="connsiteY102" fmla="*/ 203601 h 923624"/>
                <a:gd name="connsiteX103" fmla="*/ 42515 w 900424"/>
                <a:gd name="connsiteY103" fmla="*/ 275879 h 923624"/>
                <a:gd name="connsiteX104" fmla="*/ 43718 w 900424"/>
                <a:gd name="connsiteY104" fmla="*/ 295429 h 923624"/>
                <a:gd name="connsiteX105" fmla="*/ 84866 w 900424"/>
                <a:gd name="connsiteY105" fmla="*/ 340291 h 923624"/>
                <a:gd name="connsiteX106" fmla="*/ 91596 w 900424"/>
                <a:gd name="connsiteY106" fmla="*/ 341293 h 923624"/>
                <a:gd name="connsiteX107" fmla="*/ 83614 w 900424"/>
                <a:gd name="connsiteY107" fmla="*/ 348614 h 923624"/>
                <a:gd name="connsiteX108" fmla="*/ 60335 w 900424"/>
                <a:gd name="connsiteY108" fmla="*/ 347609 h 923624"/>
                <a:gd name="connsiteX109" fmla="*/ 15793 w 900424"/>
                <a:gd name="connsiteY109" fmla="*/ 299045 h 923624"/>
                <a:gd name="connsiteX110" fmla="*/ 16799 w 900424"/>
                <a:gd name="connsiteY110" fmla="*/ 275766 h 923624"/>
                <a:gd name="connsiteX111" fmla="*/ 122114 w 900424"/>
                <a:gd name="connsiteY111" fmla="*/ 179172 h 923624"/>
                <a:gd name="connsiteX112" fmla="*/ 145393 w 900424"/>
                <a:gd name="connsiteY112" fmla="*/ 180177 h 923624"/>
                <a:gd name="connsiteX113" fmla="*/ 184830 w 900424"/>
                <a:gd name="connsiteY113" fmla="*/ 223174 h 923624"/>
                <a:gd name="connsiteX114" fmla="*/ 184830 w 900424"/>
                <a:gd name="connsiteY114" fmla="*/ 126169 h 923624"/>
                <a:gd name="connsiteX115" fmla="*/ 239864 w 900424"/>
                <a:gd name="connsiteY115" fmla="*/ 71134 h 923624"/>
                <a:gd name="connsiteX116" fmla="*/ 279115 w 900424"/>
                <a:gd name="connsiteY116" fmla="*/ 71134 h 923624"/>
                <a:gd name="connsiteX117" fmla="*/ 279115 w 900424"/>
                <a:gd name="connsiteY117" fmla="*/ 32101 h 923624"/>
                <a:gd name="connsiteX118" fmla="*/ 284672 w 900424"/>
                <a:gd name="connsiteY118" fmla="*/ 26544 h 923624"/>
                <a:gd name="connsiteX119" fmla="*/ 185348 w 900424"/>
                <a:gd name="connsiteY119" fmla="*/ 0 h 923624"/>
                <a:gd name="connsiteX120" fmla="*/ 185239 w 900424"/>
                <a:gd name="connsiteY120" fmla="*/ 90 h 923624"/>
                <a:gd name="connsiteX121" fmla="*/ 177024 w 900424"/>
                <a:gd name="connsiteY121" fmla="*/ 4549 h 923624"/>
                <a:gd name="connsiteX122" fmla="*/ 69385 w 900424"/>
                <a:gd name="connsiteY122" fmla="*/ 97763 h 923624"/>
                <a:gd name="connsiteX123" fmla="*/ 0 w 900424"/>
                <a:gd name="connsiteY123" fmla="*/ 195399 h 923624"/>
                <a:gd name="connsiteX124" fmla="*/ 0 w 900424"/>
                <a:gd name="connsiteY124" fmla="*/ 195353 h 923624"/>
                <a:gd name="connsiteX125" fmla="*/ 69366 w 900424"/>
                <a:gd name="connsiteY125" fmla="*/ 97745 h 923624"/>
                <a:gd name="connsiteX126" fmla="*/ 177009 w 900424"/>
                <a:gd name="connsiteY126" fmla="*/ 4526 h 923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900424" h="923624">
                  <a:moveTo>
                    <a:pt x="260828" y="764648"/>
                  </a:moveTo>
                  <a:lnTo>
                    <a:pt x="260828" y="794160"/>
                  </a:lnTo>
                  <a:lnTo>
                    <a:pt x="752690" y="794160"/>
                  </a:lnTo>
                  <a:lnTo>
                    <a:pt x="752690" y="764648"/>
                  </a:lnTo>
                  <a:close/>
                  <a:moveTo>
                    <a:pt x="523025" y="689333"/>
                  </a:moveTo>
                  <a:lnTo>
                    <a:pt x="529392" y="718845"/>
                  </a:lnTo>
                  <a:lnTo>
                    <a:pt x="752690" y="718845"/>
                  </a:lnTo>
                  <a:lnTo>
                    <a:pt x="752690" y="689333"/>
                  </a:lnTo>
                  <a:close/>
                  <a:moveTo>
                    <a:pt x="260828" y="689333"/>
                  </a:moveTo>
                  <a:lnTo>
                    <a:pt x="260828" y="718845"/>
                  </a:lnTo>
                  <a:lnTo>
                    <a:pt x="520342" y="718845"/>
                  </a:lnTo>
                  <a:lnTo>
                    <a:pt x="427300" y="689333"/>
                  </a:lnTo>
                  <a:close/>
                  <a:moveTo>
                    <a:pt x="506777" y="614015"/>
                  </a:moveTo>
                  <a:lnTo>
                    <a:pt x="513144" y="643527"/>
                  </a:lnTo>
                  <a:lnTo>
                    <a:pt x="752690" y="643527"/>
                  </a:lnTo>
                  <a:lnTo>
                    <a:pt x="752690" y="614015"/>
                  </a:lnTo>
                  <a:close/>
                  <a:moveTo>
                    <a:pt x="260828" y="614015"/>
                  </a:moveTo>
                  <a:lnTo>
                    <a:pt x="260828" y="643527"/>
                  </a:lnTo>
                  <a:lnTo>
                    <a:pt x="334546" y="643527"/>
                  </a:lnTo>
                  <a:lnTo>
                    <a:pt x="307478" y="614015"/>
                  </a:lnTo>
                  <a:close/>
                  <a:moveTo>
                    <a:pt x="467940" y="571407"/>
                  </a:moveTo>
                  <a:lnTo>
                    <a:pt x="385032" y="646669"/>
                  </a:lnTo>
                  <a:lnTo>
                    <a:pt x="506739" y="697133"/>
                  </a:lnTo>
                  <a:close/>
                  <a:moveTo>
                    <a:pt x="260828" y="563154"/>
                  </a:moveTo>
                  <a:lnTo>
                    <a:pt x="260828" y="568210"/>
                  </a:lnTo>
                  <a:lnTo>
                    <a:pt x="265465" y="568210"/>
                  </a:lnTo>
                  <a:close/>
                  <a:moveTo>
                    <a:pt x="477023" y="538699"/>
                  </a:moveTo>
                  <a:lnTo>
                    <a:pt x="477810" y="539556"/>
                  </a:lnTo>
                  <a:cubicBezTo>
                    <a:pt x="485324" y="547748"/>
                    <a:pt x="487299" y="559060"/>
                    <a:pt x="481962" y="568210"/>
                  </a:cubicBezTo>
                  <a:lnTo>
                    <a:pt x="752690" y="568210"/>
                  </a:lnTo>
                  <a:lnTo>
                    <a:pt x="752690" y="538699"/>
                  </a:lnTo>
                  <a:close/>
                  <a:moveTo>
                    <a:pt x="407941" y="463381"/>
                  </a:moveTo>
                  <a:lnTo>
                    <a:pt x="435010" y="492893"/>
                  </a:lnTo>
                  <a:lnTo>
                    <a:pt x="752690" y="492893"/>
                  </a:lnTo>
                  <a:lnTo>
                    <a:pt x="752690" y="463381"/>
                  </a:lnTo>
                  <a:close/>
                  <a:moveTo>
                    <a:pt x="338860" y="388063"/>
                  </a:moveTo>
                  <a:lnTo>
                    <a:pt x="365929" y="417575"/>
                  </a:lnTo>
                  <a:lnTo>
                    <a:pt x="752690" y="417575"/>
                  </a:lnTo>
                  <a:lnTo>
                    <a:pt x="752690" y="388063"/>
                  </a:lnTo>
                  <a:close/>
                  <a:moveTo>
                    <a:pt x="208773" y="287934"/>
                  </a:moveTo>
                  <a:cubicBezTo>
                    <a:pt x="202536" y="287006"/>
                    <a:pt x="196448" y="288478"/>
                    <a:pt x="191984" y="292572"/>
                  </a:cubicBezTo>
                  <a:lnTo>
                    <a:pt x="127335" y="351868"/>
                  </a:lnTo>
                  <a:cubicBezTo>
                    <a:pt x="118408" y="360056"/>
                    <a:pt x="119366" y="375627"/>
                    <a:pt x="129474" y="386647"/>
                  </a:cubicBezTo>
                  <a:lnTo>
                    <a:pt x="350534" y="627663"/>
                  </a:lnTo>
                  <a:cubicBezTo>
                    <a:pt x="360643" y="638684"/>
                    <a:pt x="376072" y="640981"/>
                    <a:pt x="384998" y="632793"/>
                  </a:cubicBezTo>
                  <a:lnTo>
                    <a:pt x="449647" y="573497"/>
                  </a:lnTo>
                  <a:cubicBezTo>
                    <a:pt x="458574" y="565310"/>
                    <a:pt x="457616" y="549739"/>
                    <a:pt x="447509" y="538719"/>
                  </a:cubicBezTo>
                  <a:lnTo>
                    <a:pt x="226448" y="297702"/>
                  </a:lnTo>
                  <a:cubicBezTo>
                    <a:pt x="221394" y="292192"/>
                    <a:pt x="215010" y="288864"/>
                    <a:pt x="208773" y="287934"/>
                  </a:cubicBezTo>
                  <a:close/>
                  <a:moveTo>
                    <a:pt x="260828" y="270220"/>
                  </a:moveTo>
                  <a:lnTo>
                    <a:pt x="260828" y="302986"/>
                  </a:lnTo>
                  <a:lnTo>
                    <a:pt x="266867" y="309569"/>
                  </a:lnTo>
                  <a:lnTo>
                    <a:pt x="555945" y="309569"/>
                  </a:lnTo>
                  <a:lnTo>
                    <a:pt x="555945" y="270220"/>
                  </a:lnTo>
                  <a:close/>
                  <a:moveTo>
                    <a:pt x="593007" y="119089"/>
                  </a:moveTo>
                  <a:cubicBezTo>
                    <a:pt x="593007" y="170326"/>
                    <a:pt x="593004" y="221561"/>
                    <a:pt x="593004" y="272798"/>
                  </a:cubicBezTo>
                  <a:cubicBezTo>
                    <a:pt x="592019" y="301786"/>
                    <a:pt x="619210" y="317966"/>
                    <a:pt x="636152" y="321336"/>
                  </a:cubicBezTo>
                  <a:lnTo>
                    <a:pt x="797949" y="324032"/>
                  </a:lnTo>
                  <a:close/>
                  <a:moveTo>
                    <a:pt x="655342" y="99448"/>
                  </a:moveTo>
                  <a:lnTo>
                    <a:pt x="721150" y="99448"/>
                  </a:lnTo>
                  <a:lnTo>
                    <a:pt x="900424" y="281060"/>
                  </a:lnTo>
                  <a:lnTo>
                    <a:pt x="900424" y="853516"/>
                  </a:lnTo>
                  <a:cubicBezTo>
                    <a:pt x="900424" y="882257"/>
                    <a:pt x="878768" y="905556"/>
                    <a:pt x="852052" y="905556"/>
                  </a:cubicBezTo>
                  <a:lnTo>
                    <a:pt x="828360" y="905556"/>
                  </a:lnTo>
                  <a:cubicBezTo>
                    <a:pt x="841265" y="896085"/>
                    <a:pt x="849187" y="880701"/>
                    <a:pt x="849187" y="863467"/>
                  </a:cubicBezTo>
                  <a:lnTo>
                    <a:pt x="849187" y="293293"/>
                  </a:lnTo>
                  <a:close/>
                  <a:moveTo>
                    <a:pt x="284672" y="26544"/>
                  </a:moveTo>
                  <a:lnTo>
                    <a:pt x="306902" y="26544"/>
                  </a:lnTo>
                  <a:cubicBezTo>
                    <a:pt x="309971" y="26544"/>
                    <a:pt x="312459" y="29032"/>
                    <a:pt x="312459" y="32101"/>
                  </a:cubicBezTo>
                  <a:lnTo>
                    <a:pt x="312459" y="71134"/>
                  </a:lnTo>
                  <a:lnTo>
                    <a:pt x="341829" y="71134"/>
                  </a:lnTo>
                  <a:lnTo>
                    <a:pt x="341829" y="32101"/>
                  </a:lnTo>
                  <a:lnTo>
                    <a:pt x="347386" y="26544"/>
                  </a:lnTo>
                  <a:lnTo>
                    <a:pt x="369616" y="26544"/>
                  </a:lnTo>
                  <a:cubicBezTo>
                    <a:pt x="372685" y="26544"/>
                    <a:pt x="375173" y="29032"/>
                    <a:pt x="375173" y="32101"/>
                  </a:cubicBezTo>
                  <a:lnTo>
                    <a:pt x="375173" y="71134"/>
                  </a:lnTo>
                  <a:lnTo>
                    <a:pt x="404543" y="71134"/>
                  </a:lnTo>
                  <a:lnTo>
                    <a:pt x="404543" y="32101"/>
                  </a:lnTo>
                  <a:lnTo>
                    <a:pt x="410100" y="26544"/>
                  </a:lnTo>
                  <a:lnTo>
                    <a:pt x="432330" y="26544"/>
                  </a:lnTo>
                  <a:cubicBezTo>
                    <a:pt x="435399" y="26544"/>
                    <a:pt x="437887" y="29032"/>
                    <a:pt x="437887" y="32101"/>
                  </a:cubicBezTo>
                  <a:lnTo>
                    <a:pt x="437887" y="71134"/>
                  </a:lnTo>
                  <a:lnTo>
                    <a:pt x="467255" y="71134"/>
                  </a:lnTo>
                  <a:lnTo>
                    <a:pt x="467255" y="32101"/>
                  </a:lnTo>
                  <a:lnTo>
                    <a:pt x="472813" y="26544"/>
                  </a:lnTo>
                  <a:lnTo>
                    <a:pt x="495042" y="26544"/>
                  </a:lnTo>
                  <a:cubicBezTo>
                    <a:pt x="498112" y="26544"/>
                    <a:pt x="500600" y="29032"/>
                    <a:pt x="500600" y="32101"/>
                  </a:cubicBezTo>
                  <a:lnTo>
                    <a:pt x="500600" y="71134"/>
                  </a:lnTo>
                  <a:lnTo>
                    <a:pt x="606532" y="71134"/>
                  </a:lnTo>
                  <a:lnTo>
                    <a:pt x="833814" y="298416"/>
                  </a:lnTo>
                  <a:lnTo>
                    <a:pt x="833814" y="868590"/>
                  </a:lnTo>
                  <a:cubicBezTo>
                    <a:pt x="833814" y="898985"/>
                    <a:pt x="809174" y="923624"/>
                    <a:pt x="778780" y="923624"/>
                  </a:cubicBezTo>
                  <a:lnTo>
                    <a:pt x="239864" y="923624"/>
                  </a:lnTo>
                  <a:cubicBezTo>
                    <a:pt x="209468" y="923624"/>
                    <a:pt x="184830" y="898985"/>
                    <a:pt x="184830" y="868590"/>
                  </a:cubicBezTo>
                  <a:lnTo>
                    <a:pt x="184830" y="480294"/>
                  </a:lnTo>
                  <a:lnTo>
                    <a:pt x="108913" y="397523"/>
                  </a:lnTo>
                  <a:cubicBezTo>
                    <a:pt x="97970" y="385594"/>
                    <a:pt x="98771" y="367054"/>
                    <a:pt x="110701" y="356111"/>
                  </a:cubicBezTo>
                  <a:lnTo>
                    <a:pt x="184830" y="288121"/>
                  </a:lnTo>
                  <a:lnTo>
                    <a:pt x="184830" y="255779"/>
                  </a:lnTo>
                  <a:lnTo>
                    <a:pt x="182259" y="258139"/>
                  </a:lnTo>
                  <a:lnTo>
                    <a:pt x="181841" y="251347"/>
                  </a:lnTo>
                  <a:lnTo>
                    <a:pt x="140694" y="206486"/>
                  </a:lnTo>
                  <a:cubicBezTo>
                    <a:pt x="135010" y="200289"/>
                    <a:pt x="126337" y="198998"/>
                    <a:pt x="121321" y="203601"/>
                  </a:cubicBezTo>
                  <a:lnTo>
                    <a:pt x="42515" y="275879"/>
                  </a:lnTo>
                  <a:cubicBezTo>
                    <a:pt x="37498" y="280481"/>
                    <a:pt x="38036" y="289234"/>
                    <a:pt x="43718" y="295429"/>
                  </a:cubicBezTo>
                  <a:lnTo>
                    <a:pt x="84866" y="340291"/>
                  </a:lnTo>
                  <a:cubicBezTo>
                    <a:pt x="86431" y="341998"/>
                    <a:pt x="88223" y="343333"/>
                    <a:pt x="91596" y="341293"/>
                  </a:cubicBezTo>
                  <a:lnTo>
                    <a:pt x="83614" y="348614"/>
                  </a:lnTo>
                  <a:cubicBezTo>
                    <a:pt x="76908" y="354765"/>
                    <a:pt x="66487" y="354315"/>
                    <a:pt x="60335" y="347609"/>
                  </a:cubicBezTo>
                  <a:lnTo>
                    <a:pt x="15793" y="299045"/>
                  </a:lnTo>
                  <a:cubicBezTo>
                    <a:pt x="9642" y="292339"/>
                    <a:pt x="10092" y="281917"/>
                    <a:pt x="16799" y="275766"/>
                  </a:cubicBezTo>
                  <a:lnTo>
                    <a:pt x="122114" y="179172"/>
                  </a:lnTo>
                  <a:cubicBezTo>
                    <a:pt x="128819" y="173020"/>
                    <a:pt x="139241" y="173471"/>
                    <a:pt x="145393" y="180177"/>
                  </a:cubicBezTo>
                  <a:lnTo>
                    <a:pt x="184830" y="223174"/>
                  </a:lnTo>
                  <a:lnTo>
                    <a:pt x="184830" y="126169"/>
                  </a:lnTo>
                  <a:cubicBezTo>
                    <a:pt x="184830" y="95774"/>
                    <a:pt x="209468" y="71134"/>
                    <a:pt x="239864" y="71134"/>
                  </a:cubicBezTo>
                  <a:lnTo>
                    <a:pt x="279115" y="71134"/>
                  </a:lnTo>
                  <a:lnTo>
                    <a:pt x="279115" y="32101"/>
                  </a:lnTo>
                  <a:cubicBezTo>
                    <a:pt x="279115" y="29032"/>
                    <a:pt x="281603" y="26544"/>
                    <a:pt x="284672" y="26544"/>
                  </a:cubicBezTo>
                  <a:close/>
                  <a:moveTo>
                    <a:pt x="185348" y="0"/>
                  </a:moveTo>
                  <a:lnTo>
                    <a:pt x="185239" y="90"/>
                  </a:lnTo>
                  <a:lnTo>
                    <a:pt x="177024" y="4549"/>
                  </a:lnTo>
                  <a:cubicBezTo>
                    <a:pt x="137501" y="31251"/>
                    <a:pt x="101362" y="62581"/>
                    <a:pt x="69385" y="97763"/>
                  </a:cubicBezTo>
                  <a:lnTo>
                    <a:pt x="0" y="195399"/>
                  </a:lnTo>
                  <a:lnTo>
                    <a:pt x="0" y="195353"/>
                  </a:lnTo>
                  <a:lnTo>
                    <a:pt x="69366" y="97745"/>
                  </a:lnTo>
                  <a:cubicBezTo>
                    <a:pt x="101344" y="62561"/>
                    <a:pt x="137484" y="31229"/>
                    <a:pt x="177009" y="4526"/>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defRPr/>
              </a:pPr>
              <a:endParaRPr lang="en-US" sz="1836">
                <a:solidFill>
                  <a:prstClr val="white"/>
                </a:solidFill>
                <a:latin typeface="Segoe UI"/>
              </a:endParaRPr>
            </a:p>
          </p:txBody>
        </p:sp>
      </p:grpSp>
      <p:grpSp>
        <p:nvGrpSpPr>
          <p:cNvPr id="87" name="Group 86"/>
          <p:cNvGrpSpPr/>
          <p:nvPr/>
        </p:nvGrpSpPr>
        <p:grpSpPr>
          <a:xfrm>
            <a:off x="275162" y="2779160"/>
            <a:ext cx="6351339" cy="652822"/>
            <a:chOff x="4756504" y="2766965"/>
            <a:chExt cx="6227368" cy="640080"/>
          </a:xfrm>
        </p:grpSpPr>
        <p:sp>
          <p:nvSpPr>
            <p:cNvPr id="31" name="Oval 30" hidden="1"/>
            <p:cNvSpPr/>
            <p:nvPr/>
          </p:nvSpPr>
          <p:spPr bwMode="auto">
            <a:xfrm>
              <a:off x="4756504" y="2766965"/>
              <a:ext cx="640080" cy="640080"/>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040" b="1" kern="0" dirty="0">
                <a:solidFill>
                  <a:srgbClr val="FFFFFF"/>
                </a:solidFill>
                <a:latin typeface="Segoe UI Light"/>
                <a:ea typeface="Segoe UI" pitchFamily="34" charset="0"/>
                <a:cs typeface="Segoe UI" pitchFamily="34" charset="0"/>
              </a:endParaRPr>
            </a:p>
          </p:txBody>
        </p:sp>
        <p:sp>
          <p:nvSpPr>
            <p:cNvPr id="60" name="TextBox 59"/>
            <p:cNvSpPr txBox="1"/>
            <p:nvPr/>
          </p:nvSpPr>
          <p:spPr>
            <a:xfrm>
              <a:off x="5331735" y="2856173"/>
              <a:ext cx="5652137" cy="498598"/>
            </a:xfrm>
            <a:prstGeom prst="rect">
              <a:avLst/>
            </a:prstGeom>
            <a:noFill/>
          </p:spPr>
          <p:txBody>
            <a:bodyPr wrap="square" lIns="186521" tIns="93260" rIns="186521" bIns="93260" rtlCol="0">
              <a:spAutoFit/>
            </a:bodyPr>
            <a:lstStyle/>
            <a:p>
              <a:pPr defTabSz="932597">
                <a:spcAft>
                  <a:spcPts val="612"/>
                </a:spcAft>
                <a:defRPr/>
              </a:pPr>
              <a:r>
                <a:rPr lang="en-US" sz="2040" kern="0" dirty="0">
                  <a:solidFill>
                    <a:srgbClr val="505050"/>
                  </a:solidFill>
                  <a:latin typeface="Segoe UI"/>
                </a:rPr>
                <a:t>Submit U-SQL jobs</a:t>
              </a:r>
            </a:p>
          </p:txBody>
        </p:sp>
        <p:grpSp>
          <p:nvGrpSpPr>
            <p:cNvPr id="69" name="Group 68"/>
            <p:cNvGrpSpPr/>
            <p:nvPr/>
          </p:nvGrpSpPr>
          <p:grpSpPr>
            <a:xfrm>
              <a:off x="4907761" y="2877180"/>
              <a:ext cx="337566" cy="419650"/>
              <a:chOff x="2983273" y="1977830"/>
              <a:chExt cx="3232609" cy="4018664"/>
            </a:xfrm>
            <a:solidFill>
              <a:schemeClr val="accent2"/>
            </a:solidFill>
          </p:grpSpPr>
          <p:sp>
            <p:nvSpPr>
              <p:cNvPr id="70" name="Rounded Rectangle 1"/>
              <p:cNvSpPr/>
              <p:nvPr/>
            </p:nvSpPr>
            <p:spPr>
              <a:xfrm>
                <a:off x="2983273" y="1977830"/>
                <a:ext cx="2836172" cy="4018664"/>
              </a:xfrm>
              <a:custGeom>
                <a:avLst/>
                <a:gdLst/>
                <a:ahLst/>
                <a:cxnLst/>
                <a:rect l="l" t="t" r="r" b="b"/>
                <a:pathLst>
                  <a:path w="2836173" h="4018665">
                    <a:moveTo>
                      <a:pt x="604193" y="2750734"/>
                    </a:moveTo>
                    <a:lnTo>
                      <a:pt x="604193" y="3040974"/>
                    </a:lnTo>
                    <a:lnTo>
                      <a:pt x="894435" y="3040974"/>
                    </a:lnTo>
                    <a:lnTo>
                      <a:pt x="894435" y="2750734"/>
                    </a:lnTo>
                    <a:close/>
                    <a:moveTo>
                      <a:pt x="487260" y="2633800"/>
                    </a:moveTo>
                    <a:lnTo>
                      <a:pt x="1011367" y="2633800"/>
                    </a:lnTo>
                    <a:lnTo>
                      <a:pt x="1011367" y="3157907"/>
                    </a:lnTo>
                    <a:lnTo>
                      <a:pt x="487260" y="3157907"/>
                    </a:lnTo>
                    <a:close/>
                    <a:moveTo>
                      <a:pt x="604193" y="2039544"/>
                    </a:moveTo>
                    <a:lnTo>
                      <a:pt x="604193" y="2329784"/>
                    </a:lnTo>
                    <a:lnTo>
                      <a:pt x="894435" y="2329784"/>
                    </a:lnTo>
                    <a:lnTo>
                      <a:pt x="894435" y="2039544"/>
                    </a:lnTo>
                    <a:close/>
                    <a:moveTo>
                      <a:pt x="487260" y="1922610"/>
                    </a:moveTo>
                    <a:lnTo>
                      <a:pt x="1011367" y="1922610"/>
                    </a:lnTo>
                    <a:lnTo>
                      <a:pt x="1011367" y="2446717"/>
                    </a:lnTo>
                    <a:lnTo>
                      <a:pt x="487260" y="2446717"/>
                    </a:lnTo>
                    <a:close/>
                    <a:moveTo>
                      <a:pt x="604193" y="1328353"/>
                    </a:moveTo>
                    <a:lnTo>
                      <a:pt x="604193" y="1618593"/>
                    </a:lnTo>
                    <a:lnTo>
                      <a:pt x="894435" y="1618593"/>
                    </a:lnTo>
                    <a:lnTo>
                      <a:pt x="894435" y="1328353"/>
                    </a:lnTo>
                    <a:close/>
                    <a:moveTo>
                      <a:pt x="487260" y="1211419"/>
                    </a:moveTo>
                    <a:lnTo>
                      <a:pt x="1011367" y="1211419"/>
                    </a:lnTo>
                    <a:lnTo>
                      <a:pt x="1011367" y="1735526"/>
                    </a:lnTo>
                    <a:lnTo>
                      <a:pt x="487260" y="1735526"/>
                    </a:lnTo>
                    <a:close/>
                    <a:moveTo>
                      <a:pt x="1709991" y="285430"/>
                    </a:moveTo>
                    <a:lnTo>
                      <a:pt x="2626240" y="285430"/>
                    </a:lnTo>
                    <a:cubicBezTo>
                      <a:pt x="2742182" y="285430"/>
                      <a:pt x="2836173" y="379420"/>
                      <a:pt x="2836173" y="495363"/>
                    </a:cubicBezTo>
                    <a:lnTo>
                      <a:pt x="2836173" y="1408107"/>
                    </a:lnTo>
                    <a:cubicBezTo>
                      <a:pt x="2780811" y="1377668"/>
                      <a:pt x="2720444" y="1356330"/>
                      <a:pt x="2657213" y="1342819"/>
                    </a:cubicBezTo>
                    <a:lnTo>
                      <a:pt x="2657213" y="566328"/>
                    </a:lnTo>
                    <a:lnTo>
                      <a:pt x="1790175" y="566328"/>
                    </a:lnTo>
                    <a:lnTo>
                      <a:pt x="1790175" y="320477"/>
                    </a:lnTo>
                    <a:lnTo>
                      <a:pt x="1793223" y="320490"/>
                    </a:lnTo>
                    <a:lnTo>
                      <a:pt x="1790175" y="319300"/>
                    </a:lnTo>
                    <a:lnTo>
                      <a:pt x="1790175" y="317296"/>
                    </a:lnTo>
                    <a:lnTo>
                      <a:pt x="1785038" y="317296"/>
                    </a:lnTo>
                    <a:cubicBezTo>
                      <a:pt x="1754874" y="307314"/>
                      <a:pt x="1730071" y="297759"/>
                      <a:pt x="1709991" y="285430"/>
                    </a:cubicBezTo>
                    <a:close/>
                    <a:moveTo>
                      <a:pt x="209933" y="285430"/>
                    </a:moveTo>
                    <a:lnTo>
                      <a:pt x="1126182" y="285430"/>
                    </a:lnTo>
                    <a:cubicBezTo>
                      <a:pt x="1106102" y="297759"/>
                      <a:pt x="1081301" y="307314"/>
                      <a:pt x="1051137" y="317296"/>
                    </a:cubicBezTo>
                    <a:lnTo>
                      <a:pt x="1046000" y="317296"/>
                    </a:lnTo>
                    <a:lnTo>
                      <a:pt x="1046000" y="319300"/>
                    </a:lnTo>
                    <a:lnTo>
                      <a:pt x="1042951" y="320490"/>
                    </a:lnTo>
                    <a:lnTo>
                      <a:pt x="1046000" y="320477"/>
                    </a:lnTo>
                    <a:lnTo>
                      <a:pt x="1046000" y="566328"/>
                    </a:lnTo>
                    <a:lnTo>
                      <a:pt x="188021" y="566328"/>
                    </a:lnTo>
                    <a:lnTo>
                      <a:pt x="188021" y="3541144"/>
                    </a:lnTo>
                    <a:cubicBezTo>
                      <a:pt x="227307" y="3547209"/>
                      <a:pt x="274898" y="3549269"/>
                      <a:pt x="352857" y="3534765"/>
                    </a:cubicBezTo>
                    <a:cubicBezTo>
                      <a:pt x="343673" y="3575178"/>
                      <a:pt x="345824" y="3617007"/>
                      <a:pt x="366117" y="3675472"/>
                    </a:cubicBezTo>
                    <a:lnTo>
                      <a:pt x="2657213" y="3675472"/>
                    </a:lnTo>
                    <a:lnTo>
                      <a:pt x="2657213" y="2948701"/>
                    </a:lnTo>
                    <a:cubicBezTo>
                      <a:pt x="2720444" y="2935191"/>
                      <a:pt x="2780811" y="2913852"/>
                      <a:pt x="2836173" y="2883413"/>
                    </a:cubicBezTo>
                    <a:lnTo>
                      <a:pt x="2836173" y="3808732"/>
                    </a:lnTo>
                    <a:cubicBezTo>
                      <a:pt x="2836173" y="3924674"/>
                      <a:pt x="2742182" y="4018665"/>
                      <a:pt x="2626240" y="4018665"/>
                    </a:cubicBezTo>
                    <a:lnTo>
                      <a:pt x="209933" y="4018665"/>
                    </a:lnTo>
                    <a:cubicBezTo>
                      <a:pt x="93991" y="4018665"/>
                      <a:pt x="0" y="3924674"/>
                      <a:pt x="0" y="3808732"/>
                    </a:cubicBezTo>
                    <a:lnTo>
                      <a:pt x="0" y="495363"/>
                    </a:lnTo>
                    <a:cubicBezTo>
                      <a:pt x="0" y="379420"/>
                      <a:pt x="93991" y="285430"/>
                      <a:pt x="209933" y="285430"/>
                    </a:cubicBezTo>
                    <a:close/>
                    <a:moveTo>
                      <a:pt x="1418087" y="90613"/>
                    </a:moveTo>
                    <a:cubicBezTo>
                      <a:pt x="1368825" y="90613"/>
                      <a:pt x="1328890" y="130548"/>
                      <a:pt x="1328890" y="179809"/>
                    </a:cubicBezTo>
                    <a:cubicBezTo>
                      <a:pt x="1328890" y="229070"/>
                      <a:pt x="1368825" y="269005"/>
                      <a:pt x="1418087" y="269005"/>
                    </a:cubicBezTo>
                    <a:cubicBezTo>
                      <a:pt x="1467348" y="269005"/>
                      <a:pt x="1507283" y="229070"/>
                      <a:pt x="1507283" y="179809"/>
                    </a:cubicBezTo>
                    <a:cubicBezTo>
                      <a:pt x="1507283" y="130548"/>
                      <a:pt x="1467348" y="90613"/>
                      <a:pt x="1418087" y="90613"/>
                    </a:cubicBezTo>
                    <a:close/>
                    <a:moveTo>
                      <a:pt x="1410992" y="0"/>
                    </a:moveTo>
                    <a:lnTo>
                      <a:pt x="1418087" y="1314"/>
                    </a:lnTo>
                    <a:lnTo>
                      <a:pt x="1425181" y="0"/>
                    </a:lnTo>
                    <a:cubicBezTo>
                      <a:pt x="1517420" y="0"/>
                      <a:pt x="1593360" y="69015"/>
                      <a:pt x="1600257" y="157982"/>
                    </a:cubicBezTo>
                    <a:lnTo>
                      <a:pt x="1601205" y="158054"/>
                    </a:lnTo>
                    <a:cubicBezTo>
                      <a:pt x="1620423" y="283756"/>
                      <a:pt x="1656230" y="311139"/>
                      <a:pt x="1758778" y="343573"/>
                    </a:cubicBezTo>
                    <a:lnTo>
                      <a:pt x="1763548" y="343573"/>
                    </a:lnTo>
                    <a:lnTo>
                      <a:pt x="1763548" y="345352"/>
                    </a:lnTo>
                    <a:lnTo>
                      <a:pt x="1766378" y="346407"/>
                    </a:lnTo>
                    <a:lnTo>
                      <a:pt x="1763548" y="346396"/>
                    </a:lnTo>
                    <a:lnTo>
                      <a:pt x="1763548" y="601046"/>
                    </a:lnTo>
                    <a:cubicBezTo>
                      <a:pt x="1780538" y="601834"/>
                      <a:pt x="1796627" y="602894"/>
                      <a:pt x="1811667" y="604082"/>
                    </a:cubicBezTo>
                    <a:cubicBezTo>
                      <a:pt x="2018855" y="620443"/>
                      <a:pt x="2151048" y="649389"/>
                      <a:pt x="2242567" y="702246"/>
                    </a:cubicBezTo>
                    <a:cubicBezTo>
                      <a:pt x="2334086" y="755103"/>
                      <a:pt x="2345526" y="818658"/>
                      <a:pt x="2341713" y="891022"/>
                    </a:cubicBezTo>
                    <a:cubicBezTo>
                      <a:pt x="2334143" y="891977"/>
                      <a:pt x="2306971" y="893302"/>
                      <a:pt x="2264420" y="894799"/>
                    </a:cubicBezTo>
                    <a:lnTo>
                      <a:pt x="488893" y="894799"/>
                    </a:lnTo>
                    <a:cubicBezTo>
                      <a:pt x="489646" y="803948"/>
                      <a:pt x="534105" y="727384"/>
                      <a:pt x="618111" y="679593"/>
                    </a:cubicBezTo>
                    <a:cubicBezTo>
                      <a:pt x="703280" y="631140"/>
                      <a:pt x="800513" y="620443"/>
                      <a:pt x="999439" y="607858"/>
                    </a:cubicBezTo>
                    <a:lnTo>
                      <a:pt x="1072626" y="604120"/>
                    </a:lnTo>
                    <a:lnTo>
                      <a:pt x="1072626" y="346396"/>
                    </a:lnTo>
                    <a:lnTo>
                      <a:pt x="1069796" y="346407"/>
                    </a:lnTo>
                    <a:lnTo>
                      <a:pt x="1072626" y="345352"/>
                    </a:lnTo>
                    <a:lnTo>
                      <a:pt x="1072626" y="343573"/>
                    </a:lnTo>
                    <a:lnTo>
                      <a:pt x="1077395" y="343573"/>
                    </a:lnTo>
                    <a:cubicBezTo>
                      <a:pt x="1179943" y="311139"/>
                      <a:pt x="1215751" y="283756"/>
                      <a:pt x="1234968" y="158054"/>
                    </a:cubicBezTo>
                    <a:lnTo>
                      <a:pt x="1235916" y="157982"/>
                    </a:lnTo>
                    <a:cubicBezTo>
                      <a:pt x="1242813" y="69015"/>
                      <a:pt x="1318753" y="0"/>
                      <a:pt x="141099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defRPr/>
                </a:pPr>
                <a:endParaRPr lang="en-US" sz="1836">
                  <a:solidFill>
                    <a:srgbClr val="FFFFFF"/>
                  </a:solidFill>
                  <a:latin typeface="Segoe UI"/>
                </a:endParaRPr>
              </a:p>
            </p:txBody>
          </p:sp>
          <p:sp>
            <p:nvSpPr>
              <p:cNvPr id="71" name="Oval 19"/>
              <p:cNvSpPr/>
              <p:nvPr/>
            </p:nvSpPr>
            <p:spPr>
              <a:xfrm>
                <a:off x="4704782" y="3368040"/>
                <a:ext cx="1511100" cy="1511100"/>
              </a:xfrm>
              <a:custGeom>
                <a:avLst/>
                <a:gdLst/>
                <a:ahLst/>
                <a:cxnLst/>
                <a:rect l="l" t="t" r="r" b="b"/>
                <a:pathLst>
                  <a:path w="1511096" h="1511096">
                    <a:moveTo>
                      <a:pt x="1106374" y="341188"/>
                    </a:moveTo>
                    <a:cubicBezTo>
                      <a:pt x="1119487" y="340661"/>
                      <a:pt x="1131244" y="344881"/>
                      <a:pt x="1143001" y="357241"/>
                    </a:cubicBezTo>
                    <a:lnTo>
                      <a:pt x="1238865" y="487471"/>
                    </a:lnTo>
                    <a:cubicBezTo>
                      <a:pt x="1249115" y="509779"/>
                      <a:pt x="1253937" y="532087"/>
                      <a:pt x="1226203" y="559821"/>
                    </a:cubicBezTo>
                    <a:cubicBezTo>
                      <a:pt x="1074871" y="667140"/>
                      <a:pt x="858423" y="886603"/>
                      <a:pt x="674533" y="1153092"/>
                    </a:cubicBezTo>
                    <a:cubicBezTo>
                      <a:pt x="643181" y="1171783"/>
                      <a:pt x="624490" y="1176002"/>
                      <a:pt x="596756" y="1160327"/>
                    </a:cubicBezTo>
                    <a:lnTo>
                      <a:pt x="278415" y="811238"/>
                    </a:lnTo>
                    <a:cubicBezTo>
                      <a:pt x="258520" y="792547"/>
                      <a:pt x="260328" y="763003"/>
                      <a:pt x="278415" y="738887"/>
                    </a:cubicBezTo>
                    <a:cubicBezTo>
                      <a:pt x="308562" y="689448"/>
                      <a:pt x="338707" y="668949"/>
                      <a:pt x="368853" y="633980"/>
                    </a:cubicBezTo>
                    <a:cubicBezTo>
                      <a:pt x="400808" y="614687"/>
                      <a:pt x="423720" y="611672"/>
                      <a:pt x="453865" y="635789"/>
                    </a:cubicBezTo>
                    <a:lnTo>
                      <a:pt x="620271" y="804003"/>
                    </a:lnTo>
                    <a:cubicBezTo>
                      <a:pt x="740251" y="619509"/>
                      <a:pt x="889173" y="463957"/>
                      <a:pt x="1061607" y="353624"/>
                    </a:cubicBezTo>
                    <a:cubicBezTo>
                      <a:pt x="1078790" y="346992"/>
                      <a:pt x="1093260" y="341716"/>
                      <a:pt x="1106374" y="341188"/>
                    </a:cubicBezTo>
                    <a:close/>
                    <a:moveTo>
                      <a:pt x="755548" y="118110"/>
                    </a:moveTo>
                    <a:cubicBezTo>
                      <a:pt x="403501" y="118110"/>
                      <a:pt x="118110" y="403501"/>
                      <a:pt x="118110" y="755548"/>
                    </a:cubicBezTo>
                    <a:cubicBezTo>
                      <a:pt x="118110" y="1107595"/>
                      <a:pt x="403501" y="1392986"/>
                      <a:pt x="755548" y="1392986"/>
                    </a:cubicBezTo>
                    <a:cubicBezTo>
                      <a:pt x="1107595" y="1392986"/>
                      <a:pt x="1392986" y="1107595"/>
                      <a:pt x="1392986" y="755548"/>
                    </a:cubicBezTo>
                    <a:cubicBezTo>
                      <a:pt x="1392986" y="403501"/>
                      <a:pt x="1107595" y="118110"/>
                      <a:pt x="755548" y="118110"/>
                    </a:cubicBezTo>
                    <a:close/>
                    <a:moveTo>
                      <a:pt x="755548" y="0"/>
                    </a:moveTo>
                    <a:cubicBezTo>
                      <a:pt x="1172826" y="0"/>
                      <a:pt x="1511096" y="338270"/>
                      <a:pt x="1511096" y="755548"/>
                    </a:cubicBezTo>
                    <a:cubicBezTo>
                      <a:pt x="1511096" y="1172826"/>
                      <a:pt x="1172826" y="1511096"/>
                      <a:pt x="755548" y="1511096"/>
                    </a:cubicBezTo>
                    <a:cubicBezTo>
                      <a:pt x="338270" y="1511096"/>
                      <a:pt x="0" y="1172826"/>
                      <a:pt x="0" y="755548"/>
                    </a:cubicBezTo>
                    <a:cubicBezTo>
                      <a:pt x="0" y="338270"/>
                      <a:pt x="338270" y="0"/>
                      <a:pt x="75554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defRPr/>
                </a:pPr>
                <a:endParaRPr lang="en-US" sz="1836">
                  <a:solidFill>
                    <a:srgbClr val="FFFFFF"/>
                  </a:solidFill>
                  <a:latin typeface="Segoe UI"/>
                </a:endParaRPr>
              </a:p>
            </p:txBody>
          </p:sp>
        </p:grpSp>
      </p:grpSp>
      <p:grpSp>
        <p:nvGrpSpPr>
          <p:cNvPr id="88" name="Group 87"/>
          <p:cNvGrpSpPr/>
          <p:nvPr/>
        </p:nvGrpSpPr>
        <p:grpSpPr>
          <a:xfrm>
            <a:off x="275162" y="3503603"/>
            <a:ext cx="6351339" cy="652822"/>
            <a:chOff x="4756504" y="3513880"/>
            <a:chExt cx="6227368" cy="640080"/>
          </a:xfrm>
        </p:grpSpPr>
        <p:sp>
          <p:nvSpPr>
            <p:cNvPr id="34" name="Oval 33" hidden="1"/>
            <p:cNvSpPr/>
            <p:nvPr/>
          </p:nvSpPr>
          <p:spPr bwMode="auto">
            <a:xfrm>
              <a:off x="4756504" y="3513880"/>
              <a:ext cx="640080" cy="640080"/>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040" b="1" kern="0" dirty="0">
                <a:solidFill>
                  <a:srgbClr val="FFFFFF"/>
                </a:solidFill>
                <a:latin typeface="Segoe UI Light"/>
                <a:ea typeface="Segoe UI" pitchFamily="34" charset="0"/>
                <a:cs typeface="Segoe UI" pitchFamily="34" charset="0"/>
              </a:endParaRPr>
            </a:p>
          </p:txBody>
        </p:sp>
        <p:sp>
          <p:nvSpPr>
            <p:cNvPr id="61" name="TextBox 60"/>
            <p:cNvSpPr txBox="1"/>
            <p:nvPr/>
          </p:nvSpPr>
          <p:spPr>
            <a:xfrm>
              <a:off x="5331735" y="3603088"/>
              <a:ext cx="5652137" cy="498598"/>
            </a:xfrm>
            <a:prstGeom prst="rect">
              <a:avLst/>
            </a:prstGeom>
            <a:noFill/>
          </p:spPr>
          <p:txBody>
            <a:bodyPr wrap="square" lIns="186521" tIns="93260" rIns="186521" bIns="93260" rtlCol="0">
              <a:spAutoFit/>
            </a:bodyPr>
            <a:lstStyle/>
            <a:p>
              <a:pPr defTabSz="932597">
                <a:spcAft>
                  <a:spcPts val="612"/>
                </a:spcAft>
                <a:defRPr/>
              </a:pPr>
              <a:r>
                <a:rPr lang="en-US" sz="2040" kern="0" dirty="0">
                  <a:solidFill>
                    <a:srgbClr val="505050"/>
                  </a:solidFill>
                  <a:latin typeface="Segoe UI"/>
                </a:rPr>
                <a:t>Cancel running jobs</a:t>
              </a:r>
            </a:p>
          </p:txBody>
        </p:sp>
        <p:sp>
          <p:nvSpPr>
            <p:cNvPr id="72" name="Rectangle 71"/>
            <p:cNvSpPr/>
            <p:nvPr/>
          </p:nvSpPr>
          <p:spPr>
            <a:xfrm>
              <a:off x="4866550" y="3556726"/>
              <a:ext cx="419988" cy="565091"/>
            </a:xfrm>
            <a:prstGeom prst="rect">
              <a:avLst/>
            </a:prstGeom>
            <a:noFill/>
          </p:spPr>
          <p:txBody>
            <a:bodyPr wrap="none" lIns="0" tIns="0" rIns="0" bIns="0" anchor="ctr">
              <a:spAutoFit/>
            </a:bodyPr>
            <a:lstStyle/>
            <a:p>
              <a:pPr algn="ctr" defTabSz="932597">
                <a:defRPr/>
              </a:pPr>
              <a:r>
                <a:rPr lang="en-IN" sz="3672" kern="0" dirty="0">
                  <a:solidFill>
                    <a:srgbClr val="50B347"/>
                  </a:solidFill>
                  <a:latin typeface="Segoe UI"/>
                  <a:sym typeface="Wingdings 2" panose="05020102010507070707" pitchFamily="18" charset="2"/>
                </a:rPr>
                <a:t></a:t>
              </a:r>
              <a:endParaRPr lang="en-US" sz="3672" kern="0" dirty="0">
                <a:solidFill>
                  <a:srgbClr val="50B347"/>
                </a:solidFill>
                <a:latin typeface="Segoe UI"/>
              </a:endParaRPr>
            </a:p>
          </p:txBody>
        </p:sp>
      </p:grpSp>
      <p:grpSp>
        <p:nvGrpSpPr>
          <p:cNvPr id="89" name="Group 88"/>
          <p:cNvGrpSpPr/>
          <p:nvPr/>
        </p:nvGrpSpPr>
        <p:grpSpPr>
          <a:xfrm>
            <a:off x="275162" y="4228046"/>
            <a:ext cx="6351339" cy="652822"/>
            <a:chOff x="4756504" y="4260795"/>
            <a:chExt cx="6227368" cy="640080"/>
          </a:xfrm>
        </p:grpSpPr>
        <p:sp>
          <p:nvSpPr>
            <p:cNvPr id="47" name="Oval 46" hidden="1"/>
            <p:cNvSpPr/>
            <p:nvPr/>
          </p:nvSpPr>
          <p:spPr bwMode="auto">
            <a:xfrm>
              <a:off x="4756504" y="4260795"/>
              <a:ext cx="640080" cy="640080"/>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040" b="1" kern="0" dirty="0">
                <a:solidFill>
                  <a:srgbClr val="FFFFFF"/>
                </a:solidFill>
                <a:latin typeface="Segoe UI Light"/>
                <a:ea typeface="Segoe UI" pitchFamily="34" charset="0"/>
                <a:cs typeface="Segoe UI" pitchFamily="34" charset="0"/>
              </a:endParaRPr>
            </a:p>
          </p:txBody>
        </p:sp>
        <p:sp>
          <p:nvSpPr>
            <p:cNvPr id="62" name="TextBox 61"/>
            <p:cNvSpPr txBox="1"/>
            <p:nvPr/>
          </p:nvSpPr>
          <p:spPr>
            <a:xfrm>
              <a:off x="5331735" y="4350003"/>
              <a:ext cx="5652137" cy="498598"/>
            </a:xfrm>
            <a:prstGeom prst="rect">
              <a:avLst/>
            </a:prstGeom>
            <a:noFill/>
          </p:spPr>
          <p:txBody>
            <a:bodyPr wrap="square" lIns="186521" tIns="93260" rIns="186521" bIns="93260" rtlCol="0">
              <a:spAutoFit/>
            </a:bodyPr>
            <a:lstStyle/>
            <a:p>
              <a:pPr defTabSz="932597">
                <a:spcAft>
                  <a:spcPts val="612"/>
                </a:spcAft>
                <a:defRPr/>
              </a:pPr>
              <a:r>
                <a:rPr lang="en-IN" sz="2040" kern="0" dirty="0">
                  <a:solidFill>
                    <a:srgbClr val="505050"/>
                  </a:solidFill>
                  <a:latin typeface="Segoe UI"/>
                </a:rPr>
                <a:t>Provision users who can submit jobs</a:t>
              </a:r>
            </a:p>
          </p:txBody>
        </p:sp>
        <p:sp>
          <p:nvSpPr>
            <p:cNvPr id="73" name="Oval 21"/>
            <p:cNvSpPr/>
            <p:nvPr/>
          </p:nvSpPr>
          <p:spPr>
            <a:xfrm>
              <a:off x="4858694" y="4361269"/>
              <a:ext cx="435700" cy="439132"/>
            </a:xfrm>
            <a:custGeom>
              <a:avLst/>
              <a:gdLst/>
              <a:ahLst/>
              <a:cxnLst/>
              <a:rect l="l" t="t" r="r" b="b"/>
              <a:pathLst>
                <a:path w="3255473" h="3281120">
                  <a:moveTo>
                    <a:pt x="2628792" y="1432041"/>
                  </a:moveTo>
                  <a:cubicBezTo>
                    <a:pt x="2640727" y="1432139"/>
                    <a:pt x="2653386" y="1432456"/>
                    <a:pt x="2667487" y="1432975"/>
                  </a:cubicBezTo>
                  <a:cubicBezTo>
                    <a:pt x="2965182" y="1443935"/>
                    <a:pt x="3241997" y="1545378"/>
                    <a:pt x="3255473" y="1769974"/>
                  </a:cubicBezTo>
                  <a:lnTo>
                    <a:pt x="3053550" y="2608466"/>
                  </a:lnTo>
                  <a:cubicBezTo>
                    <a:pt x="2913961" y="2885528"/>
                    <a:pt x="2630602" y="2920794"/>
                    <a:pt x="2414411" y="2844743"/>
                  </a:cubicBezTo>
                  <a:lnTo>
                    <a:pt x="2681229" y="1736772"/>
                  </a:lnTo>
                  <a:cubicBezTo>
                    <a:pt x="2673579" y="1609272"/>
                    <a:pt x="2628755" y="1510292"/>
                    <a:pt x="2521574" y="1437421"/>
                  </a:cubicBezTo>
                  <a:cubicBezTo>
                    <a:pt x="2563700" y="1433407"/>
                    <a:pt x="2592986" y="1431744"/>
                    <a:pt x="2628792" y="1432041"/>
                  </a:cubicBezTo>
                  <a:close/>
                  <a:moveTo>
                    <a:pt x="626682" y="1432041"/>
                  </a:moveTo>
                  <a:cubicBezTo>
                    <a:pt x="662487" y="1431744"/>
                    <a:pt x="691773" y="1433407"/>
                    <a:pt x="733899" y="1437421"/>
                  </a:cubicBezTo>
                  <a:cubicBezTo>
                    <a:pt x="626718" y="1510292"/>
                    <a:pt x="581894" y="1609272"/>
                    <a:pt x="574244" y="1736772"/>
                  </a:cubicBezTo>
                  <a:lnTo>
                    <a:pt x="841062" y="2844743"/>
                  </a:lnTo>
                  <a:cubicBezTo>
                    <a:pt x="624871" y="2920794"/>
                    <a:pt x="341512" y="2885528"/>
                    <a:pt x="201923" y="2608466"/>
                  </a:cubicBezTo>
                  <a:lnTo>
                    <a:pt x="0" y="1769974"/>
                  </a:lnTo>
                  <a:cubicBezTo>
                    <a:pt x="13476" y="1545378"/>
                    <a:pt x="290291" y="1443935"/>
                    <a:pt x="587986" y="1432975"/>
                  </a:cubicBezTo>
                  <a:cubicBezTo>
                    <a:pt x="602087" y="1432456"/>
                    <a:pt x="614746" y="1432139"/>
                    <a:pt x="626682" y="1432041"/>
                  </a:cubicBezTo>
                  <a:close/>
                  <a:moveTo>
                    <a:pt x="1525812" y="1267816"/>
                  </a:moveTo>
                  <a:cubicBezTo>
                    <a:pt x="2058433" y="1248206"/>
                    <a:pt x="2639086" y="1436734"/>
                    <a:pt x="2550682" y="1736771"/>
                  </a:cubicBezTo>
                  <a:lnTo>
                    <a:pt x="2260169" y="2903583"/>
                  </a:lnTo>
                  <a:cubicBezTo>
                    <a:pt x="2141106" y="3270296"/>
                    <a:pt x="1302907" y="3527470"/>
                    <a:pt x="988582" y="2903583"/>
                  </a:cubicBezTo>
                  <a:lnTo>
                    <a:pt x="707594" y="1736771"/>
                  </a:lnTo>
                  <a:cubicBezTo>
                    <a:pt x="726346" y="1424232"/>
                    <a:pt x="1111551" y="1283069"/>
                    <a:pt x="1525812" y="1267816"/>
                  </a:cubicBezTo>
                  <a:close/>
                  <a:moveTo>
                    <a:pt x="2588781" y="497832"/>
                  </a:moveTo>
                  <a:cubicBezTo>
                    <a:pt x="2804662" y="497832"/>
                    <a:pt x="2979668" y="672838"/>
                    <a:pt x="2979668" y="888719"/>
                  </a:cubicBezTo>
                  <a:cubicBezTo>
                    <a:pt x="2979668" y="1104600"/>
                    <a:pt x="2804662" y="1279606"/>
                    <a:pt x="2588781" y="1279606"/>
                  </a:cubicBezTo>
                  <a:cubicBezTo>
                    <a:pt x="2372900" y="1279606"/>
                    <a:pt x="2197894" y="1104600"/>
                    <a:pt x="2197894" y="888719"/>
                  </a:cubicBezTo>
                  <a:cubicBezTo>
                    <a:pt x="2197894" y="672838"/>
                    <a:pt x="2372900" y="497832"/>
                    <a:pt x="2588781" y="497832"/>
                  </a:cubicBezTo>
                  <a:close/>
                  <a:moveTo>
                    <a:pt x="659970" y="497832"/>
                  </a:moveTo>
                  <a:cubicBezTo>
                    <a:pt x="875851" y="497832"/>
                    <a:pt x="1050857" y="672838"/>
                    <a:pt x="1050857" y="888719"/>
                  </a:cubicBezTo>
                  <a:cubicBezTo>
                    <a:pt x="1050857" y="1104600"/>
                    <a:pt x="875851" y="1279606"/>
                    <a:pt x="659970" y="1279606"/>
                  </a:cubicBezTo>
                  <a:cubicBezTo>
                    <a:pt x="444089" y="1279606"/>
                    <a:pt x="269083" y="1104600"/>
                    <a:pt x="269083" y="888719"/>
                  </a:cubicBezTo>
                  <a:cubicBezTo>
                    <a:pt x="269083" y="672838"/>
                    <a:pt x="444089" y="497832"/>
                    <a:pt x="659970" y="497832"/>
                  </a:cubicBezTo>
                  <a:close/>
                  <a:moveTo>
                    <a:pt x="1631157" y="0"/>
                  </a:moveTo>
                  <a:cubicBezTo>
                    <a:pt x="1931206" y="0"/>
                    <a:pt x="2174444" y="243238"/>
                    <a:pt x="2174444" y="543287"/>
                  </a:cubicBezTo>
                  <a:cubicBezTo>
                    <a:pt x="2174444" y="843336"/>
                    <a:pt x="1931206" y="1086574"/>
                    <a:pt x="1631157" y="1086574"/>
                  </a:cubicBezTo>
                  <a:cubicBezTo>
                    <a:pt x="1331108" y="1086574"/>
                    <a:pt x="1087870" y="843336"/>
                    <a:pt x="1087870" y="543287"/>
                  </a:cubicBezTo>
                  <a:cubicBezTo>
                    <a:pt x="1087870" y="243238"/>
                    <a:pt x="1331108" y="0"/>
                    <a:pt x="163115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defRPr/>
              </a:pPr>
              <a:endParaRPr lang="en-US" sz="1836">
                <a:solidFill>
                  <a:srgbClr val="000000"/>
                </a:solidFill>
                <a:latin typeface="Segoe UI"/>
              </a:endParaRPr>
            </a:p>
          </p:txBody>
        </p:sp>
      </p:grpSp>
      <p:grpSp>
        <p:nvGrpSpPr>
          <p:cNvPr id="90" name="Group 89"/>
          <p:cNvGrpSpPr/>
          <p:nvPr/>
        </p:nvGrpSpPr>
        <p:grpSpPr>
          <a:xfrm>
            <a:off x="275161" y="4952490"/>
            <a:ext cx="6351340" cy="652822"/>
            <a:chOff x="4756503" y="5007710"/>
            <a:chExt cx="6227369" cy="640080"/>
          </a:xfrm>
        </p:grpSpPr>
        <p:sp>
          <p:nvSpPr>
            <p:cNvPr id="42" name="Oval 41" hidden="1"/>
            <p:cNvSpPr/>
            <p:nvPr/>
          </p:nvSpPr>
          <p:spPr bwMode="auto">
            <a:xfrm>
              <a:off x="4756503" y="5007710"/>
              <a:ext cx="640080" cy="640080"/>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040" b="1" kern="0" dirty="0">
                <a:solidFill>
                  <a:srgbClr val="FFFFFF"/>
                </a:solidFill>
                <a:latin typeface="Segoe UI Light"/>
                <a:ea typeface="Segoe UI" pitchFamily="34" charset="0"/>
                <a:cs typeface="Segoe UI" pitchFamily="34" charset="0"/>
              </a:endParaRPr>
            </a:p>
          </p:txBody>
        </p:sp>
        <p:sp>
          <p:nvSpPr>
            <p:cNvPr id="63" name="TextBox 62"/>
            <p:cNvSpPr txBox="1"/>
            <p:nvPr/>
          </p:nvSpPr>
          <p:spPr>
            <a:xfrm>
              <a:off x="5331735" y="5096918"/>
              <a:ext cx="5652137" cy="498598"/>
            </a:xfrm>
            <a:prstGeom prst="rect">
              <a:avLst/>
            </a:prstGeom>
            <a:noFill/>
          </p:spPr>
          <p:txBody>
            <a:bodyPr wrap="square" lIns="186521" tIns="93260" rIns="186521" bIns="93260" rtlCol="0">
              <a:spAutoFit/>
            </a:bodyPr>
            <a:lstStyle/>
            <a:p>
              <a:pPr defTabSz="932597">
                <a:spcAft>
                  <a:spcPts val="612"/>
                </a:spcAft>
                <a:defRPr/>
              </a:pPr>
              <a:r>
                <a:rPr lang="en-IN" sz="2040" kern="0" dirty="0">
                  <a:solidFill>
                    <a:srgbClr val="505050"/>
                  </a:solidFill>
                  <a:latin typeface="Segoe UI"/>
                </a:rPr>
                <a:t>Visualize usage stats (compute hours)</a:t>
              </a:r>
            </a:p>
          </p:txBody>
        </p:sp>
        <p:sp>
          <p:nvSpPr>
            <p:cNvPr id="74" name="Donut 18"/>
            <p:cNvSpPr/>
            <p:nvPr/>
          </p:nvSpPr>
          <p:spPr>
            <a:xfrm rot="20250901">
              <a:off x="4822091" y="5117805"/>
              <a:ext cx="508904" cy="419890"/>
            </a:xfrm>
            <a:custGeom>
              <a:avLst/>
              <a:gdLst/>
              <a:ahLst/>
              <a:cxnLst/>
              <a:rect l="l" t="t" r="r" b="b"/>
              <a:pathLst>
                <a:path w="1871663" h="1544284">
                  <a:moveTo>
                    <a:pt x="544841" y="1200434"/>
                  </a:moveTo>
                  <a:cubicBezTo>
                    <a:pt x="543042" y="1206654"/>
                    <a:pt x="542601" y="1212993"/>
                    <a:pt x="543107" y="1219347"/>
                  </a:cubicBezTo>
                  <a:close/>
                  <a:moveTo>
                    <a:pt x="275352" y="900100"/>
                  </a:moveTo>
                  <a:lnTo>
                    <a:pt x="261597" y="901547"/>
                  </a:lnTo>
                  <a:cubicBezTo>
                    <a:pt x="266283" y="902015"/>
                    <a:pt x="270885" y="901513"/>
                    <a:pt x="275352" y="900100"/>
                  </a:cubicBezTo>
                  <a:close/>
                  <a:moveTo>
                    <a:pt x="1460612" y="1146325"/>
                  </a:moveTo>
                  <a:cubicBezTo>
                    <a:pt x="1462787" y="1148843"/>
                    <a:pt x="1465229" y="1151093"/>
                    <a:pt x="1468262" y="1152682"/>
                  </a:cubicBezTo>
                  <a:close/>
                  <a:moveTo>
                    <a:pt x="517145" y="294317"/>
                  </a:moveTo>
                  <a:cubicBezTo>
                    <a:pt x="517303" y="296695"/>
                    <a:pt x="518089" y="298856"/>
                    <a:pt x="519165" y="300906"/>
                  </a:cubicBezTo>
                  <a:close/>
                  <a:moveTo>
                    <a:pt x="1670936" y="734747"/>
                  </a:moveTo>
                  <a:cubicBezTo>
                    <a:pt x="1667510" y="733888"/>
                    <a:pt x="1664036" y="733381"/>
                    <a:pt x="1660460" y="733786"/>
                  </a:cubicBezTo>
                  <a:close/>
                  <a:moveTo>
                    <a:pt x="942463" y="179722"/>
                  </a:moveTo>
                  <a:lnTo>
                    <a:pt x="942506" y="180134"/>
                  </a:lnTo>
                  <a:cubicBezTo>
                    <a:pt x="942525" y="179990"/>
                    <a:pt x="942500" y="179855"/>
                    <a:pt x="942463" y="179722"/>
                  </a:cubicBezTo>
                  <a:close/>
                  <a:moveTo>
                    <a:pt x="1564371" y="435391"/>
                  </a:moveTo>
                  <a:cubicBezTo>
                    <a:pt x="1564370" y="435395"/>
                    <a:pt x="1564369" y="435398"/>
                    <a:pt x="1564368" y="435401"/>
                  </a:cubicBezTo>
                  <a:lnTo>
                    <a:pt x="1564365" y="435407"/>
                  </a:lnTo>
                  <a:cubicBezTo>
                    <a:pt x="1564367" y="435405"/>
                    <a:pt x="1564368" y="435403"/>
                    <a:pt x="1564368" y="435401"/>
                  </a:cubicBezTo>
                  <a:close/>
                  <a:moveTo>
                    <a:pt x="1185541" y="268540"/>
                  </a:moveTo>
                  <a:cubicBezTo>
                    <a:pt x="1114425" y="246221"/>
                    <a:pt x="1036961" y="234960"/>
                    <a:pt x="956104" y="234960"/>
                  </a:cubicBezTo>
                  <a:lnTo>
                    <a:pt x="945214" y="235811"/>
                  </a:lnTo>
                  <a:cubicBezTo>
                    <a:pt x="944675" y="259402"/>
                    <a:pt x="939319" y="283081"/>
                    <a:pt x="929802" y="306075"/>
                  </a:cubicBezTo>
                  <a:cubicBezTo>
                    <a:pt x="883047" y="419035"/>
                    <a:pt x="753573" y="472705"/>
                    <a:pt x="640612" y="425950"/>
                  </a:cubicBezTo>
                  <a:cubicBezTo>
                    <a:pt x="600538" y="409363"/>
                    <a:pt x="567925" y="382365"/>
                    <a:pt x="545071" y="349062"/>
                  </a:cubicBezTo>
                  <a:cubicBezTo>
                    <a:pt x="545072" y="349063"/>
                    <a:pt x="545072" y="349064"/>
                    <a:pt x="545072" y="349064"/>
                  </a:cubicBezTo>
                  <a:cubicBezTo>
                    <a:pt x="485701" y="382929"/>
                    <a:pt x="435647" y="426353"/>
                    <a:pt x="397284" y="476398"/>
                  </a:cubicBezTo>
                  <a:cubicBezTo>
                    <a:pt x="476893" y="541622"/>
                    <a:pt x="507560" y="653613"/>
                    <a:pt x="466115" y="753745"/>
                  </a:cubicBezTo>
                  <a:cubicBezTo>
                    <a:pt x="438914" y="819461"/>
                    <a:pt x="386130" y="866839"/>
                    <a:pt x="323795" y="888325"/>
                  </a:cubicBezTo>
                  <a:cubicBezTo>
                    <a:pt x="323803" y="888325"/>
                    <a:pt x="323809" y="888322"/>
                    <a:pt x="323815" y="888320"/>
                  </a:cubicBezTo>
                  <a:cubicBezTo>
                    <a:pt x="360376" y="995422"/>
                    <a:pt x="442737" y="1087363"/>
                    <a:pt x="553687" y="1151157"/>
                  </a:cubicBezTo>
                  <a:cubicBezTo>
                    <a:pt x="555838" y="1137455"/>
                    <a:pt x="560305" y="1124202"/>
                    <a:pt x="565725" y="1111107"/>
                  </a:cubicBezTo>
                  <a:cubicBezTo>
                    <a:pt x="631895" y="951239"/>
                    <a:pt x="815137" y="875282"/>
                    <a:pt x="975006" y="941452"/>
                  </a:cubicBezTo>
                  <a:cubicBezTo>
                    <a:pt x="1095448" y="991304"/>
                    <a:pt x="1168263" y="1107604"/>
                    <a:pt x="1168398" y="1230296"/>
                  </a:cubicBezTo>
                  <a:cubicBezTo>
                    <a:pt x="1267673" y="1206553"/>
                    <a:pt x="1355859" y="1162942"/>
                    <a:pt x="1427062" y="1106198"/>
                  </a:cubicBezTo>
                  <a:cubicBezTo>
                    <a:pt x="1384456" y="1041457"/>
                    <a:pt x="1373677" y="957433"/>
                    <a:pt x="1405552" y="880423"/>
                  </a:cubicBezTo>
                  <a:cubicBezTo>
                    <a:pt x="1442194" y="791895"/>
                    <a:pt x="1525264" y="736646"/>
                    <a:pt x="1614928" y="732108"/>
                  </a:cubicBezTo>
                  <a:cubicBezTo>
                    <a:pt x="1613318" y="644779"/>
                    <a:pt x="1581876" y="562987"/>
                    <a:pt x="1526926" y="493543"/>
                  </a:cubicBezTo>
                  <a:lnTo>
                    <a:pt x="1526931" y="493536"/>
                  </a:lnTo>
                  <a:cubicBezTo>
                    <a:pt x="1470532" y="558140"/>
                    <a:pt x="1377141" y="582359"/>
                    <a:pt x="1293429" y="547710"/>
                  </a:cubicBezTo>
                  <a:cubicBezTo>
                    <a:pt x="1187599" y="503906"/>
                    <a:pt x="1137316" y="382602"/>
                    <a:pt x="1181120" y="276772"/>
                  </a:cubicBezTo>
                  <a:close/>
                  <a:moveTo>
                    <a:pt x="1221415" y="215198"/>
                  </a:moveTo>
                  <a:cubicBezTo>
                    <a:pt x="1220583" y="215820"/>
                    <a:pt x="1219878" y="216565"/>
                    <a:pt x="1219447" y="217566"/>
                  </a:cubicBezTo>
                  <a:close/>
                  <a:moveTo>
                    <a:pt x="1452058" y="164462"/>
                  </a:moveTo>
                  <a:cubicBezTo>
                    <a:pt x="1540327" y="200997"/>
                    <a:pt x="1589954" y="291445"/>
                    <a:pt x="1577690" y="381749"/>
                  </a:cubicBezTo>
                  <a:cubicBezTo>
                    <a:pt x="1577691" y="381748"/>
                    <a:pt x="1577691" y="381747"/>
                    <a:pt x="1577691" y="381746"/>
                  </a:cubicBezTo>
                  <a:cubicBezTo>
                    <a:pt x="1672266" y="483314"/>
                    <a:pt x="1727215" y="610152"/>
                    <a:pt x="1727215" y="747355"/>
                  </a:cubicBezTo>
                  <a:lnTo>
                    <a:pt x="1726932" y="751888"/>
                  </a:lnTo>
                  <a:cubicBezTo>
                    <a:pt x="1847235" y="804348"/>
                    <a:pt x="1903640" y="943811"/>
                    <a:pt x="1853189" y="1065702"/>
                  </a:cubicBezTo>
                  <a:cubicBezTo>
                    <a:pt x="1802026" y="1189313"/>
                    <a:pt x="1660343" y="1248044"/>
                    <a:pt x="1536731" y="1196880"/>
                  </a:cubicBezTo>
                  <a:lnTo>
                    <a:pt x="1507818" y="1181350"/>
                  </a:lnTo>
                  <a:cubicBezTo>
                    <a:pt x="1507818" y="1181350"/>
                    <a:pt x="1507819" y="1181351"/>
                    <a:pt x="1507819" y="1181351"/>
                  </a:cubicBezTo>
                  <a:cubicBezTo>
                    <a:pt x="1410579" y="1262953"/>
                    <a:pt x="1285739" y="1322514"/>
                    <a:pt x="1145194" y="1348960"/>
                  </a:cubicBezTo>
                  <a:lnTo>
                    <a:pt x="1145235" y="1348825"/>
                  </a:lnTo>
                  <a:cubicBezTo>
                    <a:pt x="1145165" y="1349510"/>
                    <a:pt x="1144914" y="1350121"/>
                    <a:pt x="1144661" y="1350732"/>
                  </a:cubicBezTo>
                  <a:cubicBezTo>
                    <a:pt x="1078491" y="1510600"/>
                    <a:pt x="895250" y="1586557"/>
                    <a:pt x="735381" y="1520387"/>
                  </a:cubicBezTo>
                  <a:cubicBezTo>
                    <a:pt x="628649" y="1476210"/>
                    <a:pt x="559318" y="1379852"/>
                    <a:pt x="546018" y="1272927"/>
                  </a:cubicBezTo>
                  <a:cubicBezTo>
                    <a:pt x="546017" y="1272929"/>
                    <a:pt x="546018" y="1272932"/>
                    <a:pt x="546018" y="1272934"/>
                  </a:cubicBezTo>
                  <a:cubicBezTo>
                    <a:pt x="380574" y="1190518"/>
                    <a:pt x="257944" y="1057677"/>
                    <a:pt x="211243" y="900385"/>
                  </a:cubicBezTo>
                  <a:lnTo>
                    <a:pt x="211253" y="900385"/>
                  </a:lnTo>
                  <a:cubicBezTo>
                    <a:pt x="190468" y="898691"/>
                    <a:pt x="169822" y="893269"/>
                    <a:pt x="149657" y="884922"/>
                  </a:cubicBezTo>
                  <a:cubicBezTo>
                    <a:pt x="26045" y="833759"/>
                    <a:pt x="-32686" y="692076"/>
                    <a:pt x="18478" y="568465"/>
                  </a:cubicBezTo>
                  <a:cubicBezTo>
                    <a:pt x="64692" y="456811"/>
                    <a:pt x="184761" y="398093"/>
                    <a:pt x="298454" y="426323"/>
                  </a:cubicBezTo>
                  <a:cubicBezTo>
                    <a:pt x="350193" y="353180"/>
                    <a:pt x="421361" y="291040"/>
                    <a:pt x="506025" y="243624"/>
                  </a:cubicBezTo>
                  <a:lnTo>
                    <a:pt x="506026" y="243626"/>
                  </a:lnTo>
                  <a:cubicBezTo>
                    <a:pt x="501390" y="208461"/>
                    <a:pt x="506228" y="171816"/>
                    <a:pt x="520737" y="136760"/>
                  </a:cubicBezTo>
                  <a:cubicBezTo>
                    <a:pt x="567492" y="23800"/>
                    <a:pt x="696966" y="-29869"/>
                    <a:pt x="809927" y="16885"/>
                  </a:cubicBezTo>
                  <a:cubicBezTo>
                    <a:pt x="862855" y="38793"/>
                    <a:pt x="902766" y="78861"/>
                    <a:pt x="924737" y="127208"/>
                  </a:cubicBezTo>
                  <a:cubicBezTo>
                    <a:pt x="924737" y="127208"/>
                    <a:pt x="924737" y="127208"/>
                    <a:pt x="924737" y="127208"/>
                  </a:cubicBezTo>
                  <a:cubicBezTo>
                    <a:pt x="935097" y="124825"/>
                    <a:pt x="945576" y="124655"/>
                    <a:pt x="956104" y="124655"/>
                  </a:cubicBezTo>
                  <a:cubicBezTo>
                    <a:pt x="1062572" y="124655"/>
                    <a:pt x="1164001" y="142079"/>
                    <a:pt x="1256255" y="173590"/>
                  </a:cubicBezTo>
                  <a:lnTo>
                    <a:pt x="1270314" y="179752"/>
                  </a:lnTo>
                  <a:cubicBezTo>
                    <a:pt x="1322540" y="145450"/>
                    <a:pt x="1389962" y="138760"/>
                    <a:pt x="1452058" y="164462"/>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defRPr/>
              </a:pPr>
              <a:endParaRPr lang="en-US" sz="1224">
                <a:solidFill>
                  <a:srgbClr val="000000"/>
                </a:solidFill>
                <a:latin typeface="Segoe UI"/>
              </a:endParaRPr>
            </a:p>
          </p:txBody>
        </p:sp>
      </p:grpSp>
      <p:grpSp>
        <p:nvGrpSpPr>
          <p:cNvPr id="91" name="Group 90"/>
          <p:cNvGrpSpPr/>
          <p:nvPr/>
        </p:nvGrpSpPr>
        <p:grpSpPr>
          <a:xfrm>
            <a:off x="275161" y="5676932"/>
            <a:ext cx="6351339" cy="652822"/>
            <a:chOff x="4756504" y="5754627"/>
            <a:chExt cx="6227368" cy="640080"/>
          </a:xfrm>
        </p:grpSpPr>
        <p:sp>
          <p:nvSpPr>
            <p:cNvPr id="54" name="Oval 53" hidden="1"/>
            <p:cNvSpPr/>
            <p:nvPr/>
          </p:nvSpPr>
          <p:spPr bwMode="auto">
            <a:xfrm>
              <a:off x="4756504" y="5754627"/>
              <a:ext cx="640080" cy="640080"/>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040" b="1" kern="0" dirty="0">
                <a:solidFill>
                  <a:srgbClr val="FFFFFF"/>
                </a:solidFill>
                <a:latin typeface="Segoe UI Light"/>
                <a:ea typeface="Segoe UI" pitchFamily="34" charset="0"/>
                <a:cs typeface="Segoe UI" pitchFamily="34" charset="0"/>
              </a:endParaRPr>
            </a:p>
          </p:txBody>
        </p:sp>
        <p:sp>
          <p:nvSpPr>
            <p:cNvPr id="66" name="TextBox 65"/>
            <p:cNvSpPr txBox="1"/>
            <p:nvPr/>
          </p:nvSpPr>
          <p:spPr>
            <a:xfrm>
              <a:off x="5331735" y="5843835"/>
              <a:ext cx="5652137" cy="498598"/>
            </a:xfrm>
            <a:prstGeom prst="rect">
              <a:avLst/>
            </a:prstGeom>
            <a:noFill/>
          </p:spPr>
          <p:txBody>
            <a:bodyPr wrap="square" lIns="186521" tIns="93260" rIns="186521" bIns="93260" rtlCol="0">
              <a:spAutoFit/>
            </a:bodyPr>
            <a:lstStyle/>
            <a:p>
              <a:pPr defTabSz="932597">
                <a:spcAft>
                  <a:spcPts val="612"/>
                </a:spcAft>
                <a:defRPr/>
              </a:pPr>
              <a:r>
                <a:rPr lang="en-US" sz="2040" kern="0" dirty="0">
                  <a:solidFill>
                    <a:srgbClr val="505050"/>
                  </a:solidFill>
                  <a:latin typeface="Segoe UI"/>
                </a:rPr>
                <a:t>Visualize job management chart</a:t>
              </a:r>
            </a:p>
          </p:txBody>
        </p:sp>
        <p:grpSp>
          <p:nvGrpSpPr>
            <p:cNvPr id="75" name="Group 74"/>
            <p:cNvGrpSpPr/>
            <p:nvPr/>
          </p:nvGrpSpPr>
          <p:grpSpPr>
            <a:xfrm>
              <a:off x="4836197" y="5854352"/>
              <a:ext cx="446332" cy="448226"/>
              <a:chOff x="5621856" y="2952831"/>
              <a:chExt cx="948315" cy="952344"/>
            </a:xfrm>
            <a:solidFill>
              <a:schemeClr val="accent2"/>
            </a:solidFill>
          </p:grpSpPr>
          <p:grpSp>
            <p:nvGrpSpPr>
              <p:cNvPr id="76" name="Group 75"/>
              <p:cNvGrpSpPr/>
              <p:nvPr/>
            </p:nvGrpSpPr>
            <p:grpSpPr>
              <a:xfrm>
                <a:off x="6206988" y="2952831"/>
                <a:ext cx="363183" cy="948310"/>
                <a:chOff x="7534528" y="2102946"/>
                <a:chExt cx="363182" cy="948316"/>
              </a:xfrm>
              <a:grpFill/>
            </p:grpSpPr>
            <p:sp>
              <p:nvSpPr>
                <p:cNvPr id="81" name="Freeform 80"/>
                <p:cNvSpPr>
                  <a:spLocks/>
                </p:cNvSpPr>
                <p:nvPr/>
              </p:nvSpPr>
              <p:spPr bwMode="auto">
                <a:xfrm>
                  <a:off x="7534528" y="2345073"/>
                  <a:ext cx="363182" cy="706189"/>
                </a:xfrm>
                <a:custGeom>
                  <a:avLst/>
                  <a:gdLst>
                    <a:gd name="T0" fmla="*/ 113 w 136"/>
                    <a:gd name="T1" fmla="*/ 0 h 265"/>
                    <a:gd name="T2" fmla="*/ 113 w 136"/>
                    <a:gd name="T3" fmla="*/ 0 h 265"/>
                    <a:gd name="T4" fmla="*/ 91 w 136"/>
                    <a:gd name="T5" fmla="*/ 0 h 265"/>
                    <a:gd name="T6" fmla="*/ 68 w 136"/>
                    <a:gd name="T7" fmla="*/ 30 h 265"/>
                    <a:gd name="T8" fmla="*/ 45 w 136"/>
                    <a:gd name="T9" fmla="*/ 0 h 265"/>
                    <a:gd name="T10" fmla="*/ 23 w 136"/>
                    <a:gd name="T11" fmla="*/ 0 h 265"/>
                    <a:gd name="T12" fmla="*/ 0 w 136"/>
                    <a:gd name="T13" fmla="*/ 23 h 265"/>
                    <a:gd name="T14" fmla="*/ 0 w 136"/>
                    <a:gd name="T15" fmla="*/ 109 h 265"/>
                    <a:gd name="T16" fmla="*/ 23 w 136"/>
                    <a:gd name="T17" fmla="*/ 132 h 265"/>
                    <a:gd name="T18" fmla="*/ 23 w 136"/>
                    <a:gd name="T19" fmla="*/ 242 h 265"/>
                    <a:gd name="T20" fmla="*/ 46 w 136"/>
                    <a:gd name="T21" fmla="*/ 265 h 265"/>
                    <a:gd name="T22" fmla="*/ 68 w 136"/>
                    <a:gd name="T23" fmla="*/ 251 h 265"/>
                    <a:gd name="T24" fmla="*/ 89 w 136"/>
                    <a:gd name="T25" fmla="*/ 265 h 265"/>
                    <a:gd name="T26" fmla="*/ 113 w 136"/>
                    <a:gd name="T27" fmla="*/ 242 h 265"/>
                    <a:gd name="T28" fmla="*/ 113 w 136"/>
                    <a:gd name="T29" fmla="*/ 132 h 265"/>
                    <a:gd name="T30" fmla="*/ 136 w 136"/>
                    <a:gd name="T31" fmla="*/ 109 h 265"/>
                    <a:gd name="T32" fmla="*/ 136 w 136"/>
                    <a:gd name="T33" fmla="*/ 23 h 265"/>
                    <a:gd name="T34" fmla="*/ 113 w 136"/>
                    <a:gd name="T35"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265">
                      <a:moveTo>
                        <a:pt x="113" y="0"/>
                      </a:moveTo>
                      <a:lnTo>
                        <a:pt x="113" y="0"/>
                      </a:lnTo>
                      <a:lnTo>
                        <a:pt x="91" y="0"/>
                      </a:lnTo>
                      <a:lnTo>
                        <a:pt x="68" y="30"/>
                      </a:lnTo>
                      <a:lnTo>
                        <a:pt x="45" y="0"/>
                      </a:lnTo>
                      <a:lnTo>
                        <a:pt x="23" y="0"/>
                      </a:lnTo>
                      <a:cubicBezTo>
                        <a:pt x="10" y="0"/>
                        <a:pt x="0" y="11"/>
                        <a:pt x="0" y="23"/>
                      </a:cubicBezTo>
                      <a:lnTo>
                        <a:pt x="0" y="109"/>
                      </a:lnTo>
                      <a:cubicBezTo>
                        <a:pt x="0" y="122"/>
                        <a:pt x="10" y="132"/>
                        <a:pt x="23" y="132"/>
                      </a:cubicBezTo>
                      <a:lnTo>
                        <a:pt x="23" y="242"/>
                      </a:lnTo>
                      <a:cubicBezTo>
                        <a:pt x="23" y="255"/>
                        <a:pt x="34" y="265"/>
                        <a:pt x="46" y="265"/>
                      </a:cubicBezTo>
                      <a:cubicBezTo>
                        <a:pt x="56" y="265"/>
                        <a:pt x="65" y="259"/>
                        <a:pt x="68" y="251"/>
                      </a:cubicBezTo>
                      <a:cubicBezTo>
                        <a:pt x="71" y="259"/>
                        <a:pt x="80" y="265"/>
                        <a:pt x="89" y="265"/>
                      </a:cubicBezTo>
                      <a:cubicBezTo>
                        <a:pt x="102" y="265"/>
                        <a:pt x="113" y="255"/>
                        <a:pt x="113" y="242"/>
                      </a:cubicBezTo>
                      <a:lnTo>
                        <a:pt x="113" y="132"/>
                      </a:lnTo>
                      <a:cubicBezTo>
                        <a:pt x="125" y="132"/>
                        <a:pt x="136" y="122"/>
                        <a:pt x="136" y="109"/>
                      </a:cubicBezTo>
                      <a:lnTo>
                        <a:pt x="136" y="23"/>
                      </a:lnTo>
                      <a:cubicBezTo>
                        <a:pt x="136" y="11"/>
                        <a:pt x="125" y="0"/>
                        <a:pt x="113"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000000"/>
                    </a:solidFill>
                    <a:latin typeface="Segoe UI"/>
                  </a:endParaRPr>
                </a:p>
              </p:txBody>
            </p:sp>
            <p:sp>
              <p:nvSpPr>
                <p:cNvPr id="82" name="Freeform 81"/>
                <p:cNvSpPr>
                  <a:spLocks/>
                </p:cNvSpPr>
                <p:nvPr/>
              </p:nvSpPr>
              <p:spPr bwMode="auto">
                <a:xfrm>
                  <a:off x="7611206" y="2102946"/>
                  <a:ext cx="205801" cy="201768"/>
                </a:xfrm>
                <a:custGeom>
                  <a:avLst/>
                  <a:gdLst>
                    <a:gd name="T0" fmla="*/ 38 w 76"/>
                    <a:gd name="T1" fmla="*/ 76 h 76"/>
                    <a:gd name="T2" fmla="*/ 38 w 76"/>
                    <a:gd name="T3" fmla="*/ 76 h 76"/>
                    <a:gd name="T4" fmla="*/ 76 w 76"/>
                    <a:gd name="T5" fmla="*/ 38 h 76"/>
                    <a:gd name="T6" fmla="*/ 38 w 76"/>
                    <a:gd name="T7" fmla="*/ 0 h 76"/>
                    <a:gd name="T8" fmla="*/ 0 w 76"/>
                    <a:gd name="T9" fmla="*/ 38 h 76"/>
                    <a:gd name="T10" fmla="*/ 38 w 76"/>
                    <a:gd name="T11" fmla="*/ 76 h 76"/>
                  </a:gdLst>
                  <a:ahLst/>
                  <a:cxnLst>
                    <a:cxn ang="0">
                      <a:pos x="T0" y="T1"/>
                    </a:cxn>
                    <a:cxn ang="0">
                      <a:pos x="T2" y="T3"/>
                    </a:cxn>
                    <a:cxn ang="0">
                      <a:pos x="T4" y="T5"/>
                    </a:cxn>
                    <a:cxn ang="0">
                      <a:pos x="T6" y="T7"/>
                    </a:cxn>
                    <a:cxn ang="0">
                      <a:pos x="T8" y="T9"/>
                    </a:cxn>
                    <a:cxn ang="0">
                      <a:pos x="T10" y="T11"/>
                    </a:cxn>
                  </a:cxnLst>
                  <a:rect l="0" t="0" r="r" b="b"/>
                  <a:pathLst>
                    <a:path w="76" h="76">
                      <a:moveTo>
                        <a:pt x="38" y="76"/>
                      </a:moveTo>
                      <a:lnTo>
                        <a:pt x="38" y="76"/>
                      </a:lnTo>
                      <a:cubicBezTo>
                        <a:pt x="57" y="76"/>
                        <a:pt x="76" y="59"/>
                        <a:pt x="76" y="38"/>
                      </a:cubicBezTo>
                      <a:cubicBezTo>
                        <a:pt x="76" y="17"/>
                        <a:pt x="59" y="0"/>
                        <a:pt x="38" y="0"/>
                      </a:cubicBezTo>
                      <a:cubicBezTo>
                        <a:pt x="17" y="0"/>
                        <a:pt x="0" y="17"/>
                        <a:pt x="0" y="38"/>
                      </a:cubicBezTo>
                      <a:cubicBezTo>
                        <a:pt x="0" y="60"/>
                        <a:pt x="18" y="76"/>
                        <a:pt x="38" y="7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000000"/>
                    </a:solidFill>
                    <a:latin typeface="Segoe UI"/>
                  </a:endParaRPr>
                </a:p>
              </p:txBody>
            </p:sp>
          </p:grpSp>
          <p:sp>
            <p:nvSpPr>
              <p:cNvPr id="77" name="Freeform 76"/>
              <p:cNvSpPr>
                <a:spLocks noEditPoints="1"/>
              </p:cNvSpPr>
              <p:nvPr/>
            </p:nvSpPr>
            <p:spPr bwMode="auto">
              <a:xfrm>
                <a:off x="5625893" y="2952831"/>
                <a:ext cx="548810" cy="952344"/>
              </a:xfrm>
              <a:custGeom>
                <a:avLst/>
                <a:gdLst>
                  <a:gd name="T0" fmla="*/ 173 w 205"/>
                  <a:gd name="T1" fmla="*/ 189 h 356"/>
                  <a:gd name="T2" fmla="*/ 173 w 205"/>
                  <a:gd name="T3" fmla="*/ 164 h 356"/>
                  <a:gd name="T4" fmla="*/ 173 w 205"/>
                  <a:gd name="T5" fmla="*/ 189 h 356"/>
                  <a:gd name="T6" fmla="*/ 173 w 205"/>
                  <a:gd name="T7" fmla="*/ 256 h 356"/>
                  <a:gd name="T8" fmla="*/ 95 w 205"/>
                  <a:gd name="T9" fmla="*/ 183 h 356"/>
                  <a:gd name="T10" fmla="*/ 173 w 205"/>
                  <a:gd name="T11" fmla="*/ 209 h 356"/>
                  <a:gd name="T12" fmla="*/ 173 w 205"/>
                  <a:gd name="T13" fmla="*/ 256 h 356"/>
                  <a:gd name="T14" fmla="*/ 173 w 205"/>
                  <a:gd name="T15" fmla="*/ 333 h 356"/>
                  <a:gd name="T16" fmla="*/ 173 w 205"/>
                  <a:gd name="T17" fmla="*/ 267 h 356"/>
                  <a:gd name="T18" fmla="*/ 59 w 205"/>
                  <a:gd name="T19" fmla="*/ 278 h 356"/>
                  <a:gd name="T20" fmla="*/ 63 w 205"/>
                  <a:gd name="T21" fmla="*/ 267 h 356"/>
                  <a:gd name="T22" fmla="*/ 138 w 205"/>
                  <a:gd name="T23" fmla="*/ 328 h 356"/>
                  <a:gd name="T24" fmla="*/ 32 w 205"/>
                  <a:gd name="T25" fmla="*/ 230 h 356"/>
                  <a:gd name="T26" fmla="*/ 23 w 205"/>
                  <a:gd name="T27" fmla="*/ 183 h 356"/>
                  <a:gd name="T28" fmla="*/ 95 w 205"/>
                  <a:gd name="T29" fmla="*/ 256 h 356"/>
                  <a:gd name="T30" fmla="*/ 32 w 205"/>
                  <a:gd name="T31" fmla="*/ 230 h 356"/>
                  <a:gd name="T32" fmla="*/ 32 w 205"/>
                  <a:gd name="T33" fmla="*/ 274 h 356"/>
                  <a:gd name="T34" fmla="*/ 32 w 205"/>
                  <a:gd name="T35" fmla="*/ 249 h 356"/>
                  <a:gd name="T36" fmla="*/ 32 w 205"/>
                  <a:gd name="T37" fmla="*/ 274 h 356"/>
                  <a:gd name="T38" fmla="*/ 44 w 205"/>
                  <a:gd name="T39" fmla="*/ 100 h 356"/>
                  <a:gd name="T40" fmla="*/ 89 w 205"/>
                  <a:gd name="T41" fmla="*/ 123 h 356"/>
                  <a:gd name="T42" fmla="*/ 23 w 205"/>
                  <a:gd name="T43" fmla="*/ 172 h 356"/>
                  <a:gd name="T44" fmla="*/ 137 w 205"/>
                  <a:gd name="T45" fmla="*/ 28 h 356"/>
                  <a:gd name="T46" fmla="*/ 109 w 205"/>
                  <a:gd name="T47" fmla="*/ 64 h 356"/>
                  <a:gd name="T48" fmla="*/ 72 w 205"/>
                  <a:gd name="T49" fmla="*/ 89 h 356"/>
                  <a:gd name="T50" fmla="*/ 137 w 205"/>
                  <a:gd name="T51" fmla="*/ 28 h 356"/>
                  <a:gd name="T52" fmla="*/ 91 w 205"/>
                  <a:gd name="T53" fmla="*/ 95 h 356"/>
                  <a:gd name="T54" fmla="*/ 116 w 205"/>
                  <a:gd name="T55" fmla="*/ 95 h 356"/>
                  <a:gd name="T56" fmla="*/ 91 w 205"/>
                  <a:gd name="T57" fmla="*/ 95 h 356"/>
                  <a:gd name="T58" fmla="*/ 99 w 205"/>
                  <a:gd name="T59" fmla="*/ 127 h 356"/>
                  <a:gd name="T60" fmla="*/ 135 w 205"/>
                  <a:gd name="T61" fmla="*/ 100 h 356"/>
                  <a:gd name="T62" fmla="*/ 173 w 205"/>
                  <a:gd name="T63" fmla="*/ 145 h 356"/>
                  <a:gd name="T64" fmla="*/ 95 w 205"/>
                  <a:gd name="T65" fmla="*/ 172 h 356"/>
                  <a:gd name="T66" fmla="*/ 173 w 205"/>
                  <a:gd name="T67" fmla="*/ 23 h 356"/>
                  <a:gd name="T68" fmla="*/ 173 w 205"/>
                  <a:gd name="T69" fmla="*/ 89 h 356"/>
                  <a:gd name="T70" fmla="*/ 119 w 205"/>
                  <a:gd name="T71" fmla="*/ 67 h 356"/>
                  <a:gd name="T72" fmla="*/ 173 w 205"/>
                  <a:gd name="T73" fmla="*/ 23 h 356"/>
                  <a:gd name="T74" fmla="*/ 183 w 205"/>
                  <a:gd name="T75" fmla="*/ 147 h 356"/>
                  <a:gd name="T76" fmla="*/ 178 w 205"/>
                  <a:gd name="T77" fmla="*/ 0 h 356"/>
                  <a:gd name="T78" fmla="*/ 11 w 205"/>
                  <a:gd name="T79" fmla="*/ 237 h 356"/>
                  <a:gd name="T80" fmla="*/ 32 w 205"/>
                  <a:gd name="T81" fmla="*/ 294 h 356"/>
                  <a:gd name="T82" fmla="*/ 178 w 205"/>
                  <a:gd name="T83" fmla="*/ 356 h 356"/>
                  <a:gd name="T84" fmla="*/ 183 w 205"/>
                  <a:gd name="T85" fmla="*/ 207 h 356"/>
                  <a:gd name="T86" fmla="*/ 183 w 205"/>
                  <a:gd name="T87" fmla="*/ 14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5" h="356">
                    <a:moveTo>
                      <a:pt x="173" y="189"/>
                    </a:moveTo>
                    <a:lnTo>
                      <a:pt x="173" y="189"/>
                    </a:lnTo>
                    <a:cubicBezTo>
                      <a:pt x="166" y="189"/>
                      <a:pt x="160" y="184"/>
                      <a:pt x="160" y="177"/>
                    </a:cubicBezTo>
                    <a:cubicBezTo>
                      <a:pt x="160" y="170"/>
                      <a:pt x="166" y="164"/>
                      <a:pt x="173" y="164"/>
                    </a:cubicBezTo>
                    <a:cubicBezTo>
                      <a:pt x="180" y="164"/>
                      <a:pt x="185" y="170"/>
                      <a:pt x="185" y="177"/>
                    </a:cubicBezTo>
                    <a:cubicBezTo>
                      <a:pt x="185" y="184"/>
                      <a:pt x="180" y="189"/>
                      <a:pt x="173" y="189"/>
                    </a:cubicBezTo>
                    <a:close/>
                    <a:moveTo>
                      <a:pt x="173" y="256"/>
                    </a:moveTo>
                    <a:lnTo>
                      <a:pt x="173" y="256"/>
                    </a:lnTo>
                    <a:lnTo>
                      <a:pt x="106" y="256"/>
                    </a:lnTo>
                    <a:cubicBezTo>
                      <a:pt x="99" y="235"/>
                      <a:pt x="95" y="210"/>
                      <a:pt x="95" y="183"/>
                    </a:cubicBezTo>
                    <a:lnTo>
                      <a:pt x="141" y="183"/>
                    </a:lnTo>
                    <a:cubicBezTo>
                      <a:pt x="144" y="198"/>
                      <a:pt x="157" y="209"/>
                      <a:pt x="173" y="209"/>
                    </a:cubicBezTo>
                    <a:lnTo>
                      <a:pt x="173" y="209"/>
                    </a:lnTo>
                    <a:lnTo>
                      <a:pt x="173" y="256"/>
                    </a:lnTo>
                    <a:close/>
                    <a:moveTo>
                      <a:pt x="173" y="333"/>
                    </a:moveTo>
                    <a:lnTo>
                      <a:pt x="173" y="333"/>
                    </a:lnTo>
                    <a:cubicBezTo>
                      <a:pt x="142" y="329"/>
                      <a:pt x="121" y="297"/>
                      <a:pt x="110" y="267"/>
                    </a:cubicBezTo>
                    <a:lnTo>
                      <a:pt x="173" y="267"/>
                    </a:lnTo>
                    <a:lnTo>
                      <a:pt x="173" y="333"/>
                    </a:lnTo>
                    <a:close/>
                    <a:moveTo>
                      <a:pt x="59" y="278"/>
                    </a:moveTo>
                    <a:lnTo>
                      <a:pt x="59" y="278"/>
                    </a:lnTo>
                    <a:cubicBezTo>
                      <a:pt x="61" y="275"/>
                      <a:pt x="62" y="271"/>
                      <a:pt x="63" y="267"/>
                    </a:cubicBezTo>
                    <a:lnTo>
                      <a:pt x="98" y="267"/>
                    </a:lnTo>
                    <a:cubicBezTo>
                      <a:pt x="107" y="290"/>
                      <a:pt x="119" y="313"/>
                      <a:pt x="138" y="328"/>
                    </a:cubicBezTo>
                    <a:cubicBezTo>
                      <a:pt x="106" y="319"/>
                      <a:pt x="79" y="302"/>
                      <a:pt x="59" y="278"/>
                    </a:cubicBezTo>
                    <a:close/>
                    <a:moveTo>
                      <a:pt x="32" y="230"/>
                    </a:moveTo>
                    <a:lnTo>
                      <a:pt x="32" y="230"/>
                    </a:lnTo>
                    <a:cubicBezTo>
                      <a:pt x="27" y="215"/>
                      <a:pt x="24" y="200"/>
                      <a:pt x="23" y="183"/>
                    </a:cubicBezTo>
                    <a:lnTo>
                      <a:pt x="84" y="183"/>
                    </a:lnTo>
                    <a:cubicBezTo>
                      <a:pt x="84" y="210"/>
                      <a:pt x="88" y="234"/>
                      <a:pt x="95" y="256"/>
                    </a:cubicBezTo>
                    <a:lnTo>
                      <a:pt x="63" y="256"/>
                    </a:lnTo>
                    <a:cubicBezTo>
                      <a:pt x="60" y="241"/>
                      <a:pt x="47" y="230"/>
                      <a:pt x="32" y="230"/>
                    </a:cubicBezTo>
                    <a:close/>
                    <a:moveTo>
                      <a:pt x="32" y="274"/>
                    </a:moveTo>
                    <a:lnTo>
                      <a:pt x="32" y="274"/>
                    </a:lnTo>
                    <a:cubicBezTo>
                      <a:pt x="25" y="274"/>
                      <a:pt x="19" y="269"/>
                      <a:pt x="19" y="262"/>
                    </a:cubicBezTo>
                    <a:cubicBezTo>
                      <a:pt x="19" y="255"/>
                      <a:pt x="25" y="249"/>
                      <a:pt x="32" y="249"/>
                    </a:cubicBezTo>
                    <a:cubicBezTo>
                      <a:pt x="39" y="249"/>
                      <a:pt x="44" y="255"/>
                      <a:pt x="44" y="262"/>
                    </a:cubicBezTo>
                    <a:cubicBezTo>
                      <a:pt x="44" y="269"/>
                      <a:pt x="39" y="274"/>
                      <a:pt x="32" y="274"/>
                    </a:cubicBezTo>
                    <a:close/>
                    <a:moveTo>
                      <a:pt x="44" y="100"/>
                    </a:moveTo>
                    <a:lnTo>
                      <a:pt x="44" y="100"/>
                    </a:lnTo>
                    <a:lnTo>
                      <a:pt x="72" y="100"/>
                    </a:lnTo>
                    <a:cubicBezTo>
                      <a:pt x="74" y="110"/>
                      <a:pt x="80" y="119"/>
                      <a:pt x="89" y="123"/>
                    </a:cubicBezTo>
                    <a:cubicBezTo>
                      <a:pt x="86" y="139"/>
                      <a:pt x="84" y="155"/>
                      <a:pt x="84" y="172"/>
                    </a:cubicBezTo>
                    <a:lnTo>
                      <a:pt x="23" y="172"/>
                    </a:lnTo>
                    <a:cubicBezTo>
                      <a:pt x="24" y="146"/>
                      <a:pt x="31" y="122"/>
                      <a:pt x="44" y="100"/>
                    </a:cubicBezTo>
                    <a:close/>
                    <a:moveTo>
                      <a:pt x="137" y="28"/>
                    </a:moveTo>
                    <a:lnTo>
                      <a:pt x="137" y="28"/>
                    </a:lnTo>
                    <a:cubicBezTo>
                      <a:pt x="126" y="38"/>
                      <a:pt x="117" y="50"/>
                      <a:pt x="109" y="64"/>
                    </a:cubicBezTo>
                    <a:cubicBezTo>
                      <a:pt x="106" y="63"/>
                      <a:pt x="105" y="63"/>
                      <a:pt x="103" y="63"/>
                    </a:cubicBezTo>
                    <a:cubicBezTo>
                      <a:pt x="88" y="63"/>
                      <a:pt x="75" y="75"/>
                      <a:pt x="72" y="89"/>
                    </a:cubicBezTo>
                    <a:lnTo>
                      <a:pt x="51" y="89"/>
                    </a:lnTo>
                    <a:cubicBezTo>
                      <a:pt x="71" y="60"/>
                      <a:pt x="102" y="38"/>
                      <a:pt x="137" y="28"/>
                    </a:cubicBezTo>
                    <a:close/>
                    <a:moveTo>
                      <a:pt x="91" y="95"/>
                    </a:moveTo>
                    <a:lnTo>
                      <a:pt x="91" y="95"/>
                    </a:lnTo>
                    <a:cubicBezTo>
                      <a:pt x="91" y="88"/>
                      <a:pt x="97" y="83"/>
                      <a:pt x="104" y="83"/>
                    </a:cubicBezTo>
                    <a:cubicBezTo>
                      <a:pt x="111" y="83"/>
                      <a:pt x="116" y="88"/>
                      <a:pt x="116" y="95"/>
                    </a:cubicBezTo>
                    <a:cubicBezTo>
                      <a:pt x="116" y="102"/>
                      <a:pt x="111" y="108"/>
                      <a:pt x="104" y="108"/>
                    </a:cubicBezTo>
                    <a:cubicBezTo>
                      <a:pt x="97" y="108"/>
                      <a:pt x="91" y="102"/>
                      <a:pt x="91" y="95"/>
                    </a:cubicBezTo>
                    <a:close/>
                    <a:moveTo>
                      <a:pt x="99" y="127"/>
                    </a:moveTo>
                    <a:lnTo>
                      <a:pt x="99" y="127"/>
                    </a:lnTo>
                    <a:cubicBezTo>
                      <a:pt x="101" y="127"/>
                      <a:pt x="102" y="127"/>
                      <a:pt x="104" y="127"/>
                    </a:cubicBezTo>
                    <a:cubicBezTo>
                      <a:pt x="120" y="127"/>
                      <a:pt x="133" y="115"/>
                      <a:pt x="135" y="100"/>
                    </a:cubicBezTo>
                    <a:lnTo>
                      <a:pt x="173" y="100"/>
                    </a:lnTo>
                    <a:lnTo>
                      <a:pt x="173" y="145"/>
                    </a:lnTo>
                    <a:cubicBezTo>
                      <a:pt x="156" y="145"/>
                      <a:pt x="143" y="157"/>
                      <a:pt x="141" y="172"/>
                    </a:cubicBezTo>
                    <a:lnTo>
                      <a:pt x="95" y="172"/>
                    </a:lnTo>
                    <a:cubicBezTo>
                      <a:pt x="95" y="156"/>
                      <a:pt x="97" y="141"/>
                      <a:pt x="99" y="127"/>
                    </a:cubicBezTo>
                    <a:close/>
                    <a:moveTo>
                      <a:pt x="173" y="23"/>
                    </a:moveTo>
                    <a:lnTo>
                      <a:pt x="173" y="23"/>
                    </a:lnTo>
                    <a:lnTo>
                      <a:pt x="173" y="89"/>
                    </a:lnTo>
                    <a:lnTo>
                      <a:pt x="135" y="89"/>
                    </a:lnTo>
                    <a:cubicBezTo>
                      <a:pt x="133" y="80"/>
                      <a:pt x="127" y="72"/>
                      <a:pt x="119" y="67"/>
                    </a:cubicBezTo>
                    <a:cubicBezTo>
                      <a:pt x="123" y="61"/>
                      <a:pt x="127" y="54"/>
                      <a:pt x="131" y="49"/>
                    </a:cubicBezTo>
                    <a:cubicBezTo>
                      <a:pt x="143" y="34"/>
                      <a:pt x="157" y="25"/>
                      <a:pt x="173" y="23"/>
                    </a:cubicBezTo>
                    <a:close/>
                    <a:moveTo>
                      <a:pt x="183" y="147"/>
                    </a:moveTo>
                    <a:lnTo>
                      <a:pt x="183" y="147"/>
                    </a:lnTo>
                    <a:lnTo>
                      <a:pt x="183" y="0"/>
                    </a:lnTo>
                    <a:cubicBezTo>
                      <a:pt x="182" y="0"/>
                      <a:pt x="180" y="0"/>
                      <a:pt x="178" y="0"/>
                    </a:cubicBezTo>
                    <a:cubicBezTo>
                      <a:pt x="80" y="0"/>
                      <a:pt x="1" y="80"/>
                      <a:pt x="1" y="178"/>
                    </a:cubicBezTo>
                    <a:cubicBezTo>
                      <a:pt x="1" y="199"/>
                      <a:pt x="4" y="219"/>
                      <a:pt x="11" y="237"/>
                    </a:cubicBezTo>
                    <a:cubicBezTo>
                      <a:pt x="4" y="243"/>
                      <a:pt x="0" y="252"/>
                      <a:pt x="0" y="262"/>
                    </a:cubicBezTo>
                    <a:cubicBezTo>
                      <a:pt x="0" y="280"/>
                      <a:pt x="14" y="294"/>
                      <a:pt x="32" y="294"/>
                    </a:cubicBezTo>
                    <a:cubicBezTo>
                      <a:pt x="35" y="294"/>
                      <a:pt x="39" y="293"/>
                      <a:pt x="42" y="292"/>
                    </a:cubicBezTo>
                    <a:cubicBezTo>
                      <a:pt x="75" y="331"/>
                      <a:pt x="124" y="356"/>
                      <a:pt x="178" y="356"/>
                    </a:cubicBezTo>
                    <a:cubicBezTo>
                      <a:pt x="180" y="356"/>
                      <a:pt x="182" y="355"/>
                      <a:pt x="183" y="355"/>
                    </a:cubicBezTo>
                    <a:lnTo>
                      <a:pt x="183" y="207"/>
                    </a:lnTo>
                    <a:cubicBezTo>
                      <a:pt x="196" y="202"/>
                      <a:pt x="205" y="191"/>
                      <a:pt x="205" y="177"/>
                    </a:cubicBezTo>
                    <a:cubicBezTo>
                      <a:pt x="205" y="163"/>
                      <a:pt x="196" y="151"/>
                      <a:pt x="183" y="14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000000"/>
                  </a:solidFill>
                  <a:latin typeface="Segoe UI"/>
                </a:endParaRPr>
              </a:p>
            </p:txBody>
          </p:sp>
          <p:sp>
            <p:nvSpPr>
              <p:cNvPr id="78" name="Freeform 77"/>
              <p:cNvSpPr>
                <a:spLocks noEditPoints="1"/>
              </p:cNvSpPr>
              <p:nvPr/>
            </p:nvSpPr>
            <p:spPr bwMode="auto">
              <a:xfrm>
                <a:off x="5621856" y="3566210"/>
                <a:ext cx="173519" cy="177556"/>
              </a:xfrm>
              <a:custGeom>
                <a:avLst/>
                <a:gdLst>
                  <a:gd name="T0" fmla="*/ 33 w 65"/>
                  <a:gd name="T1" fmla="*/ 65 h 65"/>
                  <a:gd name="T2" fmla="*/ 33 w 65"/>
                  <a:gd name="T3" fmla="*/ 65 h 65"/>
                  <a:gd name="T4" fmla="*/ 0 w 65"/>
                  <a:gd name="T5" fmla="*/ 32 h 65"/>
                  <a:gd name="T6" fmla="*/ 33 w 65"/>
                  <a:gd name="T7" fmla="*/ 0 h 65"/>
                  <a:gd name="T8" fmla="*/ 65 w 65"/>
                  <a:gd name="T9" fmla="*/ 32 h 65"/>
                  <a:gd name="T10" fmla="*/ 33 w 65"/>
                  <a:gd name="T11" fmla="*/ 65 h 65"/>
                  <a:gd name="T12" fmla="*/ 33 w 65"/>
                  <a:gd name="T13" fmla="*/ 19 h 65"/>
                  <a:gd name="T14" fmla="*/ 33 w 65"/>
                  <a:gd name="T15" fmla="*/ 19 h 65"/>
                  <a:gd name="T16" fmla="*/ 21 w 65"/>
                  <a:gd name="T17" fmla="*/ 32 h 65"/>
                  <a:gd name="T18" fmla="*/ 33 w 65"/>
                  <a:gd name="T19" fmla="*/ 44 h 65"/>
                  <a:gd name="T20" fmla="*/ 45 w 65"/>
                  <a:gd name="T21" fmla="*/ 32 h 65"/>
                  <a:gd name="T22" fmla="*/ 33 w 65"/>
                  <a:gd name="T23" fmla="*/ 1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 h="65">
                    <a:moveTo>
                      <a:pt x="33" y="65"/>
                    </a:moveTo>
                    <a:lnTo>
                      <a:pt x="33" y="65"/>
                    </a:lnTo>
                    <a:cubicBezTo>
                      <a:pt x="15" y="65"/>
                      <a:pt x="0" y="50"/>
                      <a:pt x="0" y="32"/>
                    </a:cubicBezTo>
                    <a:cubicBezTo>
                      <a:pt x="0" y="14"/>
                      <a:pt x="15" y="0"/>
                      <a:pt x="33" y="0"/>
                    </a:cubicBezTo>
                    <a:cubicBezTo>
                      <a:pt x="50" y="0"/>
                      <a:pt x="65" y="14"/>
                      <a:pt x="65" y="32"/>
                    </a:cubicBezTo>
                    <a:cubicBezTo>
                      <a:pt x="65" y="50"/>
                      <a:pt x="50" y="65"/>
                      <a:pt x="33" y="65"/>
                    </a:cubicBezTo>
                    <a:close/>
                    <a:moveTo>
                      <a:pt x="33" y="19"/>
                    </a:moveTo>
                    <a:lnTo>
                      <a:pt x="33" y="19"/>
                    </a:lnTo>
                    <a:cubicBezTo>
                      <a:pt x="26" y="19"/>
                      <a:pt x="21" y="25"/>
                      <a:pt x="21" y="32"/>
                    </a:cubicBezTo>
                    <a:cubicBezTo>
                      <a:pt x="21" y="38"/>
                      <a:pt x="26" y="44"/>
                      <a:pt x="33" y="44"/>
                    </a:cubicBezTo>
                    <a:cubicBezTo>
                      <a:pt x="40" y="44"/>
                      <a:pt x="45" y="38"/>
                      <a:pt x="45" y="32"/>
                    </a:cubicBezTo>
                    <a:cubicBezTo>
                      <a:pt x="45" y="25"/>
                      <a:pt x="40" y="19"/>
                      <a:pt x="33" y="1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000000"/>
                  </a:solidFill>
                  <a:latin typeface="Segoe UI"/>
                </a:endParaRPr>
              </a:p>
            </p:txBody>
          </p:sp>
          <p:sp>
            <p:nvSpPr>
              <p:cNvPr id="79" name="Freeform 78"/>
              <p:cNvSpPr>
                <a:spLocks noEditPoints="1"/>
              </p:cNvSpPr>
              <p:nvPr/>
            </p:nvSpPr>
            <p:spPr bwMode="auto">
              <a:xfrm>
                <a:off x="5815547" y="3122323"/>
                <a:ext cx="173519" cy="173522"/>
              </a:xfrm>
              <a:custGeom>
                <a:avLst/>
                <a:gdLst>
                  <a:gd name="T0" fmla="*/ 33 w 65"/>
                  <a:gd name="T1" fmla="*/ 65 h 65"/>
                  <a:gd name="T2" fmla="*/ 33 w 65"/>
                  <a:gd name="T3" fmla="*/ 65 h 65"/>
                  <a:gd name="T4" fmla="*/ 0 w 65"/>
                  <a:gd name="T5" fmla="*/ 32 h 65"/>
                  <a:gd name="T6" fmla="*/ 33 w 65"/>
                  <a:gd name="T7" fmla="*/ 0 h 65"/>
                  <a:gd name="T8" fmla="*/ 65 w 65"/>
                  <a:gd name="T9" fmla="*/ 32 h 65"/>
                  <a:gd name="T10" fmla="*/ 33 w 65"/>
                  <a:gd name="T11" fmla="*/ 65 h 65"/>
                  <a:gd name="T12" fmla="*/ 32 w 65"/>
                  <a:gd name="T13" fmla="*/ 20 h 65"/>
                  <a:gd name="T14" fmla="*/ 32 w 65"/>
                  <a:gd name="T15" fmla="*/ 20 h 65"/>
                  <a:gd name="T16" fmla="*/ 20 w 65"/>
                  <a:gd name="T17" fmla="*/ 33 h 65"/>
                  <a:gd name="T18" fmla="*/ 32 w 65"/>
                  <a:gd name="T19" fmla="*/ 45 h 65"/>
                  <a:gd name="T20" fmla="*/ 45 w 65"/>
                  <a:gd name="T21" fmla="*/ 33 h 65"/>
                  <a:gd name="T22" fmla="*/ 32 w 65"/>
                  <a:gd name="T23" fmla="*/ 2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 h="65">
                    <a:moveTo>
                      <a:pt x="33" y="65"/>
                    </a:moveTo>
                    <a:lnTo>
                      <a:pt x="33" y="65"/>
                    </a:lnTo>
                    <a:cubicBezTo>
                      <a:pt x="15" y="65"/>
                      <a:pt x="0" y="50"/>
                      <a:pt x="0" y="32"/>
                    </a:cubicBezTo>
                    <a:cubicBezTo>
                      <a:pt x="0" y="14"/>
                      <a:pt x="15" y="0"/>
                      <a:pt x="33" y="0"/>
                    </a:cubicBezTo>
                    <a:cubicBezTo>
                      <a:pt x="51" y="0"/>
                      <a:pt x="65" y="14"/>
                      <a:pt x="65" y="32"/>
                    </a:cubicBezTo>
                    <a:cubicBezTo>
                      <a:pt x="65" y="50"/>
                      <a:pt x="51" y="65"/>
                      <a:pt x="33" y="65"/>
                    </a:cubicBezTo>
                    <a:close/>
                    <a:moveTo>
                      <a:pt x="32" y="20"/>
                    </a:moveTo>
                    <a:lnTo>
                      <a:pt x="32" y="20"/>
                    </a:lnTo>
                    <a:cubicBezTo>
                      <a:pt x="25" y="20"/>
                      <a:pt x="20" y="26"/>
                      <a:pt x="20" y="33"/>
                    </a:cubicBezTo>
                    <a:cubicBezTo>
                      <a:pt x="20" y="39"/>
                      <a:pt x="25" y="45"/>
                      <a:pt x="32" y="45"/>
                    </a:cubicBezTo>
                    <a:cubicBezTo>
                      <a:pt x="39" y="45"/>
                      <a:pt x="45" y="39"/>
                      <a:pt x="45" y="33"/>
                    </a:cubicBezTo>
                    <a:cubicBezTo>
                      <a:pt x="45" y="26"/>
                      <a:pt x="39" y="20"/>
                      <a:pt x="32" y="2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000000"/>
                  </a:solidFill>
                  <a:latin typeface="Segoe UI"/>
                </a:endParaRPr>
              </a:p>
            </p:txBody>
          </p:sp>
          <p:sp>
            <p:nvSpPr>
              <p:cNvPr id="80" name="Freeform 79"/>
              <p:cNvSpPr>
                <a:spLocks noEditPoints="1"/>
              </p:cNvSpPr>
              <p:nvPr/>
            </p:nvSpPr>
            <p:spPr bwMode="auto">
              <a:xfrm>
                <a:off x="5997135" y="3340226"/>
                <a:ext cx="177556" cy="173522"/>
              </a:xfrm>
              <a:custGeom>
                <a:avLst/>
                <a:gdLst>
                  <a:gd name="T0" fmla="*/ 33 w 65"/>
                  <a:gd name="T1" fmla="*/ 65 h 65"/>
                  <a:gd name="T2" fmla="*/ 33 w 65"/>
                  <a:gd name="T3" fmla="*/ 65 h 65"/>
                  <a:gd name="T4" fmla="*/ 0 w 65"/>
                  <a:gd name="T5" fmla="*/ 33 h 65"/>
                  <a:gd name="T6" fmla="*/ 33 w 65"/>
                  <a:gd name="T7" fmla="*/ 0 h 65"/>
                  <a:gd name="T8" fmla="*/ 65 w 65"/>
                  <a:gd name="T9" fmla="*/ 33 h 65"/>
                  <a:gd name="T10" fmla="*/ 33 w 65"/>
                  <a:gd name="T11" fmla="*/ 65 h 65"/>
                  <a:gd name="T12" fmla="*/ 32 w 65"/>
                  <a:gd name="T13" fmla="*/ 20 h 65"/>
                  <a:gd name="T14" fmla="*/ 32 w 65"/>
                  <a:gd name="T15" fmla="*/ 20 h 65"/>
                  <a:gd name="T16" fmla="*/ 19 w 65"/>
                  <a:gd name="T17" fmla="*/ 33 h 65"/>
                  <a:gd name="T18" fmla="*/ 32 w 65"/>
                  <a:gd name="T19" fmla="*/ 46 h 65"/>
                  <a:gd name="T20" fmla="*/ 45 w 65"/>
                  <a:gd name="T21" fmla="*/ 33 h 65"/>
                  <a:gd name="T22" fmla="*/ 32 w 65"/>
                  <a:gd name="T23" fmla="*/ 2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 h="65">
                    <a:moveTo>
                      <a:pt x="33" y="65"/>
                    </a:moveTo>
                    <a:lnTo>
                      <a:pt x="33" y="65"/>
                    </a:lnTo>
                    <a:cubicBezTo>
                      <a:pt x="15" y="65"/>
                      <a:pt x="0" y="50"/>
                      <a:pt x="0" y="33"/>
                    </a:cubicBezTo>
                    <a:cubicBezTo>
                      <a:pt x="0" y="15"/>
                      <a:pt x="15" y="0"/>
                      <a:pt x="33" y="0"/>
                    </a:cubicBezTo>
                    <a:cubicBezTo>
                      <a:pt x="50" y="0"/>
                      <a:pt x="65" y="15"/>
                      <a:pt x="65" y="33"/>
                    </a:cubicBezTo>
                    <a:cubicBezTo>
                      <a:pt x="65" y="50"/>
                      <a:pt x="50" y="65"/>
                      <a:pt x="33" y="65"/>
                    </a:cubicBezTo>
                    <a:close/>
                    <a:moveTo>
                      <a:pt x="32" y="20"/>
                    </a:moveTo>
                    <a:lnTo>
                      <a:pt x="32" y="20"/>
                    </a:lnTo>
                    <a:cubicBezTo>
                      <a:pt x="25" y="20"/>
                      <a:pt x="19" y="26"/>
                      <a:pt x="19" y="33"/>
                    </a:cubicBezTo>
                    <a:cubicBezTo>
                      <a:pt x="19" y="40"/>
                      <a:pt x="25" y="46"/>
                      <a:pt x="32" y="46"/>
                    </a:cubicBezTo>
                    <a:cubicBezTo>
                      <a:pt x="39" y="46"/>
                      <a:pt x="45" y="40"/>
                      <a:pt x="45" y="33"/>
                    </a:cubicBezTo>
                    <a:cubicBezTo>
                      <a:pt x="45" y="26"/>
                      <a:pt x="39" y="20"/>
                      <a:pt x="32" y="2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000000"/>
                  </a:solidFill>
                  <a:latin typeface="Segoe UI"/>
                </a:endParaRPr>
              </a:p>
            </p:txBody>
          </p:sp>
        </p:grpSp>
      </p:grpSp>
      <p:grpSp>
        <p:nvGrpSpPr>
          <p:cNvPr id="51" name="Group 50"/>
          <p:cNvGrpSpPr/>
          <p:nvPr/>
        </p:nvGrpSpPr>
        <p:grpSpPr>
          <a:xfrm>
            <a:off x="275162" y="1330273"/>
            <a:ext cx="6351339" cy="652822"/>
            <a:chOff x="4756504" y="1273135"/>
            <a:chExt cx="6227368" cy="640080"/>
          </a:xfrm>
        </p:grpSpPr>
        <p:sp>
          <p:nvSpPr>
            <p:cNvPr id="19" name="Oval 18" hidden="1"/>
            <p:cNvSpPr/>
            <p:nvPr/>
          </p:nvSpPr>
          <p:spPr bwMode="auto">
            <a:xfrm>
              <a:off x="4756504" y="1273135"/>
              <a:ext cx="640080" cy="640080"/>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040" b="1" kern="0" dirty="0">
                <a:solidFill>
                  <a:srgbClr val="FFFFFF"/>
                </a:solidFill>
                <a:latin typeface="Segoe UI Light"/>
                <a:ea typeface="Segoe UI" pitchFamily="34" charset="0"/>
                <a:cs typeface="Segoe UI" pitchFamily="34" charset="0"/>
              </a:endParaRPr>
            </a:p>
          </p:txBody>
        </p:sp>
        <p:sp>
          <p:nvSpPr>
            <p:cNvPr id="58" name="TextBox 57"/>
            <p:cNvSpPr txBox="1"/>
            <p:nvPr/>
          </p:nvSpPr>
          <p:spPr>
            <a:xfrm>
              <a:off x="5331735" y="1362343"/>
              <a:ext cx="5652137" cy="498598"/>
            </a:xfrm>
            <a:prstGeom prst="rect">
              <a:avLst/>
            </a:prstGeom>
            <a:noFill/>
          </p:spPr>
          <p:txBody>
            <a:bodyPr wrap="square" lIns="186521" tIns="93260" rIns="186521" bIns="93260" rtlCol="0">
              <a:spAutoFit/>
            </a:bodyPr>
            <a:lstStyle/>
            <a:p>
              <a:pPr defTabSz="932597">
                <a:spcAft>
                  <a:spcPts val="612"/>
                </a:spcAft>
                <a:defRPr/>
              </a:pPr>
              <a:r>
                <a:rPr lang="en-IN" sz="2040" kern="0" dirty="0">
                  <a:solidFill>
                    <a:srgbClr val="505050"/>
                  </a:solidFill>
                  <a:latin typeface="Segoe UI"/>
                </a:rPr>
                <a:t>Create a new Data Lake Analytics account</a:t>
              </a:r>
            </a:p>
          </p:txBody>
        </p:sp>
        <p:grpSp>
          <p:nvGrpSpPr>
            <p:cNvPr id="83" name="Group 82"/>
            <p:cNvGrpSpPr/>
            <p:nvPr/>
          </p:nvGrpSpPr>
          <p:grpSpPr>
            <a:xfrm>
              <a:off x="4831072" y="1352988"/>
              <a:ext cx="490945" cy="480374"/>
              <a:chOff x="3306763" y="1441450"/>
              <a:chExt cx="3303587" cy="3232459"/>
            </a:xfrm>
            <a:solidFill>
              <a:schemeClr val="accent2"/>
            </a:solidFill>
          </p:grpSpPr>
          <p:sp>
            <p:nvSpPr>
              <p:cNvPr id="84" name="Freeform 83"/>
              <p:cNvSpPr>
                <a:spLocks/>
              </p:cNvSpPr>
              <p:nvPr/>
            </p:nvSpPr>
            <p:spPr bwMode="auto">
              <a:xfrm>
                <a:off x="5888501" y="2991838"/>
                <a:ext cx="721849" cy="907838"/>
              </a:xfrm>
              <a:custGeom>
                <a:avLst/>
                <a:gdLst>
                  <a:gd name="T0" fmla="*/ 1502 w 1502"/>
                  <a:gd name="T1" fmla="*/ 764 h 1889"/>
                  <a:gd name="T2" fmla="*/ 0 w 1502"/>
                  <a:gd name="T3" fmla="*/ 0 h 1889"/>
                  <a:gd name="T4" fmla="*/ 291 w 1502"/>
                  <a:gd name="T5" fmla="*/ 1660 h 1889"/>
                  <a:gd name="T6" fmla="*/ 653 w 1502"/>
                  <a:gd name="T7" fmla="*/ 1168 h 1889"/>
                  <a:gd name="T8" fmla="*/ 1187 w 1502"/>
                  <a:gd name="T9" fmla="*/ 1889 h 1889"/>
                  <a:gd name="T10" fmla="*/ 1459 w 1502"/>
                  <a:gd name="T11" fmla="*/ 1688 h 1889"/>
                  <a:gd name="T12" fmla="*/ 925 w 1502"/>
                  <a:gd name="T13" fmla="*/ 967 h 1889"/>
                  <a:gd name="T14" fmla="*/ 1502 w 1502"/>
                  <a:gd name="T15" fmla="*/ 764 h 18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2" h="1889">
                    <a:moveTo>
                      <a:pt x="1502" y="764"/>
                    </a:moveTo>
                    <a:lnTo>
                      <a:pt x="0" y="0"/>
                    </a:lnTo>
                    <a:lnTo>
                      <a:pt x="291" y="1660"/>
                    </a:lnTo>
                    <a:lnTo>
                      <a:pt x="653" y="1168"/>
                    </a:lnTo>
                    <a:lnTo>
                      <a:pt x="1187" y="1889"/>
                    </a:lnTo>
                    <a:lnTo>
                      <a:pt x="1459" y="1688"/>
                    </a:lnTo>
                    <a:lnTo>
                      <a:pt x="925" y="967"/>
                    </a:lnTo>
                    <a:lnTo>
                      <a:pt x="1502" y="7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6" tIns="46618" rIns="93236" bIns="4661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317">
                  <a:defRPr/>
                </a:pPr>
                <a:endParaRPr lang="en-US" sz="1835">
                  <a:solidFill>
                    <a:prstClr val="black"/>
                  </a:solidFill>
                  <a:latin typeface="Segoe UI"/>
                </a:endParaRPr>
              </a:p>
            </p:txBody>
          </p:sp>
          <p:sp>
            <p:nvSpPr>
              <p:cNvPr id="85" name="Freeform 84"/>
              <p:cNvSpPr>
                <a:spLocks/>
              </p:cNvSpPr>
              <p:nvPr/>
            </p:nvSpPr>
            <p:spPr bwMode="auto">
              <a:xfrm>
                <a:off x="3306763" y="1441450"/>
                <a:ext cx="2581738" cy="1774344"/>
              </a:xfrm>
              <a:custGeom>
                <a:avLst/>
                <a:gdLst>
                  <a:gd name="T0" fmla="*/ 1709 w 2272"/>
                  <a:gd name="T1" fmla="*/ 858 h 1561"/>
                  <a:gd name="T2" fmla="*/ 1489 w 2272"/>
                  <a:gd name="T3" fmla="*/ 1064 h 1561"/>
                  <a:gd name="T4" fmla="*/ 2272 w 2272"/>
                  <a:gd name="T5" fmla="*/ 1177 h 1561"/>
                  <a:gd name="T6" fmla="*/ 2162 w 2272"/>
                  <a:gd name="T7" fmla="*/ 409 h 1561"/>
                  <a:gd name="T8" fmla="*/ 1929 w 2272"/>
                  <a:gd name="T9" fmla="*/ 635 h 1561"/>
                  <a:gd name="T10" fmla="*/ 0 w 2272"/>
                  <a:gd name="T11" fmla="*/ 1517 h 1561"/>
                  <a:gd name="T12" fmla="*/ 340 w 2272"/>
                  <a:gd name="T13" fmla="*/ 1561 h 1561"/>
                  <a:gd name="T14" fmla="*/ 1709 w 2272"/>
                  <a:gd name="T15" fmla="*/ 858 h 15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72" h="1561">
                    <a:moveTo>
                      <a:pt x="1709" y="858"/>
                    </a:moveTo>
                    <a:cubicBezTo>
                      <a:pt x="1489" y="1064"/>
                      <a:pt x="1489" y="1064"/>
                      <a:pt x="1489" y="1064"/>
                    </a:cubicBezTo>
                    <a:cubicBezTo>
                      <a:pt x="2272" y="1177"/>
                      <a:pt x="2272" y="1177"/>
                      <a:pt x="2272" y="1177"/>
                    </a:cubicBezTo>
                    <a:cubicBezTo>
                      <a:pt x="2162" y="409"/>
                      <a:pt x="2162" y="409"/>
                      <a:pt x="2162" y="409"/>
                    </a:cubicBezTo>
                    <a:cubicBezTo>
                      <a:pt x="1929" y="635"/>
                      <a:pt x="1929" y="635"/>
                      <a:pt x="1929" y="635"/>
                    </a:cubicBezTo>
                    <a:cubicBezTo>
                      <a:pt x="1623" y="170"/>
                      <a:pt x="79" y="0"/>
                      <a:pt x="0" y="1517"/>
                    </a:cubicBezTo>
                    <a:cubicBezTo>
                      <a:pt x="340" y="1561"/>
                      <a:pt x="340" y="1561"/>
                      <a:pt x="340" y="1561"/>
                    </a:cubicBezTo>
                    <a:cubicBezTo>
                      <a:pt x="275" y="379"/>
                      <a:pt x="1575" y="552"/>
                      <a:pt x="1709" y="8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6" tIns="46618" rIns="93236" bIns="4661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317">
                  <a:defRPr/>
                </a:pPr>
                <a:endParaRPr lang="en-US" sz="1835">
                  <a:solidFill>
                    <a:prstClr val="black"/>
                  </a:solidFill>
                  <a:latin typeface="Segoe UI"/>
                </a:endParaRPr>
              </a:p>
            </p:txBody>
          </p:sp>
          <p:sp>
            <p:nvSpPr>
              <p:cNvPr id="86" name="Freeform 85"/>
              <p:cNvSpPr>
                <a:spLocks/>
              </p:cNvSpPr>
              <p:nvPr/>
            </p:nvSpPr>
            <p:spPr bwMode="auto">
              <a:xfrm>
                <a:off x="3306763" y="2895240"/>
                <a:ext cx="2581738" cy="1778669"/>
              </a:xfrm>
              <a:custGeom>
                <a:avLst/>
                <a:gdLst>
                  <a:gd name="T0" fmla="*/ 1932 w 2272"/>
                  <a:gd name="T1" fmla="*/ 0 h 1565"/>
                  <a:gd name="T2" fmla="*/ 563 w 2272"/>
                  <a:gd name="T3" fmla="*/ 705 h 1565"/>
                  <a:gd name="T4" fmla="*/ 783 w 2272"/>
                  <a:gd name="T5" fmla="*/ 498 h 1565"/>
                  <a:gd name="T6" fmla="*/ 0 w 2272"/>
                  <a:gd name="T7" fmla="*/ 385 h 1565"/>
                  <a:gd name="T8" fmla="*/ 110 w 2272"/>
                  <a:gd name="T9" fmla="*/ 1155 h 1565"/>
                  <a:gd name="T10" fmla="*/ 343 w 2272"/>
                  <a:gd name="T11" fmla="*/ 928 h 1565"/>
                  <a:gd name="T12" fmla="*/ 2272 w 2272"/>
                  <a:gd name="T13" fmla="*/ 45 h 1565"/>
                  <a:gd name="T14" fmla="*/ 1932 w 2272"/>
                  <a:gd name="T15" fmla="*/ 0 h 15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72" h="1565">
                    <a:moveTo>
                      <a:pt x="1932" y="0"/>
                    </a:moveTo>
                    <a:cubicBezTo>
                      <a:pt x="1997" y="1185"/>
                      <a:pt x="697" y="1012"/>
                      <a:pt x="563" y="705"/>
                    </a:cubicBezTo>
                    <a:cubicBezTo>
                      <a:pt x="783" y="498"/>
                      <a:pt x="783" y="498"/>
                      <a:pt x="783" y="498"/>
                    </a:cubicBezTo>
                    <a:cubicBezTo>
                      <a:pt x="0" y="385"/>
                      <a:pt x="0" y="385"/>
                      <a:pt x="0" y="385"/>
                    </a:cubicBezTo>
                    <a:cubicBezTo>
                      <a:pt x="110" y="1155"/>
                      <a:pt x="110" y="1155"/>
                      <a:pt x="110" y="1155"/>
                    </a:cubicBezTo>
                    <a:cubicBezTo>
                      <a:pt x="343" y="928"/>
                      <a:pt x="343" y="928"/>
                      <a:pt x="343" y="928"/>
                    </a:cubicBezTo>
                    <a:cubicBezTo>
                      <a:pt x="649" y="1394"/>
                      <a:pt x="2193" y="1565"/>
                      <a:pt x="2272" y="45"/>
                    </a:cubicBezTo>
                    <a:lnTo>
                      <a:pt x="19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6" tIns="46618" rIns="93236" bIns="4661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317">
                  <a:defRPr/>
                </a:pPr>
                <a:endParaRPr lang="en-US" sz="1835">
                  <a:solidFill>
                    <a:prstClr val="black"/>
                  </a:solidFill>
                  <a:latin typeface="Segoe UI"/>
                </a:endParaRPr>
              </a:p>
            </p:txBody>
          </p:sp>
        </p:grpSp>
      </p:grpSp>
      <p:sp>
        <p:nvSpPr>
          <p:cNvPr id="7" name="Slide Number Placeholder 6"/>
          <p:cNvSpPr>
            <a:spLocks noGrp="1"/>
          </p:cNvSpPr>
          <p:nvPr>
            <p:ph type="sldNum" sz="quarter" idx="4"/>
          </p:nvPr>
        </p:nvSpPr>
        <p:spPr/>
        <p:txBody>
          <a:bodyPr/>
          <a:lstStyle/>
          <a:p>
            <a:pPr defTabSz="932597">
              <a:defRPr/>
            </a:pPr>
            <a:fld id="{75FAD755-3BD0-2447-A9DF-109DAABEFD99}" type="slidenum">
              <a:rPr lang="en-US" sz="1836" kern="0">
                <a:solidFill>
                  <a:sysClr val="windowText" lastClr="000000"/>
                </a:solidFill>
                <a:latin typeface="Segoe UI"/>
              </a:rPr>
              <a:pPr defTabSz="932597">
                <a:defRPr/>
              </a:pPr>
              <a:t>8</a:t>
            </a:fld>
            <a:endParaRPr lang="en-US" sz="1836" kern="0" dirty="0">
              <a:solidFill>
                <a:sysClr val="windowText" lastClr="000000"/>
              </a:solidFill>
              <a:latin typeface="Segoe UI"/>
            </a:endParaRPr>
          </a:p>
        </p:txBody>
      </p:sp>
      <p:pic>
        <p:nvPicPr>
          <p:cNvPr id="8" name="Picture 7"/>
          <p:cNvPicPr>
            <a:picLocks noChangeAspect="1"/>
          </p:cNvPicPr>
          <p:nvPr/>
        </p:nvPicPr>
        <p:blipFill>
          <a:blip r:embed="rId3"/>
          <a:stretch>
            <a:fillRect/>
          </a:stretch>
        </p:blipFill>
        <p:spPr>
          <a:xfrm>
            <a:off x="6279558" y="1464819"/>
            <a:ext cx="6156035" cy="4478478"/>
          </a:xfrm>
          <a:prstGeom prst="rect">
            <a:avLst/>
          </a:prstGeom>
        </p:spPr>
      </p:pic>
    </p:spTree>
    <p:extLst>
      <p:ext uri="{BB962C8B-B14F-4D97-AF65-F5344CB8AC3E}">
        <p14:creationId xmlns:p14="http://schemas.microsoft.com/office/powerpoint/2010/main" val="140090301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1000"/>
                                        <p:tgtEl>
                                          <p:spTgt spid="51"/>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52"/>
                                        </p:tgtEl>
                                        <p:attrNameLst>
                                          <p:attrName>style.visibility</p:attrName>
                                        </p:attrNameLst>
                                      </p:cBhvr>
                                      <p:to>
                                        <p:strVal val="visible"/>
                                      </p:to>
                                    </p:set>
                                    <p:animEffect transition="in" filter="fade">
                                      <p:cBhvr>
                                        <p:cTn id="11" dur="1000"/>
                                        <p:tgtEl>
                                          <p:spTgt spid="5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87"/>
                                        </p:tgtEl>
                                        <p:attrNameLst>
                                          <p:attrName>style.visibility</p:attrName>
                                        </p:attrNameLst>
                                      </p:cBhvr>
                                      <p:to>
                                        <p:strVal val="visible"/>
                                      </p:to>
                                    </p:set>
                                    <p:animEffect transition="in" filter="fade">
                                      <p:cBhvr>
                                        <p:cTn id="15" dur="1000"/>
                                        <p:tgtEl>
                                          <p:spTgt spid="87"/>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88"/>
                                        </p:tgtEl>
                                        <p:attrNameLst>
                                          <p:attrName>style.visibility</p:attrName>
                                        </p:attrNameLst>
                                      </p:cBhvr>
                                      <p:to>
                                        <p:strVal val="visible"/>
                                      </p:to>
                                    </p:set>
                                    <p:animEffect transition="in" filter="fade">
                                      <p:cBhvr>
                                        <p:cTn id="19" dur="1000"/>
                                        <p:tgtEl>
                                          <p:spTgt spid="8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89"/>
                                        </p:tgtEl>
                                        <p:attrNameLst>
                                          <p:attrName>style.visibility</p:attrName>
                                        </p:attrNameLst>
                                      </p:cBhvr>
                                      <p:to>
                                        <p:strVal val="visible"/>
                                      </p:to>
                                    </p:set>
                                    <p:animEffect transition="in" filter="fade">
                                      <p:cBhvr>
                                        <p:cTn id="23" dur="1000"/>
                                        <p:tgtEl>
                                          <p:spTgt spid="89"/>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90"/>
                                        </p:tgtEl>
                                        <p:attrNameLst>
                                          <p:attrName>style.visibility</p:attrName>
                                        </p:attrNameLst>
                                      </p:cBhvr>
                                      <p:to>
                                        <p:strVal val="visible"/>
                                      </p:to>
                                    </p:set>
                                    <p:animEffect transition="in" filter="fade">
                                      <p:cBhvr>
                                        <p:cTn id="27" dur="1000"/>
                                        <p:tgtEl>
                                          <p:spTgt spid="90"/>
                                        </p:tgtEl>
                                      </p:cBhvr>
                                    </p:animEffect>
                                  </p:childTnLst>
                                </p:cTn>
                              </p:par>
                            </p:childTnLst>
                          </p:cTn>
                        </p:par>
                        <p:par>
                          <p:cTn id="28" fill="hold">
                            <p:stCondLst>
                              <p:cond delay="6000"/>
                            </p:stCondLst>
                            <p:childTnLst>
                              <p:par>
                                <p:cTn id="29" presetID="10" presetClass="entr" presetSubtype="0" fill="hold" nodeType="afterEffect">
                                  <p:stCondLst>
                                    <p:cond delay="0"/>
                                  </p:stCondLst>
                                  <p:childTnLst>
                                    <p:set>
                                      <p:cBhvr>
                                        <p:cTn id="30" dur="1" fill="hold">
                                          <p:stCondLst>
                                            <p:cond delay="0"/>
                                          </p:stCondLst>
                                        </p:cTn>
                                        <p:tgtEl>
                                          <p:spTgt spid="91"/>
                                        </p:tgtEl>
                                        <p:attrNameLst>
                                          <p:attrName>style.visibility</p:attrName>
                                        </p:attrNameLst>
                                      </p:cBhvr>
                                      <p:to>
                                        <p:strVal val="visible"/>
                                      </p:to>
                                    </p:set>
                                    <p:animEffect transition="in" filter="fade">
                                      <p:cBhvr>
                                        <p:cTn id="31" dur="1000"/>
                                        <p:tgtEl>
                                          <p:spTgt spid="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3"/>
          <a:stretch>
            <a:fillRect/>
          </a:stretch>
        </p:blipFill>
        <p:spPr>
          <a:xfrm>
            <a:off x="4118069" y="1224276"/>
            <a:ext cx="5397728" cy="3480938"/>
          </a:xfrm>
          <a:prstGeom prst="rect">
            <a:avLst/>
          </a:prstGeom>
        </p:spPr>
      </p:pic>
      <p:pic>
        <p:nvPicPr>
          <p:cNvPr id="10" name="Picture 9"/>
          <p:cNvPicPr>
            <a:picLocks noChangeAspect="1"/>
          </p:cNvPicPr>
          <p:nvPr/>
        </p:nvPicPr>
        <p:blipFill>
          <a:blip r:embed="rId4"/>
          <a:stretch>
            <a:fillRect/>
          </a:stretch>
        </p:blipFill>
        <p:spPr>
          <a:xfrm>
            <a:off x="384945" y="1224276"/>
            <a:ext cx="3452757" cy="5280337"/>
          </a:xfrm>
          <a:prstGeom prst="rect">
            <a:avLst/>
          </a:prstGeom>
        </p:spPr>
      </p:pic>
      <p:sp>
        <p:nvSpPr>
          <p:cNvPr id="2" name="Title 1"/>
          <p:cNvSpPr>
            <a:spLocks noGrp="1"/>
          </p:cNvSpPr>
          <p:nvPr>
            <p:ph type="title"/>
          </p:nvPr>
        </p:nvSpPr>
        <p:spPr/>
        <p:txBody>
          <a:bodyPr/>
          <a:lstStyle/>
          <a:p>
            <a:r>
              <a:rPr lang="en-US" dirty="0"/>
              <a:t>Creating an ADL Analytics account</a:t>
            </a:r>
          </a:p>
        </p:txBody>
      </p:sp>
      <p:sp>
        <p:nvSpPr>
          <p:cNvPr id="8" name="Rectangle 7"/>
          <p:cNvSpPr/>
          <p:nvPr/>
        </p:nvSpPr>
        <p:spPr bwMode="auto">
          <a:xfrm>
            <a:off x="449547" y="6267713"/>
            <a:ext cx="672680" cy="236900"/>
          </a:xfrm>
          <a:prstGeom prst="rect">
            <a:avLst/>
          </a:prstGeom>
          <a:ln w="57150">
            <a:solidFill>
              <a:schemeClr val="accent5"/>
            </a:solidFill>
            <a:prstDash val="sysDot"/>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kern="0" dirty="0"/>
          </a:p>
        </p:txBody>
      </p:sp>
      <p:sp>
        <p:nvSpPr>
          <p:cNvPr id="9" name="Rectangle 8"/>
          <p:cNvSpPr/>
          <p:nvPr/>
        </p:nvSpPr>
        <p:spPr bwMode="auto">
          <a:xfrm>
            <a:off x="4202395" y="4410944"/>
            <a:ext cx="628041" cy="229868"/>
          </a:xfrm>
          <a:prstGeom prst="rect">
            <a:avLst/>
          </a:prstGeom>
          <a:ln w="57150">
            <a:solidFill>
              <a:schemeClr val="accent5"/>
            </a:solidFill>
            <a:prstDash val="sysDot"/>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kern="0" dirty="0"/>
          </a:p>
        </p:txBody>
      </p:sp>
      <p:grpSp>
        <p:nvGrpSpPr>
          <p:cNvPr id="21" name="Group 20"/>
          <p:cNvGrpSpPr/>
          <p:nvPr/>
        </p:nvGrpSpPr>
        <p:grpSpPr>
          <a:xfrm>
            <a:off x="6817769" y="2434204"/>
            <a:ext cx="5121756" cy="1702982"/>
            <a:chOff x="6683829" y="2386692"/>
            <a:chExt cx="5021785" cy="1669742"/>
          </a:xfrm>
        </p:grpSpPr>
        <p:sp>
          <p:nvSpPr>
            <p:cNvPr id="11" name="TextBox 10"/>
            <p:cNvSpPr txBox="1"/>
            <p:nvPr/>
          </p:nvSpPr>
          <p:spPr>
            <a:xfrm>
              <a:off x="9446685" y="2625814"/>
              <a:ext cx="2258929" cy="1430620"/>
            </a:xfrm>
            <a:prstGeom prst="rect">
              <a:avLst/>
            </a:prstGeom>
            <a:solidFill>
              <a:schemeClr val="bg1">
                <a:lumMod val="95000"/>
              </a:schemeClr>
            </a:solidFill>
            <a:ln>
              <a:noFill/>
            </a:ln>
          </p:spPr>
          <p:txBody>
            <a:bodyPr wrap="square" lIns="93260" tIns="46630" rIns="93260" bIns="46630" rtlCol="0">
              <a:noAutofit/>
            </a:bodyPr>
            <a:lstStyle/>
            <a:p>
              <a:pPr marL="174862" indent="-116575" defTabSz="932597">
                <a:spcAft>
                  <a:spcPts val="204"/>
                </a:spcAft>
                <a:buClr>
                  <a:schemeClr val="accent2"/>
                </a:buClr>
                <a:buFont typeface="Arial" panose="020B0604020202020204" pitchFamily="34" charset="0"/>
                <a:buChar char="•"/>
                <a:defRPr/>
              </a:pPr>
              <a:r>
                <a:rPr lang="en-US" sz="1224" kern="0" dirty="0">
                  <a:solidFill>
                    <a:schemeClr val="tx1">
                      <a:lumMod val="75000"/>
                      <a:lumOff val="25000"/>
                    </a:schemeClr>
                  </a:solidFill>
                </a:rPr>
                <a:t>Create a new ADL store default account, or</a:t>
              </a:r>
              <a:br>
                <a:rPr lang="en-US" sz="1224" kern="0" dirty="0">
                  <a:solidFill>
                    <a:schemeClr val="tx1">
                      <a:lumMod val="75000"/>
                      <a:lumOff val="25000"/>
                    </a:schemeClr>
                  </a:solidFill>
                </a:rPr>
              </a:br>
              <a:br>
                <a:rPr lang="en-US" sz="1224" kern="0" dirty="0">
                  <a:solidFill>
                    <a:schemeClr val="tx1">
                      <a:lumMod val="75000"/>
                      <a:lumOff val="25000"/>
                    </a:schemeClr>
                  </a:solidFill>
                </a:rPr>
              </a:br>
              <a:endParaRPr lang="en-US" sz="1224" kern="0" dirty="0">
                <a:solidFill>
                  <a:schemeClr val="tx1">
                    <a:lumMod val="75000"/>
                    <a:lumOff val="25000"/>
                  </a:schemeClr>
                </a:solidFill>
              </a:endParaRPr>
            </a:p>
            <a:p>
              <a:pPr marL="174862" indent="-116575" defTabSz="932597">
                <a:spcAft>
                  <a:spcPts val="204"/>
                </a:spcAft>
                <a:buClr>
                  <a:schemeClr val="accent2"/>
                </a:buClr>
                <a:buFont typeface="Arial" panose="020B0604020202020204" pitchFamily="34" charset="0"/>
                <a:buChar char="•"/>
                <a:defRPr/>
              </a:pPr>
              <a:r>
                <a:rPr lang="en-US" sz="1224" kern="0" dirty="0">
                  <a:solidFill>
                    <a:schemeClr val="tx1">
                      <a:lumMod val="75000"/>
                      <a:lumOff val="25000"/>
                    </a:schemeClr>
                  </a:solidFill>
                </a:rPr>
                <a:t>Associate with an existing ADL store account (with the right permissions)</a:t>
              </a:r>
            </a:p>
          </p:txBody>
        </p:sp>
        <p:sp>
          <p:nvSpPr>
            <p:cNvPr id="19" name="Freeform 18"/>
            <p:cNvSpPr/>
            <p:nvPr/>
          </p:nvSpPr>
          <p:spPr bwMode="auto">
            <a:xfrm>
              <a:off x="7201865" y="2386692"/>
              <a:ext cx="2323135" cy="378279"/>
            </a:xfrm>
            <a:custGeom>
              <a:avLst/>
              <a:gdLst>
                <a:gd name="connsiteX0" fmla="*/ 743578 w 743578"/>
                <a:gd name="connsiteY0" fmla="*/ 773723 h 773723"/>
                <a:gd name="connsiteX1" fmla="*/ 331596 w 743578"/>
                <a:gd name="connsiteY1" fmla="*/ 773723 h 773723"/>
                <a:gd name="connsiteX2" fmla="*/ 331596 w 743578"/>
                <a:gd name="connsiteY2" fmla="*/ 0 h 773723"/>
                <a:gd name="connsiteX3" fmla="*/ 0 w 743578"/>
                <a:gd name="connsiteY3" fmla="*/ 0 h 773723"/>
              </a:gdLst>
              <a:ahLst/>
              <a:cxnLst>
                <a:cxn ang="0">
                  <a:pos x="connsiteX0" y="connsiteY0"/>
                </a:cxn>
                <a:cxn ang="0">
                  <a:pos x="connsiteX1" y="connsiteY1"/>
                </a:cxn>
                <a:cxn ang="0">
                  <a:pos x="connsiteX2" y="connsiteY2"/>
                </a:cxn>
                <a:cxn ang="0">
                  <a:pos x="connsiteX3" y="connsiteY3"/>
                </a:cxn>
              </a:cxnLst>
              <a:rect l="l" t="t" r="r" b="b"/>
              <a:pathLst>
                <a:path w="743578" h="773723">
                  <a:moveTo>
                    <a:pt x="743578" y="773723"/>
                  </a:moveTo>
                  <a:lnTo>
                    <a:pt x="331596" y="773723"/>
                  </a:lnTo>
                  <a:lnTo>
                    <a:pt x="331596" y="0"/>
                  </a:lnTo>
                  <a:lnTo>
                    <a:pt x="0" y="0"/>
                  </a:lnTo>
                </a:path>
              </a:pathLst>
            </a:custGeom>
            <a:ln w="57150">
              <a:solidFill>
                <a:srgbClr val="50B347"/>
              </a:solidFill>
              <a:prstDash val="sysDash"/>
              <a:miter lim="800000"/>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kern="0">
                <a:solidFill>
                  <a:sysClr val="windowText" lastClr="000000"/>
                </a:solidFill>
              </a:endParaRPr>
            </a:p>
          </p:txBody>
        </p:sp>
        <p:sp>
          <p:nvSpPr>
            <p:cNvPr id="20" name="Freeform 19"/>
            <p:cNvSpPr/>
            <p:nvPr/>
          </p:nvSpPr>
          <p:spPr bwMode="auto">
            <a:xfrm>
              <a:off x="6683829" y="2737140"/>
              <a:ext cx="2841171" cy="779967"/>
            </a:xfrm>
            <a:custGeom>
              <a:avLst/>
              <a:gdLst>
                <a:gd name="connsiteX0" fmla="*/ 743578 w 743578"/>
                <a:gd name="connsiteY0" fmla="*/ 773723 h 773723"/>
                <a:gd name="connsiteX1" fmla="*/ 331596 w 743578"/>
                <a:gd name="connsiteY1" fmla="*/ 773723 h 773723"/>
                <a:gd name="connsiteX2" fmla="*/ 331596 w 743578"/>
                <a:gd name="connsiteY2" fmla="*/ 0 h 773723"/>
                <a:gd name="connsiteX3" fmla="*/ 0 w 743578"/>
                <a:gd name="connsiteY3" fmla="*/ 0 h 773723"/>
                <a:gd name="connsiteX0" fmla="*/ 639822 w 639822"/>
                <a:gd name="connsiteY0" fmla="*/ 773723 h 773723"/>
                <a:gd name="connsiteX1" fmla="*/ 227840 w 639822"/>
                <a:gd name="connsiteY1" fmla="*/ 773723 h 773723"/>
                <a:gd name="connsiteX2" fmla="*/ 227840 w 639822"/>
                <a:gd name="connsiteY2" fmla="*/ 0 h 773723"/>
                <a:gd name="connsiteX3" fmla="*/ 0 w 639822"/>
                <a:gd name="connsiteY3" fmla="*/ 0 h 773723"/>
              </a:gdLst>
              <a:ahLst/>
              <a:cxnLst>
                <a:cxn ang="0">
                  <a:pos x="connsiteX0" y="connsiteY0"/>
                </a:cxn>
                <a:cxn ang="0">
                  <a:pos x="connsiteX1" y="connsiteY1"/>
                </a:cxn>
                <a:cxn ang="0">
                  <a:pos x="connsiteX2" y="connsiteY2"/>
                </a:cxn>
                <a:cxn ang="0">
                  <a:pos x="connsiteX3" y="connsiteY3"/>
                </a:cxn>
              </a:cxnLst>
              <a:rect l="l" t="t" r="r" b="b"/>
              <a:pathLst>
                <a:path w="639822" h="773723">
                  <a:moveTo>
                    <a:pt x="639822" y="773723"/>
                  </a:moveTo>
                  <a:lnTo>
                    <a:pt x="227840" y="773723"/>
                  </a:lnTo>
                  <a:lnTo>
                    <a:pt x="227840" y="0"/>
                  </a:lnTo>
                  <a:lnTo>
                    <a:pt x="0" y="0"/>
                  </a:lnTo>
                </a:path>
              </a:pathLst>
            </a:custGeom>
            <a:ln w="57150">
              <a:solidFill>
                <a:srgbClr val="50B347"/>
              </a:solidFill>
              <a:prstDash val="sysDash"/>
              <a:miter lim="800000"/>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kern="0"/>
            </a:p>
          </p:txBody>
        </p:sp>
      </p:grpSp>
      <p:sp>
        <p:nvSpPr>
          <p:cNvPr id="3" name="Slide Number Placeholder 2"/>
          <p:cNvSpPr>
            <a:spLocks noGrp="1"/>
          </p:cNvSpPr>
          <p:nvPr>
            <p:ph type="sldNum" sz="quarter" idx="4"/>
          </p:nvPr>
        </p:nvSpPr>
        <p:spPr/>
        <p:txBody>
          <a:bodyPr/>
          <a:lstStyle/>
          <a:p>
            <a:pPr defTabSz="932597">
              <a:defRPr/>
            </a:pPr>
            <a:fld id="{75FAD755-3BD0-2447-A9DF-109DAABEFD99}" type="slidenum">
              <a:rPr lang="en-US" sz="1836" kern="0">
                <a:solidFill>
                  <a:sysClr val="windowText" lastClr="000000"/>
                </a:solidFill>
              </a:rPr>
              <a:pPr defTabSz="932597">
                <a:defRPr/>
              </a:pPr>
              <a:t>9</a:t>
            </a:fld>
            <a:endParaRPr lang="en-US" sz="1836" kern="0" dirty="0">
              <a:solidFill>
                <a:sysClr val="windowText" lastClr="000000"/>
              </a:solidFill>
            </a:endParaRPr>
          </a:p>
        </p:txBody>
      </p:sp>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32589" y="4235163"/>
            <a:ext cx="2306936" cy="2343619"/>
          </a:xfrm>
          <a:prstGeom prst="rect">
            <a:avLst/>
          </a:prstGeom>
        </p:spPr>
      </p:pic>
    </p:spTree>
    <p:extLst>
      <p:ext uri="{BB962C8B-B14F-4D97-AF65-F5344CB8AC3E}">
        <p14:creationId xmlns:p14="http://schemas.microsoft.com/office/powerpoint/2010/main" val="69890400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fade">
                                      <p:cBhvr>
                                        <p:cTn id="21" dur="500"/>
                                        <p:tgtEl>
                                          <p:spTgt spid="21"/>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500"/>
                                        <p:tgtEl>
                                          <p:spTgt spid="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fade">
                                      <p:cBhvr>
                                        <p:cTn id="3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3">
      <a:majorFont>
        <a:latin typeface="Segoe UI Light"/>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4">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4">
      <a:majorFont>
        <a:latin typeface="Segoe UI Light"/>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3">
      <a:majorFont>
        <a:latin typeface="Segoe UI Semilight"/>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Theme1">
  <a:themeElements>
    <a:clrScheme name="Custom 3">
      <a:dk1>
        <a:srgbClr val="000000"/>
      </a:dk1>
      <a:lt1>
        <a:srgbClr val="FFFFFF"/>
      </a:lt1>
      <a:dk2>
        <a:srgbClr val="505050"/>
      </a:dk2>
      <a:lt2>
        <a:srgbClr val="D2D2D2"/>
      </a:lt2>
      <a:accent1>
        <a:srgbClr val="0D163D"/>
      </a:accent1>
      <a:accent2>
        <a:srgbClr val="50B347"/>
      </a:accent2>
      <a:accent3>
        <a:srgbClr val="FEF808"/>
      </a:accent3>
      <a:accent4>
        <a:srgbClr val="A5ACAF"/>
      </a:accent4>
      <a:accent5>
        <a:srgbClr val="FB7D37"/>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spcAft>
            <a:spcPts val="600"/>
          </a:spcAft>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6.xml><?xml version="1.0" encoding="utf-8"?>
<a:theme xmlns:a="http://schemas.openxmlformats.org/drawingml/2006/main" name="Office Theme_tea">
  <a:themeElements>
    <a:clrScheme name="ADLA">
      <a:dk1>
        <a:srgbClr val="505050"/>
      </a:dk1>
      <a:lt1>
        <a:srgbClr val="FFFFFF"/>
      </a:lt1>
      <a:dk2>
        <a:srgbClr val="002050"/>
      </a:dk2>
      <a:lt2>
        <a:srgbClr val="F2F2F2"/>
      </a:lt2>
      <a:accent1>
        <a:srgbClr val="50B347"/>
      </a:accent1>
      <a:accent2>
        <a:srgbClr val="0078D7"/>
      </a:accent2>
      <a:accent3>
        <a:srgbClr val="00BCF2"/>
      </a:accent3>
      <a:accent4>
        <a:srgbClr val="FF8C00"/>
      </a:accent4>
      <a:accent5>
        <a:srgbClr val="E74B3C"/>
      </a:accent5>
      <a:accent6>
        <a:srgbClr val="5C2D91"/>
      </a:accent6>
      <a:hlink>
        <a:srgbClr val="00BCF2"/>
      </a:hlink>
      <a:folHlink>
        <a:srgbClr val="0078D7"/>
      </a:folHlink>
    </a:clrScheme>
    <a:fontScheme name="Custom 1">
      <a:majorFont>
        <a:latin typeface="Segoe UI Light"/>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ISV temp">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3417</TotalTime>
  <Words>4114</Words>
  <Application>Microsoft Office PowerPoint</Application>
  <PresentationFormat>Custom</PresentationFormat>
  <Paragraphs>772</Paragraphs>
  <Slides>57</Slides>
  <Notes>57</Notes>
  <HiddenSlides>0</HiddenSlides>
  <MMClips>0</MMClips>
  <ScaleCrop>false</ScaleCrop>
  <HeadingPairs>
    <vt:vector size="8" baseType="variant">
      <vt:variant>
        <vt:lpstr>Fonts Used</vt:lpstr>
      </vt:variant>
      <vt:variant>
        <vt:i4>12</vt:i4>
      </vt:variant>
      <vt:variant>
        <vt:lpstr>Theme</vt:lpstr>
      </vt:variant>
      <vt:variant>
        <vt:i4>8</vt:i4>
      </vt:variant>
      <vt:variant>
        <vt:lpstr>Embedded OLE Servers</vt:lpstr>
      </vt:variant>
      <vt:variant>
        <vt:i4>1</vt:i4>
      </vt:variant>
      <vt:variant>
        <vt:lpstr>Slide Titles</vt:lpstr>
      </vt:variant>
      <vt:variant>
        <vt:i4>57</vt:i4>
      </vt:variant>
    </vt:vector>
  </HeadingPairs>
  <TitlesOfParts>
    <vt:vector size="78" baseType="lpstr">
      <vt:lpstr>MS PGothic</vt:lpstr>
      <vt:lpstr>MS PGothic</vt:lpstr>
      <vt:lpstr>Arial</vt:lpstr>
      <vt:lpstr>Calibri</vt:lpstr>
      <vt:lpstr>Calibri Light</vt:lpstr>
      <vt:lpstr>Consolas</vt:lpstr>
      <vt:lpstr>Segoe UI</vt:lpstr>
      <vt:lpstr>Segoe UI Black</vt:lpstr>
      <vt:lpstr>Segoe UI Light</vt:lpstr>
      <vt:lpstr>Segoe UI Semibold</vt:lpstr>
      <vt:lpstr>Segoe UI Semilight</vt:lpstr>
      <vt:lpstr>Wingdings 2</vt:lpstr>
      <vt:lpstr>1_Office Theme</vt:lpstr>
      <vt:lpstr>Office Theme</vt:lpstr>
      <vt:lpstr>4_Office Theme</vt:lpstr>
      <vt:lpstr>3_Office Theme</vt:lpstr>
      <vt:lpstr>1_Theme1</vt:lpstr>
      <vt:lpstr>Office Theme_tea</vt:lpstr>
      <vt:lpstr>2_Office Theme</vt:lpstr>
      <vt:lpstr>ISV temp</vt:lpstr>
      <vt:lpstr>think-cell Slide</vt:lpstr>
      <vt:lpstr>PowerPoint Presentation</vt:lpstr>
      <vt:lpstr>Azure Data Lake</vt:lpstr>
      <vt:lpstr>PowerPoint Presentation</vt:lpstr>
      <vt:lpstr>Azure Data Lake as part of Cortana Intelligence Suite</vt:lpstr>
      <vt:lpstr>Azure Data Lake</vt:lpstr>
      <vt:lpstr>PowerPoint Presentation</vt:lpstr>
      <vt:lpstr>Azure Data Lake Analytics</vt:lpstr>
      <vt:lpstr>What can you do in the Azure Portal?</vt:lpstr>
      <vt:lpstr>Creating an ADL Analytics account</vt:lpstr>
      <vt:lpstr>Options for Big Data in Azure</vt:lpstr>
      <vt:lpstr>PowerPoint Presentation</vt:lpstr>
      <vt:lpstr>Start in seconds, Scale instantly, Pay per job</vt:lpstr>
      <vt:lpstr>Scaling per Query</vt:lpstr>
      <vt:lpstr>Analytics Account Properties</vt:lpstr>
      <vt:lpstr>Concepts: jobs, stages and vertices</vt:lpstr>
      <vt:lpstr>PowerPoint Presentation</vt:lpstr>
      <vt:lpstr>Job execution graph </vt:lpstr>
      <vt:lpstr>Visual Studio integration</vt:lpstr>
      <vt:lpstr>What can you do with Visual Studio?</vt:lpstr>
      <vt:lpstr>How to get going with ADL Tools for Visual Studio</vt:lpstr>
      <vt:lpstr>Authoring U-SQL queries</vt:lpstr>
      <vt:lpstr>Submitting a U-SQL job</vt:lpstr>
      <vt:lpstr>Query design</vt:lpstr>
      <vt:lpstr>Query design -RowSet</vt:lpstr>
      <vt:lpstr>Metadata objects</vt:lpstr>
      <vt:lpstr>Metadata catalo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nalytics Workloads</vt:lpstr>
      <vt:lpstr>Analytics Workloads</vt:lpstr>
      <vt:lpstr>Analytics Workloads</vt:lpstr>
      <vt:lpstr>PowerPoint Presentation</vt:lpstr>
      <vt:lpstr>PowerPoint Presentation</vt:lpstr>
      <vt:lpstr>PowerPoint Presentation</vt:lpstr>
      <vt:lpstr>Develop massively parallel programs with simplicity</vt:lpstr>
      <vt:lpstr>Optimization</vt:lpstr>
      <vt:lpstr>Debugging user code errors</vt:lpstr>
      <vt:lpstr>Query multiple data sources in a single U-SQL Query</vt:lpstr>
      <vt:lpstr>Embedded Artificial Intelligence</vt:lpstr>
      <vt:lpstr>PowerPoint Presentation</vt:lpstr>
      <vt:lpstr>Massively Parallel Programs with Python &amp; 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gest data from a variety of sources</vt:lpstr>
    </vt:vector>
  </TitlesOfParts>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veen.Reddy@microsoft.com</dc:creator>
  <cp:keywords/>
  <cp:lastModifiedBy>Somnath Nandi</cp:lastModifiedBy>
  <cp:revision>799</cp:revision>
  <dcterms:created xsi:type="dcterms:W3CDTF">2015-12-21T19:38:12Z</dcterms:created>
  <dcterms:modified xsi:type="dcterms:W3CDTF">2017-10-19T20:27: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D88E6F36C3C14E9FF4818437A7F59F</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36;#Washington State Convention and Trade Center|2ebf141d-f871-4cc9-bf08-f87f112ab464</vt:lpwstr>
  </property>
  <property fmtid="{D5CDD505-2E9C-101B-9397-08002B2CF9AE}" pid="7" name="Track">
    <vt:lpwstr/>
  </property>
  <property fmtid="{D5CDD505-2E9C-101B-9397-08002B2CF9AE}" pid="8" name="Event Location">
    <vt:lpwstr>5;#Seattle|54f46ed2-c77e-4a59-b182-a4171fdb0d11</vt:lpwstr>
  </property>
  <property fmtid="{D5CDD505-2E9C-101B-9397-08002B2CF9AE}" pid="9" name="Campaign">
    <vt:lpwstr/>
  </property>
  <property fmtid="{D5CDD505-2E9C-101B-9397-08002B2CF9AE}" pid="10" name="TaxKeyword">
    <vt:lpwstr>12;#TechReady 22|88255ce9-3aea-405b-9a14-dea0b0a00506</vt:lpwstr>
  </property>
  <property fmtid="{D5CDD505-2E9C-101B-9397-08002B2CF9AE}" pid="11" name="Audience1">
    <vt:lpwstr/>
  </property>
  <property fmtid="{D5CDD505-2E9C-101B-9397-08002B2CF9AE}" pid="12" name="Event Name">
    <vt:lpwstr>68;#TechReady|ebdf1b7d-d34f-4ccf-ac45-ca5a756d5c65</vt:lpwstr>
  </property>
  <property fmtid="{D5CDD505-2E9C-101B-9397-08002B2CF9AE}" pid="13" name="MSIP_Label_f42aa342-8706-4288-bd11-ebb85995028c_Enabled">
    <vt:lpwstr>True</vt:lpwstr>
  </property>
  <property fmtid="{D5CDD505-2E9C-101B-9397-08002B2CF9AE}" pid="14" name="MSIP_Label_f42aa342-8706-4288-bd11-ebb85995028c_SiteId">
    <vt:lpwstr>72f988bf-86f1-41af-91ab-2d7cd011db47</vt:lpwstr>
  </property>
  <property fmtid="{D5CDD505-2E9C-101B-9397-08002B2CF9AE}" pid="15" name="MSIP_Label_f42aa342-8706-4288-bd11-ebb85995028c_Ref">
    <vt:lpwstr>https://api.informationprotection.azure.com/api/72f988bf-86f1-41af-91ab-2d7cd011db47</vt:lpwstr>
  </property>
  <property fmtid="{D5CDD505-2E9C-101B-9397-08002B2CF9AE}" pid="16" name="MSIP_Label_f42aa342-8706-4288-bd11-ebb85995028c_SetBy">
    <vt:lpwstr>saveenr@microsoft.com</vt:lpwstr>
  </property>
  <property fmtid="{D5CDD505-2E9C-101B-9397-08002B2CF9AE}" pid="17" name="MSIP_Label_f42aa342-8706-4288-bd11-ebb85995028c_SetDate">
    <vt:lpwstr>2017-05-05T11:53:17.8253204-07:00</vt:lpwstr>
  </property>
  <property fmtid="{D5CDD505-2E9C-101B-9397-08002B2CF9AE}" pid="18" name="MSIP_Label_f42aa342-8706-4288-bd11-ebb85995028c_Name">
    <vt:lpwstr>General</vt:lpwstr>
  </property>
  <property fmtid="{D5CDD505-2E9C-101B-9397-08002B2CF9AE}" pid="19" name="MSIP_Label_f42aa342-8706-4288-bd11-ebb85995028c_Application">
    <vt:lpwstr>Microsoft Azure Information Protection</vt:lpwstr>
  </property>
  <property fmtid="{D5CDD505-2E9C-101B-9397-08002B2CF9AE}" pid="20" name="MSIP_Label_f42aa342-8706-4288-bd11-ebb85995028c_Extended_MSFT_Method">
    <vt:lpwstr>Automatic</vt:lpwstr>
  </property>
  <property fmtid="{D5CDD505-2E9C-101B-9397-08002B2CF9AE}" pid="21" name="Sensitivity">
    <vt:lpwstr>General</vt:lpwstr>
  </property>
</Properties>
</file>